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2.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3.xml" ContentType="application/vnd.openxmlformats-officedocument.presentationml.notesSlide+xml"/>
  <Override PartName="/ppt/tags/tag67.xml" ContentType="application/vnd.openxmlformats-officedocument.presentationml.tags+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1" r:id="rId4"/>
  </p:sldMasterIdLst>
  <p:notesMasterIdLst>
    <p:notesMasterId r:id="rId20"/>
  </p:notesMasterIdLst>
  <p:handoutMasterIdLst>
    <p:handoutMasterId r:id="rId21"/>
  </p:handoutMasterIdLst>
  <p:sldIdLst>
    <p:sldId id="339" r:id="rId5"/>
    <p:sldId id="1970" r:id="rId6"/>
    <p:sldId id="2147483212" r:id="rId7"/>
    <p:sldId id="2147483488" r:id="rId8"/>
    <p:sldId id="2147483485" r:id="rId9"/>
    <p:sldId id="4851" r:id="rId10"/>
    <p:sldId id="345" r:id="rId11"/>
    <p:sldId id="2147483482" r:id="rId12"/>
    <p:sldId id="340" r:id="rId13"/>
    <p:sldId id="2147483489" r:id="rId14"/>
    <p:sldId id="2147483499" r:id="rId15"/>
    <p:sldId id="2147483500" r:id="rId16"/>
    <p:sldId id="2147483501" r:id="rId17"/>
    <p:sldId id="2147483498" r:id="rId18"/>
    <p:sldId id="2147483491" r:id="rId19"/>
  </p:sldIdLst>
  <p:sldSz cx="9144000" cy="5143500" type="screen16x9"/>
  <p:notesSz cx="7099300" cy="10234613"/>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44F73D0A-51EA-47C4-8148-B9894DEB23A0}">
          <p14:sldIdLst>
            <p14:sldId id="339"/>
            <p14:sldId id="1970"/>
            <p14:sldId id="2147483212"/>
            <p14:sldId id="2147483488"/>
            <p14:sldId id="2147483485"/>
            <p14:sldId id="4851"/>
            <p14:sldId id="345"/>
            <p14:sldId id="2147483482"/>
            <p14:sldId id="340"/>
            <p14:sldId id="2147483489"/>
            <p14:sldId id="2147483499"/>
            <p14:sldId id="2147483500"/>
            <p14:sldId id="2147483501"/>
            <p14:sldId id="2147483498"/>
            <p14:sldId id="2147483491"/>
          </p14:sldIdLst>
        </p14:section>
      </p14:sectionLst>
    </p:ext>
    <p:ext uri="{EFAFB233-063F-42B5-8137-9DF3F51BA10A}">
      <p15:sldGuideLst xmlns:p15="http://schemas.microsoft.com/office/powerpoint/2012/main">
        <p15:guide id="1" orient="horz" pos="1620" userDrawn="1">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ristina Drimmel" initials="CD" lastIdx="229" clrIdx="0">
    <p:extLst>
      <p:ext uri="{19B8F6BF-5375-455C-9EA6-DF929625EA0E}">
        <p15:presenceInfo xmlns:p15="http://schemas.microsoft.com/office/powerpoint/2012/main" userId="Christina Drimmel" providerId="None"/>
      </p:ext>
    </p:extLst>
  </p:cmAuthor>
  <p:cmAuthor id="2" name="Michaela Boyer" initials="MB" lastIdx="48" clrIdx="1">
    <p:extLst>
      <p:ext uri="{19B8F6BF-5375-455C-9EA6-DF929625EA0E}">
        <p15:presenceInfo xmlns:p15="http://schemas.microsoft.com/office/powerpoint/2012/main" userId="S::mimi@saintstephens.at::bdd85d05-7436-4dc5-95de-546370f7ecd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7DC4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BA21B34-6455-4F5E-A157-16F44B672BC4}" v="1300" dt="2025-11-26T19:40:24.153"/>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80" autoAdjust="0"/>
    <p:restoredTop sz="89446" autoAdjust="0"/>
  </p:normalViewPr>
  <p:slideViewPr>
    <p:cSldViewPr snapToGrid="0" showGuides="1">
      <p:cViewPr varScale="1">
        <p:scale>
          <a:sx n="148" d="100"/>
          <a:sy n="148" d="100"/>
        </p:scale>
        <p:origin x="110" y="394"/>
      </p:cViewPr>
      <p:guideLst>
        <p:guide orient="horz" pos="1620"/>
        <p:guide pos="2880"/>
      </p:guideLst>
    </p:cSldViewPr>
  </p:slideViewPr>
  <p:notesTextViewPr>
    <p:cViewPr>
      <p:scale>
        <a:sx n="1" d="1"/>
        <a:sy n="1" d="1"/>
      </p:scale>
      <p:origin x="0" y="0"/>
    </p:cViewPr>
  </p:notesTextViewPr>
  <p:sorterViewPr>
    <p:cViewPr>
      <p:scale>
        <a:sx n="50" d="100"/>
        <a:sy n="50" d="100"/>
      </p:scale>
      <p:origin x="0" y="0"/>
    </p:cViewPr>
  </p:sorterViewPr>
  <p:notesViewPr>
    <p:cSldViewPr snapToGrid="0" showGuides="1">
      <p:cViewPr varScale="1">
        <p:scale>
          <a:sx n="53" d="100"/>
          <a:sy n="53" d="100"/>
        </p:scale>
        <p:origin x="1181" y="67"/>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commentAuthors" Target="commentAuthors.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oller Eva" userId="2cab538e-8d3a-4c8b-883f-027c522ddf8b" providerId="ADAL" clId="{C482C332-6E85-4FDA-B01D-D32C6F4C88D4}"/>
    <pc:docChg chg="undo redo custSel addSld delSld modSld modSection">
      <pc:chgData name="Koller Eva" userId="2cab538e-8d3a-4c8b-883f-027c522ddf8b" providerId="ADAL" clId="{C482C332-6E85-4FDA-B01D-D32C6F4C88D4}" dt="2025-11-27T08:28:02.065" v="2791" actId="13926"/>
      <pc:docMkLst>
        <pc:docMk/>
      </pc:docMkLst>
      <pc:sldChg chg="modSp mod">
        <pc:chgData name="Koller Eva" userId="2cab538e-8d3a-4c8b-883f-027c522ddf8b" providerId="ADAL" clId="{C482C332-6E85-4FDA-B01D-D32C6F4C88D4}" dt="2025-11-20T08:18:57.360" v="220" actId="13926"/>
        <pc:sldMkLst>
          <pc:docMk/>
          <pc:sldMk cId="3597208285" sldId="340"/>
        </pc:sldMkLst>
        <pc:spChg chg="mod">
          <ac:chgData name="Koller Eva" userId="2cab538e-8d3a-4c8b-883f-027c522ddf8b" providerId="ADAL" clId="{C482C332-6E85-4FDA-B01D-D32C6F4C88D4}" dt="2025-11-20T08:18:57.360" v="220" actId="13926"/>
          <ac:spMkLst>
            <pc:docMk/>
            <pc:sldMk cId="3597208285" sldId="340"/>
            <ac:spMk id="3" creationId="{6F3AFC68-0F63-3BB8-020B-67DFFC84054C}"/>
          </ac:spMkLst>
        </pc:spChg>
      </pc:sldChg>
      <pc:sldChg chg="delSp modSp mod modAnim">
        <pc:chgData name="Koller Eva" userId="2cab538e-8d3a-4c8b-883f-027c522ddf8b" providerId="ADAL" clId="{C482C332-6E85-4FDA-B01D-D32C6F4C88D4}" dt="2025-11-26T08:42:53.504" v="2266" actId="108"/>
        <pc:sldMkLst>
          <pc:docMk/>
          <pc:sldMk cId="2605749738" sldId="345"/>
        </pc:sldMkLst>
        <pc:spChg chg="mod">
          <ac:chgData name="Koller Eva" userId="2cab538e-8d3a-4c8b-883f-027c522ddf8b" providerId="ADAL" clId="{C482C332-6E85-4FDA-B01D-D32C6F4C88D4}" dt="2025-11-26T08:42:53.504" v="2266" actId="108"/>
          <ac:spMkLst>
            <pc:docMk/>
            <pc:sldMk cId="2605749738" sldId="345"/>
            <ac:spMk id="2" creationId="{EF4FD709-3B61-B4BC-FE11-070EC8818006}"/>
          </ac:spMkLst>
        </pc:spChg>
        <pc:spChg chg="mod">
          <ac:chgData name="Koller Eva" userId="2cab538e-8d3a-4c8b-883f-027c522ddf8b" providerId="ADAL" clId="{C482C332-6E85-4FDA-B01D-D32C6F4C88D4}" dt="2025-11-25T19:21:27.011" v="1726" actId="20577"/>
          <ac:spMkLst>
            <pc:docMk/>
            <pc:sldMk cId="2605749738" sldId="345"/>
            <ac:spMk id="3" creationId="{38203135-116D-441B-DD1E-A3FA05E7BDDD}"/>
          </ac:spMkLst>
        </pc:spChg>
      </pc:sldChg>
      <pc:sldChg chg="addSp delSp modSp mod">
        <pc:chgData name="Koller Eva" userId="2cab538e-8d3a-4c8b-883f-027c522ddf8b" providerId="ADAL" clId="{C482C332-6E85-4FDA-B01D-D32C6F4C88D4}" dt="2025-11-25T19:05:56.899" v="1623" actId="20577"/>
        <pc:sldMkLst>
          <pc:docMk/>
          <pc:sldMk cId="1129744872" sldId="1970"/>
        </pc:sldMkLst>
        <pc:spChg chg="mod">
          <ac:chgData name="Koller Eva" userId="2cab538e-8d3a-4c8b-883f-027c522ddf8b" providerId="ADAL" clId="{C482C332-6E85-4FDA-B01D-D32C6F4C88D4}" dt="2025-11-25T19:05:56.899" v="1623" actId="20577"/>
          <ac:spMkLst>
            <pc:docMk/>
            <pc:sldMk cId="1129744872" sldId="1970"/>
            <ac:spMk id="5" creationId="{DF9D8639-392A-721D-5091-C309BC84BFD1}"/>
          </ac:spMkLst>
        </pc:spChg>
        <pc:grpChg chg="topLvl">
          <ac:chgData name="Koller Eva" userId="2cab538e-8d3a-4c8b-883f-027c522ddf8b" providerId="ADAL" clId="{C482C332-6E85-4FDA-B01D-D32C6F4C88D4}" dt="2025-11-20T08:04:47.916" v="11" actId="478"/>
          <ac:grpSpMkLst>
            <pc:docMk/>
            <pc:sldMk cId="1129744872" sldId="1970"/>
            <ac:grpSpMk id="62" creationId="{4EBBE4BA-B0DA-4C02-B06E-6706710D2256}"/>
          </ac:grpSpMkLst>
        </pc:grpChg>
        <pc:graphicFrameChg chg="add mod ord modGraphic">
          <ac:chgData name="Koller Eva" userId="2cab538e-8d3a-4c8b-883f-027c522ddf8b" providerId="ADAL" clId="{C482C332-6E85-4FDA-B01D-D32C6F4C88D4}" dt="2025-11-25T19:05:20.575" v="1598" actId="2164"/>
          <ac:graphicFrameMkLst>
            <pc:docMk/>
            <pc:sldMk cId="1129744872" sldId="1970"/>
            <ac:graphicFrameMk id="21" creationId="{1E94E6D5-6CE9-84AB-F4A5-F22F336357FE}"/>
          </ac:graphicFrameMkLst>
        </pc:graphicFrameChg>
      </pc:sldChg>
      <pc:sldChg chg="modSp mod modAnim">
        <pc:chgData name="Koller Eva" userId="2cab538e-8d3a-4c8b-883f-027c522ddf8b" providerId="ADAL" clId="{C482C332-6E85-4FDA-B01D-D32C6F4C88D4}" dt="2025-11-26T10:37:03.289" v="2298" actId="108"/>
        <pc:sldMkLst>
          <pc:docMk/>
          <pc:sldMk cId="198307590" sldId="4851"/>
        </pc:sldMkLst>
        <pc:spChg chg="mod">
          <ac:chgData name="Koller Eva" userId="2cab538e-8d3a-4c8b-883f-027c522ddf8b" providerId="ADAL" clId="{C482C332-6E85-4FDA-B01D-D32C6F4C88D4}" dt="2025-11-25T18:56:28.671" v="1576" actId="1076"/>
          <ac:spMkLst>
            <pc:docMk/>
            <pc:sldMk cId="198307590" sldId="4851"/>
            <ac:spMk id="5" creationId="{A21B4168-05F8-81D6-5526-744D877017AE}"/>
          </ac:spMkLst>
        </pc:spChg>
        <pc:spChg chg="mod">
          <ac:chgData name="Koller Eva" userId="2cab538e-8d3a-4c8b-883f-027c522ddf8b" providerId="ADAL" clId="{C482C332-6E85-4FDA-B01D-D32C6F4C88D4}" dt="2025-11-25T18:57:41.677" v="1585" actId="1076"/>
          <ac:spMkLst>
            <pc:docMk/>
            <pc:sldMk cId="198307590" sldId="4851"/>
            <ac:spMk id="8" creationId="{27ED7FF8-4355-1D26-9A80-8583C5E7627D}"/>
          </ac:spMkLst>
        </pc:spChg>
        <pc:spChg chg="mod">
          <ac:chgData name="Koller Eva" userId="2cab538e-8d3a-4c8b-883f-027c522ddf8b" providerId="ADAL" clId="{C482C332-6E85-4FDA-B01D-D32C6F4C88D4}" dt="2025-11-26T10:37:01.851" v="2296" actId="108"/>
          <ac:spMkLst>
            <pc:docMk/>
            <pc:sldMk cId="198307590" sldId="4851"/>
            <ac:spMk id="62" creationId="{31C8A25B-05A7-34E3-D7A9-52E868372C8E}"/>
          </ac:spMkLst>
        </pc:spChg>
        <pc:spChg chg="mod">
          <ac:chgData name="Koller Eva" userId="2cab538e-8d3a-4c8b-883f-027c522ddf8b" providerId="ADAL" clId="{C482C332-6E85-4FDA-B01D-D32C6F4C88D4}" dt="2025-11-26T10:36:55.167" v="2291" actId="108"/>
          <ac:spMkLst>
            <pc:docMk/>
            <pc:sldMk cId="198307590" sldId="4851"/>
            <ac:spMk id="68" creationId="{C5EBE87E-D2BB-B6B4-F925-D666868F63B7}"/>
          </ac:spMkLst>
        </pc:spChg>
        <pc:spChg chg="mod">
          <ac:chgData name="Koller Eva" userId="2cab538e-8d3a-4c8b-883f-027c522ddf8b" providerId="ADAL" clId="{C482C332-6E85-4FDA-B01D-D32C6F4C88D4}" dt="2025-11-26T10:37:03.289" v="2298" actId="108"/>
          <ac:spMkLst>
            <pc:docMk/>
            <pc:sldMk cId="198307590" sldId="4851"/>
            <ac:spMk id="71" creationId="{CA7B19AF-B02A-6BDF-5B07-466F450F6BA1}"/>
          </ac:spMkLst>
        </pc:spChg>
        <pc:spChg chg="mod">
          <ac:chgData name="Koller Eva" userId="2cab538e-8d3a-4c8b-883f-027c522ddf8b" providerId="ADAL" clId="{C482C332-6E85-4FDA-B01D-D32C6F4C88D4}" dt="2025-11-26T10:36:57.937" v="2295" actId="108"/>
          <ac:spMkLst>
            <pc:docMk/>
            <pc:sldMk cId="198307590" sldId="4851"/>
            <ac:spMk id="131" creationId="{CA0EFCFD-AFE7-8FC6-942D-BBBC58543875}"/>
          </ac:spMkLst>
        </pc:spChg>
      </pc:sldChg>
      <pc:sldChg chg="addSp delSp modSp mod">
        <pc:chgData name="Koller Eva" userId="2cab538e-8d3a-4c8b-883f-027c522ddf8b" providerId="ADAL" clId="{C482C332-6E85-4FDA-B01D-D32C6F4C88D4}" dt="2025-11-27T08:28:02.065" v="2791" actId="13926"/>
        <pc:sldMkLst>
          <pc:docMk/>
          <pc:sldMk cId="1274345913" sldId="2147483212"/>
        </pc:sldMkLst>
        <pc:spChg chg="mod">
          <ac:chgData name="Koller Eva" userId="2cab538e-8d3a-4c8b-883f-027c522ddf8b" providerId="ADAL" clId="{C482C332-6E85-4FDA-B01D-D32C6F4C88D4}" dt="2025-11-25T14:35:59.179" v="1251" actId="20577"/>
          <ac:spMkLst>
            <pc:docMk/>
            <pc:sldMk cId="1274345913" sldId="2147483212"/>
            <ac:spMk id="2" creationId="{03A23B9D-D90C-954D-23AB-702569091CDF}"/>
          </ac:spMkLst>
        </pc:spChg>
        <pc:spChg chg="mod">
          <ac:chgData name="Koller Eva" userId="2cab538e-8d3a-4c8b-883f-027c522ddf8b" providerId="ADAL" clId="{C482C332-6E85-4FDA-B01D-D32C6F4C88D4}" dt="2025-11-24T14:29:14.765" v="1169" actId="108"/>
          <ac:spMkLst>
            <pc:docMk/>
            <pc:sldMk cId="1274345913" sldId="2147483212"/>
            <ac:spMk id="18" creationId="{C2730556-FC3F-8990-D86E-DB3E90AE9BCA}"/>
          </ac:spMkLst>
        </pc:spChg>
        <pc:spChg chg="mod">
          <ac:chgData name="Koller Eva" userId="2cab538e-8d3a-4c8b-883f-027c522ddf8b" providerId="ADAL" clId="{C482C332-6E85-4FDA-B01D-D32C6F4C88D4}" dt="2025-11-26T10:36:08.775" v="2277" actId="6549"/>
          <ac:spMkLst>
            <pc:docMk/>
            <pc:sldMk cId="1274345913" sldId="2147483212"/>
            <ac:spMk id="22" creationId="{5445EB08-F413-970D-34C8-1BD4A3AE376A}"/>
          </ac:spMkLst>
        </pc:spChg>
        <pc:spChg chg="mod">
          <ac:chgData name="Koller Eva" userId="2cab538e-8d3a-4c8b-883f-027c522ddf8b" providerId="ADAL" clId="{C482C332-6E85-4FDA-B01D-D32C6F4C88D4}" dt="2025-11-27T08:28:02.065" v="2791" actId="13926"/>
          <ac:spMkLst>
            <pc:docMk/>
            <pc:sldMk cId="1274345913" sldId="2147483212"/>
            <ac:spMk id="24" creationId="{F3EECDC8-3043-FE70-ED0A-4BBE776A2F7C}"/>
          </ac:spMkLst>
        </pc:spChg>
        <pc:grpChg chg="mod">
          <ac:chgData name="Koller Eva" userId="2cab538e-8d3a-4c8b-883f-027c522ddf8b" providerId="ADAL" clId="{C482C332-6E85-4FDA-B01D-D32C6F4C88D4}" dt="2025-11-20T15:14:44.967" v="816" actId="14100"/>
          <ac:grpSpMkLst>
            <pc:docMk/>
            <pc:sldMk cId="1274345913" sldId="2147483212"/>
            <ac:grpSpMk id="4" creationId="{99086246-83B4-3EEE-201E-B69494106661}"/>
          </ac:grpSpMkLst>
        </pc:grpChg>
        <pc:picChg chg="add mod">
          <ac:chgData name="Koller Eva" userId="2cab538e-8d3a-4c8b-883f-027c522ddf8b" providerId="ADAL" clId="{C482C332-6E85-4FDA-B01D-D32C6F4C88D4}" dt="2025-11-20T15:14:14.730" v="811" actId="14100"/>
          <ac:picMkLst>
            <pc:docMk/>
            <pc:sldMk cId="1274345913" sldId="2147483212"/>
            <ac:picMk id="10" creationId="{D652B8F5-7B02-8E9D-01B7-2B92A912CDE1}"/>
          </ac:picMkLst>
        </pc:picChg>
        <pc:picChg chg="mod">
          <ac:chgData name="Koller Eva" userId="2cab538e-8d3a-4c8b-883f-027c522ddf8b" providerId="ADAL" clId="{C482C332-6E85-4FDA-B01D-D32C6F4C88D4}" dt="2025-11-20T15:14:17.249" v="812" actId="14100"/>
          <ac:picMkLst>
            <pc:docMk/>
            <pc:sldMk cId="1274345913" sldId="2147483212"/>
            <ac:picMk id="14" creationId="{23FE2A16-EE21-EC41-2DCF-23A78965BB6B}"/>
          </ac:picMkLst>
        </pc:picChg>
        <pc:picChg chg="add mod">
          <ac:chgData name="Koller Eva" userId="2cab538e-8d3a-4c8b-883f-027c522ddf8b" providerId="ADAL" clId="{C482C332-6E85-4FDA-B01D-D32C6F4C88D4}" dt="2025-11-20T15:14:23.439" v="813" actId="14100"/>
          <ac:picMkLst>
            <pc:docMk/>
            <pc:sldMk cId="1274345913" sldId="2147483212"/>
            <ac:picMk id="15" creationId="{F0E1C5C3-969E-5D50-63C2-0B3CD38BA7A4}"/>
          </ac:picMkLst>
        </pc:picChg>
      </pc:sldChg>
      <pc:sldChg chg="addSp delSp modSp mod">
        <pc:chgData name="Koller Eva" userId="2cab538e-8d3a-4c8b-883f-027c522ddf8b" providerId="ADAL" clId="{C482C332-6E85-4FDA-B01D-D32C6F4C88D4}" dt="2025-11-20T13:03:55.886" v="786" actId="1076"/>
        <pc:sldMkLst>
          <pc:docMk/>
          <pc:sldMk cId="376245" sldId="2147483482"/>
        </pc:sldMkLst>
        <pc:spChg chg="mod">
          <ac:chgData name="Koller Eva" userId="2cab538e-8d3a-4c8b-883f-027c522ddf8b" providerId="ADAL" clId="{C482C332-6E85-4FDA-B01D-D32C6F4C88D4}" dt="2025-11-20T08:15:30.412" v="168" actId="14100"/>
          <ac:spMkLst>
            <pc:docMk/>
            <pc:sldMk cId="376245" sldId="2147483482"/>
            <ac:spMk id="3" creationId="{2012A40F-A512-6CE1-2758-E770244D3622}"/>
          </ac:spMkLst>
        </pc:spChg>
        <pc:grpChg chg="mod">
          <ac:chgData name="Koller Eva" userId="2cab538e-8d3a-4c8b-883f-027c522ddf8b" providerId="ADAL" clId="{C482C332-6E85-4FDA-B01D-D32C6F4C88D4}" dt="2025-11-20T13:03:14.574" v="778" actId="14100"/>
          <ac:grpSpMkLst>
            <pc:docMk/>
            <pc:sldMk cId="376245" sldId="2147483482"/>
            <ac:grpSpMk id="44" creationId="{1B3E7FB1-DE87-B68B-253D-3F150D129026}"/>
          </ac:grpSpMkLst>
        </pc:grpChg>
        <pc:picChg chg="add mod">
          <ac:chgData name="Koller Eva" userId="2cab538e-8d3a-4c8b-883f-027c522ddf8b" providerId="ADAL" clId="{C482C332-6E85-4FDA-B01D-D32C6F4C88D4}" dt="2025-11-20T13:03:07.478" v="776" actId="1076"/>
          <ac:picMkLst>
            <pc:docMk/>
            <pc:sldMk cId="376245" sldId="2147483482"/>
            <ac:picMk id="24" creationId="{B08A189D-32E7-524B-41CD-4B00AC7ADCEC}"/>
          </ac:picMkLst>
        </pc:picChg>
        <pc:picChg chg="add mod">
          <ac:chgData name="Koller Eva" userId="2cab538e-8d3a-4c8b-883f-027c522ddf8b" providerId="ADAL" clId="{C482C332-6E85-4FDA-B01D-D32C6F4C88D4}" dt="2025-11-20T13:03:02.613" v="774" actId="1076"/>
          <ac:picMkLst>
            <pc:docMk/>
            <pc:sldMk cId="376245" sldId="2147483482"/>
            <ac:picMk id="31" creationId="{E641E7A4-BF38-DA96-40BF-AA177FC066D2}"/>
          </ac:picMkLst>
        </pc:picChg>
        <pc:picChg chg="add mod">
          <ac:chgData name="Koller Eva" userId="2cab538e-8d3a-4c8b-883f-027c522ddf8b" providerId="ADAL" clId="{C482C332-6E85-4FDA-B01D-D32C6F4C88D4}" dt="2025-11-20T13:03:55.886" v="786" actId="1076"/>
          <ac:picMkLst>
            <pc:docMk/>
            <pc:sldMk cId="376245" sldId="2147483482"/>
            <ac:picMk id="33" creationId="{E891CA38-88F4-147B-DDB0-1FA2C57B9FCD}"/>
          </ac:picMkLst>
        </pc:picChg>
      </pc:sldChg>
      <pc:sldChg chg="modSp del mod">
        <pc:chgData name="Koller Eva" userId="2cab538e-8d3a-4c8b-883f-027c522ddf8b" providerId="ADAL" clId="{C482C332-6E85-4FDA-B01D-D32C6F4C88D4}" dt="2025-11-20T07:40:42.481" v="10" actId="47"/>
        <pc:sldMkLst>
          <pc:docMk/>
          <pc:sldMk cId="2787495163" sldId="2147483484"/>
        </pc:sldMkLst>
      </pc:sldChg>
      <pc:sldChg chg="addSp delSp modSp mod">
        <pc:chgData name="Koller Eva" userId="2cab538e-8d3a-4c8b-883f-027c522ddf8b" providerId="ADAL" clId="{C482C332-6E85-4FDA-B01D-D32C6F4C88D4}" dt="2025-11-25T19:14:05.610" v="1673" actId="20577"/>
        <pc:sldMkLst>
          <pc:docMk/>
          <pc:sldMk cId="377271935" sldId="2147483485"/>
        </pc:sldMkLst>
        <pc:spChg chg="mod">
          <ac:chgData name="Koller Eva" userId="2cab538e-8d3a-4c8b-883f-027c522ddf8b" providerId="ADAL" clId="{C482C332-6E85-4FDA-B01D-D32C6F4C88D4}" dt="2025-11-20T11:03:10.777" v="442"/>
          <ac:spMkLst>
            <pc:docMk/>
            <pc:sldMk cId="377271935" sldId="2147483485"/>
            <ac:spMk id="15" creationId="{A58C327E-EB8C-98C9-C896-EF551D968862}"/>
          </ac:spMkLst>
        </pc:spChg>
        <pc:spChg chg="mod">
          <ac:chgData name="Koller Eva" userId="2cab538e-8d3a-4c8b-883f-027c522ddf8b" providerId="ADAL" clId="{C482C332-6E85-4FDA-B01D-D32C6F4C88D4}" dt="2025-11-25T19:10:17.692" v="1644" actId="20577"/>
          <ac:spMkLst>
            <pc:docMk/>
            <pc:sldMk cId="377271935" sldId="2147483485"/>
            <ac:spMk id="16" creationId="{368C7588-54FE-0B80-87AC-5CBFB339557C}"/>
          </ac:spMkLst>
        </pc:spChg>
        <pc:spChg chg="mod">
          <ac:chgData name="Koller Eva" userId="2cab538e-8d3a-4c8b-883f-027c522ddf8b" providerId="ADAL" clId="{C482C332-6E85-4FDA-B01D-D32C6F4C88D4}" dt="2025-11-20T11:03:10.777" v="442"/>
          <ac:spMkLst>
            <pc:docMk/>
            <pc:sldMk cId="377271935" sldId="2147483485"/>
            <ac:spMk id="17" creationId="{129C77E6-A05C-8B92-EA9F-3CD086E756DD}"/>
          </ac:spMkLst>
        </pc:spChg>
        <pc:spChg chg="mod">
          <ac:chgData name="Koller Eva" userId="2cab538e-8d3a-4c8b-883f-027c522ddf8b" providerId="ADAL" clId="{C482C332-6E85-4FDA-B01D-D32C6F4C88D4}" dt="2025-11-24T14:32:05.156" v="1177" actId="108"/>
          <ac:spMkLst>
            <pc:docMk/>
            <pc:sldMk cId="377271935" sldId="2147483485"/>
            <ac:spMk id="18" creationId="{D22586B6-B995-59D9-A7E6-30D217B332DC}"/>
          </ac:spMkLst>
        </pc:spChg>
        <pc:spChg chg="mod">
          <ac:chgData name="Koller Eva" userId="2cab538e-8d3a-4c8b-883f-027c522ddf8b" providerId="ADAL" clId="{C482C332-6E85-4FDA-B01D-D32C6F4C88D4}" dt="2025-11-20T11:03:10.777" v="442"/>
          <ac:spMkLst>
            <pc:docMk/>
            <pc:sldMk cId="377271935" sldId="2147483485"/>
            <ac:spMk id="19" creationId="{E6592C2C-0942-C221-8647-28490349A34A}"/>
          </ac:spMkLst>
        </pc:spChg>
        <pc:spChg chg="mod">
          <ac:chgData name="Koller Eva" userId="2cab538e-8d3a-4c8b-883f-027c522ddf8b" providerId="ADAL" clId="{C482C332-6E85-4FDA-B01D-D32C6F4C88D4}" dt="2025-11-20T11:03:10.777" v="442"/>
          <ac:spMkLst>
            <pc:docMk/>
            <pc:sldMk cId="377271935" sldId="2147483485"/>
            <ac:spMk id="20" creationId="{E85FACC9-73E9-59DB-8070-338B1E416433}"/>
          </ac:spMkLst>
        </pc:spChg>
        <pc:spChg chg="mod">
          <ac:chgData name="Koller Eva" userId="2cab538e-8d3a-4c8b-883f-027c522ddf8b" providerId="ADAL" clId="{C482C332-6E85-4FDA-B01D-D32C6F4C88D4}" dt="2025-11-20T11:03:10.777" v="442"/>
          <ac:spMkLst>
            <pc:docMk/>
            <pc:sldMk cId="377271935" sldId="2147483485"/>
            <ac:spMk id="21" creationId="{04C36499-2FD7-530E-6F68-138772574839}"/>
          </ac:spMkLst>
        </pc:spChg>
        <pc:spChg chg="mod">
          <ac:chgData name="Koller Eva" userId="2cab538e-8d3a-4c8b-883f-027c522ddf8b" providerId="ADAL" clId="{C482C332-6E85-4FDA-B01D-D32C6F4C88D4}" dt="2025-11-25T19:14:05.610" v="1673" actId="20577"/>
          <ac:spMkLst>
            <pc:docMk/>
            <pc:sldMk cId="377271935" sldId="2147483485"/>
            <ac:spMk id="22" creationId="{50FCB7E9-D408-E05F-1BA2-1943FADA4A7F}"/>
          </ac:spMkLst>
        </pc:spChg>
        <pc:spChg chg="mod">
          <ac:chgData name="Koller Eva" userId="2cab538e-8d3a-4c8b-883f-027c522ddf8b" providerId="ADAL" clId="{C482C332-6E85-4FDA-B01D-D32C6F4C88D4}" dt="2025-11-20T11:03:10.777" v="442"/>
          <ac:spMkLst>
            <pc:docMk/>
            <pc:sldMk cId="377271935" sldId="2147483485"/>
            <ac:spMk id="23" creationId="{DBB7B7A1-154B-7101-1BDB-607023E803BF}"/>
          </ac:spMkLst>
        </pc:spChg>
        <pc:spChg chg="mod">
          <ac:chgData name="Koller Eva" userId="2cab538e-8d3a-4c8b-883f-027c522ddf8b" providerId="ADAL" clId="{C482C332-6E85-4FDA-B01D-D32C6F4C88D4}" dt="2025-11-24T14:32:02.855" v="1176" actId="108"/>
          <ac:spMkLst>
            <pc:docMk/>
            <pc:sldMk cId="377271935" sldId="2147483485"/>
            <ac:spMk id="24" creationId="{7D3AFDC1-FDC3-BF9C-CBB2-5FA5349761D2}"/>
          </ac:spMkLst>
        </pc:spChg>
        <pc:grpChg chg="add mod">
          <ac:chgData name="Koller Eva" userId="2cab538e-8d3a-4c8b-883f-027c522ddf8b" providerId="ADAL" clId="{C482C332-6E85-4FDA-B01D-D32C6F4C88D4}" dt="2025-11-20T13:00:56.335" v="749" actId="14100"/>
          <ac:grpSpMkLst>
            <pc:docMk/>
            <pc:sldMk cId="377271935" sldId="2147483485"/>
            <ac:grpSpMk id="13" creationId="{CEAAF49E-D1AC-C5C8-E2FD-E55F2105A51F}"/>
          </ac:grpSpMkLst>
        </pc:grpChg>
        <pc:picChg chg="add mod">
          <ac:chgData name="Koller Eva" userId="2cab538e-8d3a-4c8b-883f-027c522ddf8b" providerId="ADAL" clId="{C482C332-6E85-4FDA-B01D-D32C6F4C88D4}" dt="2025-11-20T13:00:35.551" v="745" actId="1076"/>
          <ac:picMkLst>
            <pc:docMk/>
            <pc:sldMk cId="377271935" sldId="2147483485"/>
            <ac:picMk id="4" creationId="{47C27805-CACB-BE9F-5DA0-B088A7671CB5}"/>
          </ac:picMkLst>
        </pc:picChg>
        <pc:picChg chg="add mod">
          <ac:chgData name="Koller Eva" userId="2cab538e-8d3a-4c8b-883f-027c522ddf8b" providerId="ADAL" clId="{C482C332-6E85-4FDA-B01D-D32C6F4C88D4}" dt="2025-11-20T13:12:07.897" v="800" actId="1076"/>
          <ac:picMkLst>
            <pc:docMk/>
            <pc:sldMk cId="377271935" sldId="2147483485"/>
            <ac:picMk id="6" creationId="{6BE3E6C1-86AA-9CFF-E462-E62ECD5B0170}"/>
          </ac:picMkLst>
        </pc:picChg>
        <pc:picChg chg="add mod">
          <ac:chgData name="Koller Eva" userId="2cab538e-8d3a-4c8b-883f-027c522ddf8b" providerId="ADAL" clId="{C482C332-6E85-4FDA-B01D-D32C6F4C88D4}" dt="2025-11-20T13:12:01.863" v="798" actId="14100"/>
          <ac:picMkLst>
            <pc:docMk/>
            <pc:sldMk cId="377271935" sldId="2147483485"/>
            <ac:picMk id="27" creationId="{BD382F5C-2F33-ED23-8423-AC8BDDC6FB39}"/>
          </ac:picMkLst>
        </pc:picChg>
        <pc:picChg chg="add mod">
          <ac:chgData name="Koller Eva" userId="2cab538e-8d3a-4c8b-883f-027c522ddf8b" providerId="ADAL" clId="{C482C332-6E85-4FDA-B01D-D32C6F4C88D4}" dt="2025-11-20T13:11:49.457" v="795" actId="14100"/>
          <ac:picMkLst>
            <pc:docMk/>
            <pc:sldMk cId="377271935" sldId="2147483485"/>
            <ac:picMk id="28" creationId="{D4E69EC2-E62B-5034-5C9C-7FA248183768}"/>
          </ac:picMkLst>
        </pc:picChg>
      </pc:sldChg>
      <pc:sldChg chg="del">
        <pc:chgData name="Koller Eva" userId="2cab538e-8d3a-4c8b-883f-027c522ddf8b" providerId="ADAL" clId="{C482C332-6E85-4FDA-B01D-D32C6F4C88D4}" dt="2025-11-20T08:29:24.021" v="417" actId="47"/>
        <pc:sldMkLst>
          <pc:docMk/>
          <pc:sldMk cId="1918438856" sldId="2147483486"/>
        </pc:sldMkLst>
      </pc:sldChg>
      <pc:sldChg chg="addSp modSp mod modAnim">
        <pc:chgData name="Koller Eva" userId="2cab538e-8d3a-4c8b-883f-027c522ddf8b" providerId="ADAL" clId="{C482C332-6E85-4FDA-B01D-D32C6F4C88D4}" dt="2025-11-26T10:36:51.732" v="2289" actId="108"/>
        <pc:sldMkLst>
          <pc:docMk/>
          <pc:sldMk cId="1054835262" sldId="2147483488"/>
        </pc:sldMkLst>
        <pc:spChg chg="mod">
          <ac:chgData name="Koller Eva" userId="2cab538e-8d3a-4c8b-883f-027c522ddf8b" providerId="ADAL" clId="{C482C332-6E85-4FDA-B01D-D32C6F4C88D4}" dt="2025-11-26T08:42:13.518" v="2263" actId="108"/>
          <ac:spMkLst>
            <pc:docMk/>
            <pc:sldMk cId="1054835262" sldId="2147483488"/>
            <ac:spMk id="2" creationId="{727F7A3C-F8F3-B3E4-D1CE-F5DB928D5D4D}"/>
          </ac:spMkLst>
        </pc:spChg>
        <pc:spChg chg="add mod">
          <ac:chgData name="Koller Eva" userId="2cab538e-8d3a-4c8b-883f-027c522ddf8b" providerId="ADAL" clId="{C482C332-6E85-4FDA-B01D-D32C6F4C88D4}" dt="2025-11-25T18:58:03.071" v="1586" actId="1076"/>
          <ac:spMkLst>
            <pc:docMk/>
            <pc:sldMk cId="1054835262" sldId="2147483488"/>
            <ac:spMk id="5" creationId="{B87D4105-FA3A-279B-F062-60AD581EAE80}"/>
          </ac:spMkLst>
        </pc:spChg>
        <pc:spChg chg="mod">
          <ac:chgData name="Koller Eva" userId="2cab538e-8d3a-4c8b-883f-027c522ddf8b" providerId="ADAL" clId="{C482C332-6E85-4FDA-B01D-D32C6F4C88D4}" dt="2025-11-25T18:55:34.688" v="1569" actId="14100"/>
          <ac:spMkLst>
            <pc:docMk/>
            <pc:sldMk cId="1054835262" sldId="2147483488"/>
            <ac:spMk id="29" creationId="{BC91E8A9-D83C-AB37-0C69-582AC3B63B7B}"/>
          </ac:spMkLst>
        </pc:spChg>
        <pc:spChg chg="mod">
          <ac:chgData name="Koller Eva" userId="2cab538e-8d3a-4c8b-883f-027c522ddf8b" providerId="ADAL" clId="{C482C332-6E85-4FDA-B01D-D32C6F4C88D4}" dt="2025-11-26T10:36:44.737" v="2281" actId="108"/>
          <ac:spMkLst>
            <pc:docMk/>
            <pc:sldMk cId="1054835262" sldId="2147483488"/>
            <ac:spMk id="59" creationId="{9CDBC5C0-D728-4DCE-3CC4-4DD7B64A7C0F}"/>
          </ac:spMkLst>
        </pc:spChg>
        <pc:spChg chg="mod">
          <ac:chgData name="Koller Eva" userId="2cab538e-8d3a-4c8b-883f-027c522ddf8b" providerId="ADAL" clId="{C482C332-6E85-4FDA-B01D-D32C6F4C88D4}" dt="2025-11-26T10:36:49.286" v="2285" actId="108"/>
          <ac:spMkLst>
            <pc:docMk/>
            <pc:sldMk cId="1054835262" sldId="2147483488"/>
            <ac:spMk id="62" creationId="{D5CBF434-CF34-6251-5722-A115F83BEE80}"/>
          </ac:spMkLst>
        </pc:spChg>
        <pc:spChg chg="mod">
          <ac:chgData name="Koller Eva" userId="2cab538e-8d3a-4c8b-883f-027c522ddf8b" providerId="ADAL" clId="{C482C332-6E85-4FDA-B01D-D32C6F4C88D4}" dt="2025-11-26T10:36:51.732" v="2289" actId="108"/>
          <ac:spMkLst>
            <pc:docMk/>
            <pc:sldMk cId="1054835262" sldId="2147483488"/>
            <ac:spMk id="65" creationId="{7B85BAFF-2E2B-F059-65A6-3FE0B035028B}"/>
          </ac:spMkLst>
        </pc:spChg>
        <pc:spChg chg="mod">
          <ac:chgData name="Koller Eva" userId="2cab538e-8d3a-4c8b-883f-027c522ddf8b" providerId="ADAL" clId="{C482C332-6E85-4FDA-B01D-D32C6F4C88D4}" dt="2025-11-26T10:36:40.107" v="2278" actId="108"/>
          <ac:spMkLst>
            <pc:docMk/>
            <pc:sldMk cId="1054835262" sldId="2147483488"/>
            <ac:spMk id="68" creationId="{3EA4BA59-E03C-116B-B73D-EABF6DAF1306}"/>
          </ac:spMkLst>
        </pc:spChg>
        <pc:spChg chg="mod">
          <ac:chgData name="Koller Eva" userId="2cab538e-8d3a-4c8b-883f-027c522ddf8b" providerId="ADAL" clId="{C482C332-6E85-4FDA-B01D-D32C6F4C88D4}" dt="2025-11-26T10:36:50.555" v="2287" actId="108"/>
          <ac:spMkLst>
            <pc:docMk/>
            <pc:sldMk cId="1054835262" sldId="2147483488"/>
            <ac:spMk id="71" creationId="{33B12D28-EE87-F3FF-A566-F3F0D7F44DE5}"/>
          </ac:spMkLst>
        </pc:spChg>
        <pc:spChg chg="mod">
          <ac:chgData name="Koller Eva" userId="2cab538e-8d3a-4c8b-883f-027c522ddf8b" providerId="ADAL" clId="{C482C332-6E85-4FDA-B01D-D32C6F4C88D4}" dt="2025-11-24T14:30:35.514" v="1174" actId="1076"/>
          <ac:spMkLst>
            <pc:docMk/>
            <pc:sldMk cId="1054835262" sldId="2147483488"/>
            <ac:spMk id="111" creationId="{E0FD2BE5-1147-B9D7-A908-AB3A93A7769D}"/>
          </ac:spMkLst>
        </pc:spChg>
        <pc:spChg chg="mod">
          <ac:chgData name="Koller Eva" userId="2cab538e-8d3a-4c8b-883f-027c522ddf8b" providerId="ADAL" clId="{C482C332-6E85-4FDA-B01D-D32C6F4C88D4}" dt="2025-11-26T10:36:42.854" v="2280" actId="108"/>
          <ac:spMkLst>
            <pc:docMk/>
            <pc:sldMk cId="1054835262" sldId="2147483488"/>
            <ac:spMk id="131" creationId="{67F280C4-D023-2C44-0CF4-34A551D17AC2}"/>
          </ac:spMkLst>
        </pc:spChg>
        <pc:grpChg chg="mod">
          <ac:chgData name="Koller Eva" userId="2cab538e-8d3a-4c8b-883f-027c522ddf8b" providerId="ADAL" clId="{C482C332-6E85-4FDA-B01D-D32C6F4C88D4}" dt="2025-11-26T10:36:48.021" v="2283" actId="1076"/>
          <ac:grpSpMkLst>
            <pc:docMk/>
            <pc:sldMk cId="1054835262" sldId="2147483488"/>
            <ac:grpSpMk id="60" creationId="{B1A5CCF4-A3F8-EBE8-DEC5-BABFD53B4600}"/>
          </ac:grpSpMkLst>
        </pc:grpChg>
      </pc:sldChg>
      <pc:sldChg chg="modSp mod modAnim">
        <pc:chgData name="Koller Eva" userId="2cab538e-8d3a-4c8b-883f-027c522ddf8b" providerId="ADAL" clId="{C482C332-6E85-4FDA-B01D-D32C6F4C88D4}" dt="2025-11-26T10:37:10.853" v="2304" actId="108"/>
        <pc:sldMkLst>
          <pc:docMk/>
          <pc:sldMk cId="2618028032" sldId="2147483489"/>
        </pc:sldMkLst>
        <pc:spChg chg="mod">
          <ac:chgData name="Koller Eva" userId="2cab538e-8d3a-4c8b-883f-027c522ddf8b" providerId="ADAL" clId="{C482C332-6E85-4FDA-B01D-D32C6F4C88D4}" dt="2025-11-25T18:57:22.377" v="1583" actId="122"/>
          <ac:spMkLst>
            <pc:docMk/>
            <pc:sldMk cId="2618028032" sldId="2147483489"/>
            <ac:spMk id="9" creationId="{9FCC0C41-DB27-181D-21EA-7E96BDE91CC8}"/>
          </ac:spMkLst>
        </pc:spChg>
        <pc:spChg chg="mod">
          <ac:chgData name="Koller Eva" userId="2cab538e-8d3a-4c8b-883f-027c522ddf8b" providerId="ADAL" clId="{C482C332-6E85-4FDA-B01D-D32C6F4C88D4}" dt="2025-11-25T18:57:15.416" v="1582" actId="14100"/>
          <ac:spMkLst>
            <pc:docMk/>
            <pc:sldMk cId="2618028032" sldId="2147483489"/>
            <ac:spMk id="11" creationId="{C9FBD3DF-C048-2F0A-9045-762B5F6E5B2A}"/>
          </ac:spMkLst>
        </pc:spChg>
        <pc:spChg chg="mod">
          <ac:chgData name="Koller Eva" userId="2cab538e-8d3a-4c8b-883f-027c522ddf8b" providerId="ADAL" clId="{C482C332-6E85-4FDA-B01D-D32C6F4C88D4}" dt="2025-11-26T10:37:09.926" v="2302" actId="108"/>
          <ac:spMkLst>
            <pc:docMk/>
            <pc:sldMk cId="2618028032" sldId="2147483489"/>
            <ac:spMk id="62" creationId="{FE3FC069-8217-793B-31ED-8CC93279E092}"/>
          </ac:spMkLst>
        </pc:spChg>
        <pc:spChg chg="mod">
          <ac:chgData name="Koller Eva" userId="2cab538e-8d3a-4c8b-883f-027c522ddf8b" providerId="ADAL" clId="{C482C332-6E85-4FDA-B01D-D32C6F4C88D4}" dt="2025-11-26T10:37:08.188" v="2300" actId="108"/>
          <ac:spMkLst>
            <pc:docMk/>
            <pc:sldMk cId="2618028032" sldId="2147483489"/>
            <ac:spMk id="68" creationId="{964ED6D5-73E2-C130-14DC-0EEF244E485C}"/>
          </ac:spMkLst>
        </pc:spChg>
        <pc:spChg chg="mod">
          <ac:chgData name="Koller Eva" userId="2cab538e-8d3a-4c8b-883f-027c522ddf8b" providerId="ADAL" clId="{C482C332-6E85-4FDA-B01D-D32C6F4C88D4}" dt="2025-11-26T10:37:10.853" v="2304" actId="108"/>
          <ac:spMkLst>
            <pc:docMk/>
            <pc:sldMk cId="2618028032" sldId="2147483489"/>
            <ac:spMk id="71" creationId="{9FD6C7A4-30A4-42E4-F741-6A61802EE23B}"/>
          </ac:spMkLst>
        </pc:spChg>
      </pc:sldChg>
      <pc:sldChg chg="addSp delSp modSp del mod modAnim">
        <pc:chgData name="Koller Eva" userId="2cab538e-8d3a-4c8b-883f-027c522ddf8b" providerId="ADAL" clId="{C482C332-6E85-4FDA-B01D-D32C6F4C88D4}" dt="2025-11-25T15:35:10.068" v="1468" actId="47"/>
        <pc:sldMkLst>
          <pc:docMk/>
          <pc:sldMk cId="203982738" sldId="2147483490"/>
        </pc:sldMkLst>
      </pc:sldChg>
      <pc:sldChg chg="addSp delSp modSp new mod modAnim">
        <pc:chgData name="Koller Eva" userId="2cab538e-8d3a-4c8b-883f-027c522ddf8b" providerId="ADAL" clId="{C482C332-6E85-4FDA-B01D-D32C6F4C88D4}" dt="2025-11-26T19:40:24.153" v="2790" actId="113"/>
        <pc:sldMkLst>
          <pc:docMk/>
          <pc:sldMk cId="963157217" sldId="2147483491"/>
        </pc:sldMkLst>
        <pc:spChg chg="mod">
          <ac:chgData name="Koller Eva" userId="2cab538e-8d3a-4c8b-883f-027c522ddf8b" providerId="ADAL" clId="{C482C332-6E85-4FDA-B01D-D32C6F4C88D4}" dt="2025-11-25T15:19:19.844" v="1335" actId="14100"/>
          <ac:spMkLst>
            <pc:docMk/>
            <pc:sldMk cId="963157217" sldId="2147483491"/>
            <ac:spMk id="2" creationId="{E96FF4E3-62CE-40A4-A939-98A3965B8F3E}"/>
          </ac:spMkLst>
        </pc:spChg>
        <pc:spChg chg="add del mod">
          <ac:chgData name="Koller Eva" userId="2cab538e-8d3a-4c8b-883f-027c522ddf8b" providerId="ADAL" clId="{C482C332-6E85-4FDA-B01D-D32C6F4C88D4}" dt="2025-11-26T19:40:24.153" v="2790" actId="113"/>
          <ac:spMkLst>
            <pc:docMk/>
            <pc:sldMk cId="963157217" sldId="2147483491"/>
            <ac:spMk id="3" creationId="{1BF53F01-A61B-D400-5AB6-3DA1C4225F9B}"/>
          </ac:spMkLst>
        </pc:spChg>
        <pc:spChg chg="add del mod">
          <ac:chgData name="Koller Eva" userId="2cab538e-8d3a-4c8b-883f-027c522ddf8b" providerId="ADAL" clId="{C482C332-6E85-4FDA-B01D-D32C6F4C88D4}" dt="2025-11-26T19:35:33.762" v="2646" actId="478"/>
          <ac:spMkLst>
            <pc:docMk/>
            <pc:sldMk cId="963157217" sldId="2147483491"/>
            <ac:spMk id="5" creationId="{35A77245-8856-0DA9-1194-7596BAD883A8}"/>
          </ac:spMkLst>
        </pc:spChg>
      </pc:sldChg>
      <pc:sldChg chg="addSp delSp modSp new del mod modAnim">
        <pc:chgData name="Koller Eva" userId="2cab538e-8d3a-4c8b-883f-027c522ddf8b" providerId="ADAL" clId="{C482C332-6E85-4FDA-B01D-D32C6F4C88D4}" dt="2025-11-26T19:38:17.348" v="2776" actId="47"/>
        <pc:sldMkLst>
          <pc:docMk/>
          <pc:sldMk cId="3461440842" sldId="2147483492"/>
        </pc:sldMkLst>
      </pc:sldChg>
      <pc:sldChg chg="delSp modSp add del mod">
        <pc:chgData name="Koller Eva" userId="2cab538e-8d3a-4c8b-883f-027c522ddf8b" providerId="ADAL" clId="{C482C332-6E85-4FDA-B01D-D32C6F4C88D4}" dt="2025-11-25T15:35:11.751" v="1469" actId="47"/>
        <pc:sldMkLst>
          <pc:docMk/>
          <pc:sldMk cId="434279765" sldId="2147483493"/>
        </pc:sldMkLst>
      </pc:sldChg>
      <pc:sldChg chg="add del">
        <pc:chgData name="Koller Eva" userId="2cab538e-8d3a-4c8b-883f-027c522ddf8b" providerId="ADAL" clId="{C482C332-6E85-4FDA-B01D-D32C6F4C88D4}" dt="2025-11-24T11:54:28.524" v="1136" actId="47"/>
        <pc:sldMkLst>
          <pc:docMk/>
          <pc:sldMk cId="3646776111" sldId="2147483493"/>
        </pc:sldMkLst>
      </pc:sldChg>
      <pc:sldChg chg="delSp modSp add del mod">
        <pc:chgData name="Koller Eva" userId="2cab538e-8d3a-4c8b-883f-027c522ddf8b" providerId="ADAL" clId="{C482C332-6E85-4FDA-B01D-D32C6F4C88D4}" dt="2025-11-25T15:35:12.969" v="1470" actId="47"/>
        <pc:sldMkLst>
          <pc:docMk/>
          <pc:sldMk cId="2739263752" sldId="2147483494"/>
        </pc:sldMkLst>
      </pc:sldChg>
      <pc:sldChg chg="modSp add del mod">
        <pc:chgData name="Koller Eva" userId="2cab538e-8d3a-4c8b-883f-027c522ddf8b" providerId="ADAL" clId="{C482C332-6E85-4FDA-B01D-D32C6F4C88D4}" dt="2025-11-25T15:35:16.109" v="1471" actId="47"/>
        <pc:sldMkLst>
          <pc:docMk/>
          <pc:sldMk cId="1793734331" sldId="2147483495"/>
        </pc:sldMkLst>
      </pc:sldChg>
      <pc:sldChg chg="modSp add del mod">
        <pc:chgData name="Koller Eva" userId="2cab538e-8d3a-4c8b-883f-027c522ddf8b" providerId="ADAL" clId="{C482C332-6E85-4FDA-B01D-D32C6F4C88D4}" dt="2025-11-25T15:35:21.486" v="1472" actId="47"/>
        <pc:sldMkLst>
          <pc:docMk/>
          <pc:sldMk cId="1942938821" sldId="2147483496"/>
        </pc:sldMkLst>
      </pc:sldChg>
      <pc:sldChg chg="modSp add del mod">
        <pc:chgData name="Koller Eva" userId="2cab538e-8d3a-4c8b-883f-027c522ddf8b" providerId="ADAL" clId="{C482C332-6E85-4FDA-B01D-D32C6F4C88D4}" dt="2025-11-25T15:35:25.260" v="1473" actId="47"/>
        <pc:sldMkLst>
          <pc:docMk/>
          <pc:sldMk cId="3404244965" sldId="2147483497"/>
        </pc:sldMkLst>
      </pc:sldChg>
      <pc:sldChg chg="modSp add mod">
        <pc:chgData name="Koller Eva" userId="2cab538e-8d3a-4c8b-883f-027c522ddf8b" providerId="ADAL" clId="{C482C332-6E85-4FDA-B01D-D32C6F4C88D4}" dt="2025-11-26T09:23:06.397" v="2276" actId="20577"/>
        <pc:sldMkLst>
          <pc:docMk/>
          <pc:sldMk cId="4144948208" sldId="2147483498"/>
        </pc:sldMkLst>
        <pc:spChg chg="mod">
          <ac:chgData name="Koller Eva" userId="2cab538e-8d3a-4c8b-883f-027c522ddf8b" providerId="ADAL" clId="{C482C332-6E85-4FDA-B01D-D32C6F4C88D4}" dt="2025-11-26T09:23:06.397" v="2276" actId="20577"/>
          <ac:spMkLst>
            <pc:docMk/>
            <pc:sldMk cId="4144948208" sldId="2147483498"/>
            <ac:spMk id="3" creationId="{1F65CC41-3519-3E0A-1153-EECDDB4CF62C}"/>
          </ac:spMkLst>
        </pc:spChg>
        <pc:cxnChg chg="mod">
          <ac:chgData name="Koller Eva" userId="2cab538e-8d3a-4c8b-883f-027c522ddf8b" providerId="ADAL" clId="{C482C332-6E85-4FDA-B01D-D32C6F4C88D4}" dt="2025-11-25T15:34:20.926" v="1465" actId="1076"/>
          <ac:cxnSpMkLst>
            <pc:docMk/>
            <pc:sldMk cId="4144948208" sldId="2147483498"/>
            <ac:cxnSpMk id="5" creationId="{62896295-C940-168F-288B-6D0ACF726A85}"/>
          </ac:cxnSpMkLst>
        </pc:cxnChg>
        <pc:cxnChg chg="mod">
          <ac:chgData name="Koller Eva" userId="2cab538e-8d3a-4c8b-883f-027c522ddf8b" providerId="ADAL" clId="{C482C332-6E85-4FDA-B01D-D32C6F4C88D4}" dt="2025-11-25T15:33:58.726" v="1461" actId="1076"/>
          <ac:cxnSpMkLst>
            <pc:docMk/>
            <pc:sldMk cId="4144948208" sldId="2147483498"/>
            <ac:cxnSpMk id="7" creationId="{2CC69241-5632-BC04-9873-5A70763F990C}"/>
          </ac:cxnSpMkLst>
        </pc:cxnChg>
        <pc:cxnChg chg="mod">
          <ac:chgData name="Koller Eva" userId="2cab538e-8d3a-4c8b-883f-027c522ddf8b" providerId="ADAL" clId="{C482C332-6E85-4FDA-B01D-D32C6F4C88D4}" dt="2025-11-25T15:33:19.051" v="1458" actId="1076"/>
          <ac:cxnSpMkLst>
            <pc:docMk/>
            <pc:sldMk cId="4144948208" sldId="2147483498"/>
            <ac:cxnSpMk id="8" creationId="{6563D134-ECDA-6D1C-0221-6A5403EFC5B0}"/>
          </ac:cxnSpMkLst>
        </pc:cxnChg>
        <pc:cxnChg chg="mod">
          <ac:chgData name="Koller Eva" userId="2cab538e-8d3a-4c8b-883f-027c522ddf8b" providerId="ADAL" clId="{C482C332-6E85-4FDA-B01D-D32C6F4C88D4}" dt="2025-11-25T15:33:27.378" v="1460" actId="14100"/>
          <ac:cxnSpMkLst>
            <pc:docMk/>
            <pc:sldMk cId="4144948208" sldId="2147483498"/>
            <ac:cxnSpMk id="17" creationId="{62718E40-E162-DDFC-EDDB-2247C128325C}"/>
          </ac:cxnSpMkLst>
        </pc:cxnChg>
        <pc:cxnChg chg="mod">
          <ac:chgData name="Koller Eva" userId="2cab538e-8d3a-4c8b-883f-027c522ddf8b" providerId="ADAL" clId="{C482C332-6E85-4FDA-B01D-D32C6F4C88D4}" dt="2025-11-25T15:34:05.582" v="1463" actId="1076"/>
          <ac:cxnSpMkLst>
            <pc:docMk/>
            <pc:sldMk cId="4144948208" sldId="2147483498"/>
            <ac:cxnSpMk id="20" creationId="{ABF86E71-AECA-FAD3-8745-259B67B0B4B2}"/>
          </ac:cxnSpMkLst>
        </pc:cxnChg>
        <pc:cxnChg chg="mod">
          <ac:chgData name="Koller Eva" userId="2cab538e-8d3a-4c8b-883f-027c522ddf8b" providerId="ADAL" clId="{C482C332-6E85-4FDA-B01D-D32C6F4C88D4}" dt="2025-11-25T15:34:24.771" v="1466" actId="1076"/>
          <ac:cxnSpMkLst>
            <pc:docMk/>
            <pc:sldMk cId="4144948208" sldId="2147483498"/>
            <ac:cxnSpMk id="23" creationId="{3335C385-D241-7A22-9EEE-42D8F190D01F}"/>
          </ac:cxnSpMkLst>
        </pc:cxnChg>
      </pc:sldChg>
      <pc:sldChg chg="delSp modSp add mod">
        <pc:chgData name="Koller Eva" userId="2cab538e-8d3a-4c8b-883f-027c522ddf8b" providerId="ADAL" clId="{C482C332-6E85-4FDA-B01D-D32C6F4C88D4}" dt="2025-11-25T15:35:40.116" v="1483" actId="478"/>
        <pc:sldMkLst>
          <pc:docMk/>
          <pc:sldMk cId="811030301" sldId="2147483499"/>
        </pc:sldMkLst>
        <pc:spChg chg="mod">
          <ac:chgData name="Koller Eva" userId="2cab538e-8d3a-4c8b-883f-027c522ddf8b" providerId="ADAL" clId="{C482C332-6E85-4FDA-B01D-D32C6F4C88D4}" dt="2025-11-25T15:35:33.821" v="1477" actId="6549"/>
          <ac:spMkLst>
            <pc:docMk/>
            <pc:sldMk cId="811030301" sldId="2147483499"/>
            <ac:spMk id="3" creationId="{E254FB18-C9C4-13B1-4CAE-F46D9AAC0169}"/>
          </ac:spMkLst>
        </pc:spChg>
      </pc:sldChg>
      <pc:sldChg chg="delSp modSp add mod">
        <pc:chgData name="Koller Eva" userId="2cab538e-8d3a-4c8b-883f-027c522ddf8b" providerId="ADAL" clId="{C482C332-6E85-4FDA-B01D-D32C6F4C88D4}" dt="2025-11-25T15:35:47.961" v="1488" actId="6549"/>
        <pc:sldMkLst>
          <pc:docMk/>
          <pc:sldMk cId="2549325284" sldId="2147483500"/>
        </pc:sldMkLst>
        <pc:spChg chg="mod">
          <ac:chgData name="Koller Eva" userId="2cab538e-8d3a-4c8b-883f-027c522ddf8b" providerId="ADAL" clId="{C482C332-6E85-4FDA-B01D-D32C6F4C88D4}" dt="2025-11-25T15:35:47.961" v="1488" actId="6549"/>
          <ac:spMkLst>
            <pc:docMk/>
            <pc:sldMk cId="2549325284" sldId="2147483500"/>
            <ac:spMk id="3" creationId="{066181C7-A5DA-84E1-3F8B-EDB0A2F6A858}"/>
          </ac:spMkLst>
        </pc:spChg>
      </pc:sldChg>
      <pc:sldChg chg="delSp modSp add mod">
        <pc:chgData name="Koller Eva" userId="2cab538e-8d3a-4c8b-883f-027c522ddf8b" providerId="ADAL" clId="{C482C332-6E85-4FDA-B01D-D32C6F4C88D4}" dt="2025-11-25T15:35:57.848" v="1491" actId="6549"/>
        <pc:sldMkLst>
          <pc:docMk/>
          <pc:sldMk cId="839876423" sldId="2147483501"/>
        </pc:sldMkLst>
        <pc:spChg chg="mod">
          <ac:chgData name="Koller Eva" userId="2cab538e-8d3a-4c8b-883f-027c522ddf8b" providerId="ADAL" clId="{C482C332-6E85-4FDA-B01D-D32C6F4C88D4}" dt="2025-11-25T15:35:57.848" v="1491" actId="6549"/>
          <ac:spMkLst>
            <pc:docMk/>
            <pc:sldMk cId="839876423" sldId="2147483501"/>
            <ac:spMk id="3" creationId="{B3A1ECCF-AB09-77FF-B4D3-35D8A69C30C1}"/>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AB99CB3B-C6CB-4DA2-A3CA-B2B0124A75D6}"/>
              </a:ext>
            </a:extLst>
          </p:cNvPr>
          <p:cNvSpPr>
            <a:spLocks noGrp="1"/>
          </p:cNvSpPr>
          <p:nvPr>
            <p:ph type="hdr" sz="quarter"/>
          </p:nvPr>
        </p:nvSpPr>
        <p:spPr>
          <a:xfrm>
            <a:off x="0" y="0"/>
            <a:ext cx="3076363" cy="513508"/>
          </a:xfrm>
          <a:prstGeom prst="rect">
            <a:avLst/>
          </a:prstGeom>
        </p:spPr>
        <p:txBody>
          <a:bodyPr vert="horz" lIns="99048" tIns="49524" rIns="99048" bIns="49524" rtlCol="0"/>
          <a:lstStyle>
            <a:lvl1pPr algn="l">
              <a:defRPr sz="1300"/>
            </a:lvl1pPr>
          </a:lstStyle>
          <a:p>
            <a:endParaRPr lang="en-US" sz="1000"/>
          </a:p>
        </p:txBody>
      </p:sp>
      <p:sp>
        <p:nvSpPr>
          <p:cNvPr id="3" name="Datumsplatzhalter 2">
            <a:extLst>
              <a:ext uri="{FF2B5EF4-FFF2-40B4-BE49-F238E27FC236}">
                <a16:creationId xmlns:a16="http://schemas.microsoft.com/office/drawing/2014/main" id="{34D41070-F064-46D8-B897-40D02D329921}"/>
              </a:ext>
            </a:extLst>
          </p:cNvPr>
          <p:cNvSpPr>
            <a:spLocks noGrp="1"/>
          </p:cNvSpPr>
          <p:nvPr>
            <p:ph type="dt" sz="quarter" idx="1"/>
          </p:nvPr>
        </p:nvSpPr>
        <p:spPr>
          <a:xfrm>
            <a:off x="4021294" y="0"/>
            <a:ext cx="3076363" cy="513508"/>
          </a:xfrm>
          <a:prstGeom prst="rect">
            <a:avLst/>
          </a:prstGeom>
        </p:spPr>
        <p:txBody>
          <a:bodyPr vert="horz" lIns="99048" tIns="49524" rIns="99048" bIns="49524" rtlCol="0"/>
          <a:lstStyle>
            <a:lvl1pPr algn="r">
              <a:defRPr sz="1300"/>
            </a:lvl1pPr>
          </a:lstStyle>
          <a:p>
            <a:r>
              <a:rPr lang="de-AT" sz="1000"/>
              <a:t>26.11.2019</a:t>
            </a:r>
            <a:endParaRPr lang="en-US" sz="1000"/>
          </a:p>
        </p:txBody>
      </p:sp>
      <p:sp>
        <p:nvSpPr>
          <p:cNvPr id="4" name="Fußzeilenplatzhalter 3">
            <a:extLst>
              <a:ext uri="{FF2B5EF4-FFF2-40B4-BE49-F238E27FC236}">
                <a16:creationId xmlns:a16="http://schemas.microsoft.com/office/drawing/2014/main" id="{1CDD136F-3C8A-4C04-B7AD-75C0B6209993}"/>
              </a:ext>
            </a:extLst>
          </p:cNvPr>
          <p:cNvSpPr>
            <a:spLocks noGrp="1"/>
          </p:cNvSpPr>
          <p:nvPr>
            <p:ph type="ftr" sz="quarter" idx="2"/>
          </p:nvPr>
        </p:nvSpPr>
        <p:spPr>
          <a:xfrm>
            <a:off x="0" y="9721107"/>
            <a:ext cx="3076363" cy="513507"/>
          </a:xfrm>
          <a:prstGeom prst="rect">
            <a:avLst/>
          </a:prstGeom>
        </p:spPr>
        <p:txBody>
          <a:bodyPr vert="horz" lIns="99048" tIns="49524" rIns="99048" bIns="49524" rtlCol="0" anchor="b"/>
          <a:lstStyle>
            <a:lvl1pPr algn="l">
              <a:defRPr sz="1300"/>
            </a:lvl1pPr>
          </a:lstStyle>
          <a:p>
            <a:endParaRPr lang="en-US" sz="1000"/>
          </a:p>
        </p:txBody>
      </p:sp>
      <p:sp>
        <p:nvSpPr>
          <p:cNvPr id="5" name="Foliennummernplatzhalter 4">
            <a:extLst>
              <a:ext uri="{FF2B5EF4-FFF2-40B4-BE49-F238E27FC236}">
                <a16:creationId xmlns:a16="http://schemas.microsoft.com/office/drawing/2014/main" id="{C380B608-7C16-4B72-9B13-F695F8D44683}"/>
              </a:ext>
            </a:extLst>
          </p:cNvPr>
          <p:cNvSpPr>
            <a:spLocks noGrp="1"/>
          </p:cNvSpPr>
          <p:nvPr>
            <p:ph type="sldNum" sz="quarter" idx="3"/>
          </p:nvPr>
        </p:nvSpPr>
        <p:spPr>
          <a:xfrm>
            <a:off x="4021294" y="9721107"/>
            <a:ext cx="3076363" cy="513507"/>
          </a:xfrm>
          <a:prstGeom prst="rect">
            <a:avLst/>
          </a:prstGeom>
        </p:spPr>
        <p:txBody>
          <a:bodyPr vert="horz" lIns="99048" tIns="49524" rIns="99048" bIns="49524" rtlCol="0" anchor="b"/>
          <a:lstStyle>
            <a:lvl1pPr algn="r">
              <a:defRPr sz="1300"/>
            </a:lvl1pPr>
          </a:lstStyle>
          <a:p>
            <a:fld id="{9FB94BDC-EC3D-4DE4-97EE-713F352088A7}" type="slidenum">
              <a:rPr lang="en-US" sz="1000" smtClean="0"/>
              <a:t>‹Nr.›</a:t>
            </a:fld>
            <a:endParaRPr lang="en-US" sz="1000"/>
          </a:p>
        </p:txBody>
      </p:sp>
    </p:spTree>
    <p:extLst>
      <p:ext uri="{BB962C8B-B14F-4D97-AF65-F5344CB8AC3E}">
        <p14:creationId xmlns:p14="http://schemas.microsoft.com/office/powerpoint/2010/main" val="349077836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363" cy="513508"/>
          </a:xfrm>
          <a:prstGeom prst="rect">
            <a:avLst/>
          </a:prstGeom>
        </p:spPr>
        <p:txBody>
          <a:bodyPr vert="horz" lIns="99048" tIns="49524" rIns="99048" bIns="49524" rtlCol="0"/>
          <a:lstStyle>
            <a:lvl1pPr algn="l">
              <a:defRPr sz="800"/>
            </a:lvl1pPr>
          </a:lstStyle>
          <a:p>
            <a:endParaRPr lang="de-AT" dirty="0"/>
          </a:p>
        </p:txBody>
      </p:sp>
      <p:sp>
        <p:nvSpPr>
          <p:cNvPr id="3" name="Datumsplatzhalter 2"/>
          <p:cNvSpPr>
            <a:spLocks noGrp="1"/>
          </p:cNvSpPr>
          <p:nvPr>
            <p:ph type="dt" idx="1"/>
          </p:nvPr>
        </p:nvSpPr>
        <p:spPr>
          <a:xfrm>
            <a:off x="4021294" y="0"/>
            <a:ext cx="3076363" cy="513508"/>
          </a:xfrm>
          <a:prstGeom prst="rect">
            <a:avLst/>
          </a:prstGeom>
        </p:spPr>
        <p:txBody>
          <a:bodyPr vert="horz" lIns="99048" tIns="49524" rIns="99048" bIns="49524" rtlCol="0"/>
          <a:lstStyle>
            <a:lvl1pPr algn="r">
              <a:defRPr sz="800"/>
            </a:lvl1pPr>
          </a:lstStyle>
          <a:p>
            <a:r>
              <a:rPr lang="de-AT"/>
              <a:t>26.11.2019</a:t>
            </a:r>
          </a:p>
        </p:txBody>
      </p:sp>
      <p:sp>
        <p:nvSpPr>
          <p:cNvPr id="4" name="Folienbildplatzhalter 3"/>
          <p:cNvSpPr>
            <a:spLocks noGrp="1" noRot="1" noChangeAspect="1"/>
          </p:cNvSpPr>
          <p:nvPr>
            <p:ph type="sldImg" idx="2"/>
          </p:nvPr>
        </p:nvSpPr>
        <p:spPr>
          <a:xfrm>
            <a:off x="479425" y="765175"/>
            <a:ext cx="6140450" cy="3454400"/>
          </a:xfrm>
          <a:prstGeom prst="rect">
            <a:avLst/>
          </a:prstGeom>
          <a:noFill/>
          <a:ln w="12700">
            <a:solidFill>
              <a:prstClr val="black"/>
            </a:solidFill>
          </a:ln>
        </p:spPr>
        <p:txBody>
          <a:bodyPr vert="horz" lIns="99048" tIns="49524" rIns="99048" bIns="49524" rtlCol="0" anchor="ctr"/>
          <a:lstStyle/>
          <a:p>
            <a:endParaRPr lang="de-AT"/>
          </a:p>
        </p:txBody>
      </p:sp>
      <p:sp>
        <p:nvSpPr>
          <p:cNvPr id="5" name="Notizenplatzhalter 4"/>
          <p:cNvSpPr>
            <a:spLocks noGrp="1"/>
          </p:cNvSpPr>
          <p:nvPr>
            <p:ph type="body" sz="quarter" idx="3"/>
          </p:nvPr>
        </p:nvSpPr>
        <p:spPr>
          <a:xfrm>
            <a:off x="502920" y="4472311"/>
            <a:ext cx="6093460" cy="5037829"/>
          </a:xfrm>
          <a:prstGeom prst="rect">
            <a:avLst/>
          </a:prstGeom>
        </p:spPr>
        <p:txBody>
          <a:bodyPr vert="horz" lIns="99048" tIns="49524" rIns="99048" bIns="49524"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de-AT" dirty="0"/>
          </a:p>
        </p:txBody>
      </p:sp>
      <p:sp>
        <p:nvSpPr>
          <p:cNvPr id="6" name="Fußzeilenplatzhalter 5"/>
          <p:cNvSpPr>
            <a:spLocks noGrp="1"/>
          </p:cNvSpPr>
          <p:nvPr>
            <p:ph type="ftr" sz="quarter" idx="4"/>
          </p:nvPr>
        </p:nvSpPr>
        <p:spPr>
          <a:xfrm>
            <a:off x="0" y="9721107"/>
            <a:ext cx="3076363" cy="513507"/>
          </a:xfrm>
          <a:prstGeom prst="rect">
            <a:avLst/>
          </a:prstGeom>
        </p:spPr>
        <p:txBody>
          <a:bodyPr vert="horz" lIns="99048" tIns="49524" rIns="99048" bIns="49524" rtlCol="0" anchor="b"/>
          <a:lstStyle>
            <a:lvl1pPr algn="l">
              <a:defRPr sz="800"/>
            </a:lvl1pPr>
          </a:lstStyle>
          <a:p>
            <a:endParaRPr lang="de-AT"/>
          </a:p>
        </p:txBody>
      </p:sp>
      <p:sp>
        <p:nvSpPr>
          <p:cNvPr id="7" name="Foliennummernplatzhalter 6"/>
          <p:cNvSpPr>
            <a:spLocks noGrp="1"/>
          </p:cNvSpPr>
          <p:nvPr>
            <p:ph type="sldNum" sz="quarter" idx="5"/>
          </p:nvPr>
        </p:nvSpPr>
        <p:spPr>
          <a:xfrm>
            <a:off x="4021294" y="9721107"/>
            <a:ext cx="3076363" cy="513507"/>
          </a:xfrm>
          <a:prstGeom prst="rect">
            <a:avLst/>
          </a:prstGeom>
        </p:spPr>
        <p:txBody>
          <a:bodyPr vert="horz" lIns="99048" tIns="49524" rIns="99048" bIns="49524" rtlCol="0" anchor="b"/>
          <a:lstStyle>
            <a:lvl1pPr algn="r">
              <a:defRPr sz="800"/>
            </a:lvl1pPr>
          </a:lstStyle>
          <a:p>
            <a:fld id="{5388B6CA-C957-4AC7-B5B3-4A7F33AE0319}" type="slidenum">
              <a:rPr lang="de-AT" smtClean="0"/>
              <a:pPr/>
              <a:t>‹Nr.›</a:t>
            </a:fld>
            <a:endParaRPr lang="de-AT"/>
          </a:p>
        </p:txBody>
      </p:sp>
    </p:spTree>
    <p:extLst>
      <p:ext uri="{BB962C8B-B14F-4D97-AF65-F5344CB8AC3E}">
        <p14:creationId xmlns:p14="http://schemas.microsoft.com/office/powerpoint/2010/main" val="2317205416"/>
      </p:ext>
    </p:extLst>
  </p:cSld>
  <p:clrMap bg1="lt1" tx1="dk1" bg2="lt2" tx2="dk2" accent1="accent1" accent2="accent2" accent3="accent3" accent4="accent4" accent5="accent5" accent6="accent6" hlink="hlink" folHlink="folHlink"/>
  <p:hf hdr="0" ftr="0" dt="0"/>
  <p:notesStyle>
    <a:lvl1pPr marL="0" algn="l" defTabSz="685800" rtl="0" eaLnBrk="1" latinLnBrk="0" hangingPunct="1">
      <a:defRPr sz="1100" kern="1200">
        <a:solidFill>
          <a:schemeClr val="tx1"/>
        </a:solidFill>
        <a:latin typeface="+mn-lt"/>
        <a:ea typeface="+mn-ea"/>
        <a:cs typeface="+mn-cs"/>
      </a:defRPr>
    </a:lvl1pPr>
    <a:lvl2pPr marL="342900" algn="l" defTabSz="685800" rtl="0" eaLnBrk="1" latinLnBrk="0" hangingPunct="1">
      <a:defRPr sz="1100" kern="1200">
        <a:solidFill>
          <a:schemeClr val="tx1"/>
        </a:solidFill>
        <a:latin typeface="+mn-lt"/>
        <a:ea typeface="+mn-ea"/>
        <a:cs typeface="+mn-cs"/>
      </a:defRPr>
    </a:lvl2pPr>
    <a:lvl3pPr marL="685800" algn="l" defTabSz="685800" rtl="0" eaLnBrk="1" latinLnBrk="0" hangingPunct="1">
      <a:defRPr sz="1100" kern="1200">
        <a:solidFill>
          <a:schemeClr val="tx1"/>
        </a:solidFill>
        <a:latin typeface="+mn-lt"/>
        <a:ea typeface="+mn-ea"/>
        <a:cs typeface="+mn-cs"/>
      </a:defRPr>
    </a:lvl3pPr>
    <a:lvl4pPr marL="1028700" algn="l" defTabSz="685800" rtl="0" eaLnBrk="1" latinLnBrk="0" hangingPunct="1">
      <a:defRPr sz="1100" kern="1200">
        <a:solidFill>
          <a:schemeClr val="tx1"/>
        </a:solidFill>
        <a:latin typeface="+mn-lt"/>
        <a:ea typeface="+mn-ea"/>
        <a:cs typeface="+mn-cs"/>
      </a:defRPr>
    </a:lvl4pPr>
    <a:lvl5pPr marL="1371600" algn="l" defTabSz="685800" rtl="0" eaLnBrk="1" latinLnBrk="0" hangingPunct="1">
      <a:defRPr sz="11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66.xml"/><Relationship Id="rId1" Type="http://schemas.openxmlformats.org/officeDocument/2006/relationships/tags" Target="../tags/tag65.xml"/><Relationship Id="rId4"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dirty="0"/>
          </a:p>
        </p:txBody>
      </p:sp>
      <p:sp>
        <p:nvSpPr>
          <p:cNvPr id="4" name="Foliennummernplatzhalter 3"/>
          <p:cNvSpPr>
            <a:spLocks noGrp="1"/>
          </p:cNvSpPr>
          <p:nvPr>
            <p:ph type="sldNum" sz="quarter" idx="5"/>
          </p:nvPr>
        </p:nvSpPr>
        <p:spPr/>
        <p:txBody>
          <a:bodyPr/>
          <a:lstStyle/>
          <a:p>
            <a:fld id="{5388B6CA-C957-4AC7-B5B3-4A7F33AE0319}" type="slidenum">
              <a:rPr lang="de-AT" smtClean="0"/>
              <a:pPr/>
              <a:t>1</a:t>
            </a:fld>
            <a:endParaRPr lang="de-AT" dirty="0"/>
          </a:p>
        </p:txBody>
      </p:sp>
    </p:spTree>
    <p:extLst>
      <p:ext uri="{BB962C8B-B14F-4D97-AF65-F5344CB8AC3E}">
        <p14:creationId xmlns:p14="http://schemas.microsoft.com/office/powerpoint/2010/main" val="10423638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a:xfrm>
            <a:off x="47625" y="722313"/>
            <a:ext cx="6424613" cy="3614737"/>
          </a:xfrm>
        </p:spPr>
      </p:sp>
      <p:sp>
        <p:nvSpPr>
          <p:cNvPr id="3" name="Notizenplatzhalter 2"/>
          <p:cNvSpPr>
            <a:spLocks noGrp="1"/>
          </p:cNvSpPr>
          <p:nvPr>
            <p:ph type="body" idx="1"/>
            <p:custDataLst>
              <p:tags r:id="rId2"/>
            </p:custDataLst>
          </p:nvPr>
        </p:nvSpPr>
        <p:spPr/>
        <p:txBody>
          <a:bodyPr>
            <a:normAutofit/>
          </a:bodyPr>
          <a:lstStyle/>
          <a:p>
            <a:endParaRPr lang="de-AT"/>
          </a:p>
        </p:txBody>
      </p:sp>
    </p:spTree>
    <p:extLst>
      <p:ext uri="{BB962C8B-B14F-4D97-AF65-F5344CB8AC3E}">
        <p14:creationId xmlns:p14="http://schemas.microsoft.com/office/powerpoint/2010/main" val="34015274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391705-330F-158E-757F-13641F628116}"/>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42928653-FB3C-D37C-4638-BE5EE9F0FF90}"/>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D100D35F-CF17-0CA9-F3FB-2696D4FBF2FE}"/>
              </a:ext>
            </a:extLst>
          </p:cNvPr>
          <p:cNvSpPr>
            <a:spLocks noGrp="1"/>
          </p:cNvSpPr>
          <p:nvPr>
            <p:ph type="body" idx="1"/>
          </p:nvPr>
        </p:nvSpPr>
        <p:spPr/>
        <p:txBody>
          <a:bodyPr/>
          <a:lstStyle/>
          <a:p>
            <a:endParaRPr lang="de-AT" dirty="0"/>
          </a:p>
        </p:txBody>
      </p:sp>
      <p:sp>
        <p:nvSpPr>
          <p:cNvPr id="4" name="Foliennummernplatzhalter 3">
            <a:extLst>
              <a:ext uri="{FF2B5EF4-FFF2-40B4-BE49-F238E27FC236}">
                <a16:creationId xmlns:a16="http://schemas.microsoft.com/office/drawing/2014/main" id="{FEA44F43-703C-D7C1-7728-005E4E611CFC}"/>
              </a:ext>
            </a:extLst>
          </p:cNvPr>
          <p:cNvSpPr>
            <a:spLocks noGrp="1"/>
          </p:cNvSpPr>
          <p:nvPr>
            <p:ph type="sldNum" sz="quarter" idx="5"/>
          </p:nvPr>
        </p:nvSpPr>
        <p:spPr/>
        <p:txBody>
          <a:bodyPr/>
          <a:lstStyle/>
          <a:p>
            <a:fld id="{5388B6CA-C957-4AC7-B5B3-4A7F33AE0319}" type="slidenum">
              <a:rPr lang="de-AT" smtClean="0"/>
              <a:pPr/>
              <a:t>7</a:t>
            </a:fld>
            <a:endParaRPr lang="de-AT" dirty="0"/>
          </a:p>
        </p:txBody>
      </p:sp>
    </p:spTree>
    <p:extLst>
      <p:ext uri="{BB962C8B-B14F-4D97-AF65-F5344CB8AC3E}">
        <p14:creationId xmlns:p14="http://schemas.microsoft.com/office/powerpoint/2010/main" val="10771788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9A2437-7775-B487-0F66-733CB2AFB81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2F138A23-196B-621B-E0FE-01A783250736}"/>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0780D25B-3456-42D8-42C2-A099B9314B47}"/>
              </a:ext>
            </a:extLst>
          </p:cNvPr>
          <p:cNvSpPr>
            <a:spLocks noGrp="1"/>
          </p:cNvSpPr>
          <p:nvPr>
            <p:ph type="body" idx="1"/>
          </p:nvPr>
        </p:nvSpPr>
        <p:spPr/>
        <p:txBody>
          <a:bodyPr/>
          <a:lstStyle/>
          <a:p>
            <a:endParaRPr lang="de-AT" dirty="0"/>
          </a:p>
        </p:txBody>
      </p:sp>
      <p:sp>
        <p:nvSpPr>
          <p:cNvPr id="4" name="Foliennummernplatzhalter 3">
            <a:extLst>
              <a:ext uri="{FF2B5EF4-FFF2-40B4-BE49-F238E27FC236}">
                <a16:creationId xmlns:a16="http://schemas.microsoft.com/office/drawing/2014/main" id="{16EDB097-BF51-EFE7-5B66-5E20EDF5666C}"/>
              </a:ext>
            </a:extLst>
          </p:cNvPr>
          <p:cNvSpPr>
            <a:spLocks noGrp="1"/>
          </p:cNvSpPr>
          <p:nvPr>
            <p:ph type="sldNum" sz="quarter" idx="5"/>
          </p:nvPr>
        </p:nvSpPr>
        <p:spPr/>
        <p:txBody>
          <a:bodyPr/>
          <a:lstStyle/>
          <a:p>
            <a:fld id="{5388B6CA-C957-4AC7-B5B3-4A7F33AE0319}" type="slidenum">
              <a:rPr lang="de-AT" smtClean="0"/>
              <a:pPr/>
              <a:t>9</a:t>
            </a:fld>
            <a:endParaRPr lang="de-AT" dirty="0"/>
          </a:p>
        </p:txBody>
      </p:sp>
    </p:spTree>
    <p:extLst>
      <p:ext uri="{BB962C8B-B14F-4D97-AF65-F5344CB8AC3E}">
        <p14:creationId xmlns:p14="http://schemas.microsoft.com/office/powerpoint/2010/main" val="4973202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hyperlink" Target="mailto:agr@agr.at" TargetMode="External"/><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531693" y="1783080"/>
            <a:ext cx="7037508" cy="1165860"/>
          </a:xfrm>
          <a:prstGeom prst="rect">
            <a:avLst/>
          </a:prstGeom>
        </p:spPr>
        <p:txBody>
          <a:bodyPr/>
          <a:lstStyle>
            <a:lvl1pPr marL="0" indent="0" algn="l">
              <a:buNone/>
              <a:defRPr sz="2200" b="0" i="0" cap="all" baseline="0">
                <a:solidFill>
                  <a:schemeClr val="accent4"/>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Master-Untertitelformat bearbeiten</a:t>
            </a:r>
            <a:endParaRPr lang="en-US" dirty="0"/>
          </a:p>
        </p:txBody>
      </p:sp>
      <p:sp>
        <p:nvSpPr>
          <p:cNvPr id="2" name="Title 1"/>
          <p:cNvSpPr>
            <a:spLocks noGrp="1"/>
          </p:cNvSpPr>
          <p:nvPr>
            <p:ph type="ctrTitle"/>
          </p:nvPr>
        </p:nvSpPr>
        <p:spPr bwMode="gray">
          <a:xfrm>
            <a:off x="531692" y="510539"/>
            <a:ext cx="7037508" cy="1066801"/>
          </a:xfrm>
        </p:spPr>
        <p:txBody>
          <a:bodyPr anchor="ctr"/>
          <a:lstStyle>
            <a:lvl1pPr algn="l">
              <a:defRPr sz="3600" i="0"/>
            </a:lvl1pPr>
          </a:lstStyle>
          <a:p>
            <a:r>
              <a:rPr lang="de-DE"/>
              <a:t>Mastertitelformat bearbeiten</a:t>
            </a:r>
            <a:endParaRPr lang="en-US" dirty="0"/>
          </a:p>
        </p:txBody>
      </p:sp>
      <p:sp>
        <p:nvSpPr>
          <p:cNvPr id="15" name="Textplatzhalter 10">
            <a:extLst>
              <a:ext uri="{FF2B5EF4-FFF2-40B4-BE49-F238E27FC236}">
                <a16:creationId xmlns:a16="http://schemas.microsoft.com/office/drawing/2014/main" id="{41176313-E7CC-45C9-B993-261B101A3B09}"/>
              </a:ext>
            </a:extLst>
          </p:cNvPr>
          <p:cNvSpPr>
            <a:spLocks noGrp="1"/>
          </p:cNvSpPr>
          <p:nvPr>
            <p:ph type="body" sz="quarter" idx="11" hasCustomPrompt="1"/>
          </p:nvPr>
        </p:nvSpPr>
        <p:spPr>
          <a:xfrm>
            <a:off x="531693" y="3231043"/>
            <a:ext cx="3107756" cy="184666"/>
          </a:xfrm>
          <a:prstGeom prst="rect">
            <a:avLst/>
          </a:prstGeom>
        </p:spPr>
        <p:txBody>
          <a:bodyPr lIns="0" tIns="0" rIns="0" bIns="0" anchor="ctr"/>
          <a:lstStyle>
            <a:lvl1pPr marL="0" indent="0">
              <a:buNone/>
              <a:defRPr sz="1400" b="1"/>
            </a:lvl1pPr>
          </a:lstStyle>
          <a:p>
            <a:pPr lvl="0"/>
            <a:r>
              <a:rPr lang="de-DE" dirty="0"/>
              <a:t>Name Vorname</a:t>
            </a:r>
          </a:p>
        </p:txBody>
      </p:sp>
      <p:sp>
        <p:nvSpPr>
          <p:cNvPr id="16" name="Textplatzhalter 12">
            <a:extLst>
              <a:ext uri="{FF2B5EF4-FFF2-40B4-BE49-F238E27FC236}">
                <a16:creationId xmlns:a16="http://schemas.microsoft.com/office/drawing/2014/main" id="{F1419CF4-EE85-48C4-9EE4-426C052C013F}"/>
              </a:ext>
            </a:extLst>
          </p:cNvPr>
          <p:cNvSpPr>
            <a:spLocks noGrp="1"/>
          </p:cNvSpPr>
          <p:nvPr>
            <p:ph type="body" sz="quarter" idx="12" hasCustomPrompt="1"/>
          </p:nvPr>
        </p:nvSpPr>
        <p:spPr>
          <a:xfrm>
            <a:off x="531693" y="3471802"/>
            <a:ext cx="3125908" cy="452020"/>
          </a:xfrm>
          <a:prstGeom prst="rect">
            <a:avLst/>
          </a:prstGeom>
        </p:spPr>
        <p:txBody>
          <a:bodyPr lIns="0" tIns="0" rIns="0" bIns="0"/>
          <a:lstStyle>
            <a:lvl1pPr marL="0" indent="0">
              <a:spcBef>
                <a:spcPts val="0"/>
              </a:spcBef>
              <a:buNone/>
              <a:defRPr sz="1400"/>
            </a:lvl1pPr>
            <a:lvl2pPr marL="266700" indent="0">
              <a:buNone/>
              <a:defRPr/>
            </a:lvl2pPr>
          </a:lstStyle>
          <a:p>
            <a:pPr lvl="0"/>
            <a:r>
              <a:rPr lang="de-DE" dirty="0"/>
              <a:t>Anlass, </a:t>
            </a:r>
            <a:br>
              <a:rPr lang="de-DE" dirty="0"/>
            </a:br>
            <a:r>
              <a:rPr lang="de-DE" dirty="0"/>
              <a:t>Datum, Ort</a:t>
            </a:r>
          </a:p>
        </p:txBody>
      </p:sp>
    </p:spTree>
    <p:extLst>
      <p:ext uri="{BB962C8B-B14F-4D97-AF65-F5344CB8AC3E}">
        <p14:creationId xmlns:p14="http://schemas.microsoft.com/office/powerpoint/2010/main" val="15391405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Text und Inhal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e-DE" dirty="0"/>
              <a:t>Titel hier einfügen (nur 1-zeilig)</a:t>
            </a:r>
            <a:endParaRPr lang="en-US" dirty="0"/>
          </a:p>
        </p:txBody>
      </p:sp>
      <p:sp>
        <p:nvSpPr>
          <p:cNvPr id="5" name="Textplatzhalter 4">
            <a:extLst>
              <a:ext uri="{FF2B5EF4-FFF2-40B4-BE49-F238E27FC236}">
                <a16:creationId xmlns:a16="http://schemas.microsoft.com/office/drawing/2014/main" id="{CD19D796-63F3-458B-A61C-8B0AC334594E}"/>
              </a:ext>
            </a:extLst>
          </p:cNvPr>
          <p:cNvSpPr>
            <a:spLocks noGrp="1"/>
          </p:cNvSpPr>
          <p:nvPr>
            <p:ph type="body" sz="quarter" idx="10"/>
          </p:nvPr>
        </p:nvSpPr>
        <p:spPr>
          <a:xfrm>
            <a:off x="522288" y="1023938"/>
            <a:ext cx="7046912" cy="602456"/>
          </a:xfrm>
        </p:spPr>
        <p:txBody>
          <a:bodyPr/>
          <a:lstStyle>
            <a:lvl1pPr marL="0" indent="0">
              <a:buNone/>
              <a:defRPr/>
            </a:lvl1pPr>
          </a:lstStyle>
          <a:p>
            <a:pPr lvl="0"/>
            <a:r>
              <a:rPr lang="de-DE"/>
              <a:t>Mastertextformat bearbeiten</a:t>
            </a:r>
          </a:p>
        </p:txBody>
      </p:sp>
      <p:sp>
        <p:nvSpPr>
          <p:cNvPr id="9" name="Inhaltsplatzhalter 8">
            <a:extLst>
              <a:ext uri="{FF2B5EF4-FFF2-40B4-BE49-F238E27FC236}">
                <a16:creationId xmlns:a16="http://schemas.microsoft.com/office/drawing/2014/main" id="{0821A209-70D8-47A1-9E76-851A845B443F}"/>
              </a:ext>
            </a:extLst>
          </p:cNvPr>
          <p:cNvSpPr>
            <a:spLocks noGrp="1"/>
          </p:cNvSpPr>
          <p:nvPr>
            <p:ph sz="quarter" idx="11" hasCustomPrompt="1"/>
          </p:nvPr>
        </p:nvSpPr>
        <p:spPr>
          <a:xfrm>
            <a:off x="522288" y="1626395"/>
            <a:ext cx="7046912" cy="2691606"/>
          </a:xfrm>
        </p:spPr>
        <p:txBody>
          <a:bodyPr/>
          <a:lstStyle>
            <a:lvl1pPr marL="0" indent="0">
              <a:buNone/>
              <a:defRPr/>
            </a:lvl1pPr>
          </a:lstStyle>
          <a:p>
            <a:pPr lvl="0"/>
            <a:r>
              <a:rPr lang="de-DE" dirty="0"/>
              <a:t>Tabelle oder Diagramm einfügen</a:t>
            </a:r>
          </a:p>
        </p:txBody>
      </p:sp>
      <p:sp>
        <p:nvSpPr>
          <p:cNvPr id="6" name="Textplatzhalter 4">
            <a:extLst>
              <a:ext uri="{FF2B5EF4-FFF2-40B4-BE49-F238E27FC236}">
                <a16:creationId xmlns:a16="http://schemas.microsoft.com/office/drawing/2014/main" id="{C39A9FA5-3936-4D6C-894F-6E278FCF71F4}"/>
              </a:ext>
            </a:extLst>
          </p:cNvPr>
          <p:cNvSpPr>
            <a:spLocks noGrp="1"/>
          </p:cNvSpPr>
          <p:nvPr>
            <p:ph type="body" sz="quarter" idx="12" hasCustomPrompt="1"/>
            <p:custDataLst>
              <p:tags r:id="rId1"/>
            </p:custDataLst>
          </p:nvPr>
        </p:nvSpPr>
        <p:spPr>
          <a:xfrm>
            <a:off x="520700" y="4321175"/>
            <a:ext cx="7048500" cy="225425"/>
          </a:xfrm>
        </p:spPr>
        <p:txBody>
          <a:bodyPr anchor="b"/>
          <a:lstStyle>
            <a:lvl1pPr marL="88900" indent="-88900">
              <a:spcBef>
                <a:spcPts val="0"/>
              </a:spcBef>
              <a:buNone/>
              <a:tabLst>
                <a:tab pos="88900" algn="l"/>
              </a:tabLst>
              <a:defRPr sz="550">
                <a:solidFill>
                  <a:schemeClr val="tx1"/>
                </a:solidFill>
              </a:defRPr>
            </a:lvl1pPr>
            <a:lvl2pPr marL="176213" indent="0">
              <a:buNone/>
              <a:defRPr sz="550">
                <a:solidFill>
                  <a:schemeClr val="tx1"/>
                </a:solidFill>
              </a:defRPr>
            </a:lvl2pPr>
            <a:lvl3pPr marL="360362" indent="0">
              <a:buNone/>
              <a:defRPr sz="550">
                <a:solidFill>
                  <a:schemeClr val="tx1"/>
                </a:solidFill>
              </a:defRPr>
            </a:lvl3pPr>
            <a:lvl4pPr marL="536575" indent="0">
              <a:buNone/>
              <a:defRPr sz="550">
                <a:solidFill>
                  <a:schemeClr val="tx1"/>
                </a:solidFill>
              </a:defRPr>
            </a:lvl4pPr>
            <a:lvl5pPr marL="719137" indent="0">
              <a:buNone/>
              <a:defRPr sz="550">
                <a:solidFill>
                  <a:schemeClr val="tx1"/>
                </a:solidFill>
              </a:defRPr>
            </a:lvl5pPr>
          </a:lstStyle>
          <a:p>
            <a:pPr lvl="0"/>
            <a:r>
              <a:rPr lang="de-AT" dirty="0"/>
              <a:t>Platz für Quellenangaben, Fußnoten etc.</a:t>
            </a:r>
          </a:p>
        </p:txBody>
      </p:sp>
    </p:spTree>
    <p:extLst>
      <p:ext uri="{BB962C8B-B14F-4D97-AF65-F5344CB8AC3E}">
        <p14:creationId xmlns:p14="http://schemas.microsoft.com/office/powerpoint/2010/main" val="7099023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2-zeilig, Text und Inhal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0699" y="432000"/>
            <a:ext cx="7046305" cy="602455"/>
          </a:xfrm>
        </p:spPr>
        <p:txBody>
          <a:bodyPr/>
          <a:lstStyle>
            <a:lvl1pPr>
              <a:defRPr/>
            </a:lvl1pPr>
          </a:lstStyle>
          <a:p>
            <a:r>
              <a:rPr lang="de-DE" dirty="0"/>
              <a:t>Titel hier einfügen </a:t>
            </a:r>
            <a:br>
              <a:rPr lang="de-DE" dirty="0"/>
            </a:br>
            <a:r>
              <a:rPr lang="de-DE" dirty="0"/>
              <a:t>(2-zeilig)</a:t>
            </a:r>
            <a:endParaRPr lang="en-US" dirty="0"/>
          </a:p>
        </p:txBody>
      </p:sp>
      <p:sp>
        <p:nvSpPr>
          <p:cNvPr id="5" name="Textplatzhalter 4">
            <a:extLst>
              <a:ext uri="{FF2B5EF4-FFF2-40B4-BE49-F238E27FC236}">
                <a16:creationId xmlns:a16="http://schemas.microsoft.com/office/drawing/2014/main" id="{CD19D796-63F3-458B-A61C-8B0AC334594E}"/>
              </a:ext>
            </a:extLst>
          </p:cNvPr>
          <p:cNvSpPr>
            <a:spLocks noGrp="1"/>
          </p:cNvSpPr>
          <p:nvPr>
            <p:ph type="body" sz="quarter" idx="10"/>
          </p:nvPr>
        </p:nvSpPr>
        <p:spPr>
          <a:xfrm>
            <a:off x="522288" y="1335088"/>
            <a:ext cx="7046912" cy="602456"/>
          </a:xfrm>
        </p:spPr>
        <p:txBody>
          <a:bodyPr/>
          <a:lstStyle>
            <a:lvl1pPr marL="0" indent="0">
              <a:buNone/>
              <a:defRPr/>
            </a:lvl1pPr>
          </a:lstStyle>
          <a:p>
            <a:pPr lvl="0"/>
            <a:r>
              <a:rPr lang="de-DE"/>
              <a:t>Mastertextformat bearbeiten</a:t>
            </a:r>
          </a:p>
        </p:txBody>
      </p:sp>
      <p:sp>
        <p:nvSpPr>
          <p:cNvPr id="9" name="Inhaltsplatzhalter 8">
            <a:extLst>
              <a:ext uri="{FF2B5EF4-FFF2-40B4-BE49-F238E27FC236}">
                <a16:creationId xmlns:a16="http://schemas.microsoft.com/office/drawing/2014/main" id="{0821A209-70D8-47A1-9E76-851A845B443F}"/>
              </a:ext>
            </a:extLst>
          </p:cNvPr>
          <p:cNvSpPr>
            <a:spLocks noGrp="1"/>
          </p:cNvSpPr>
          <p:nvPr>
            <p:ph sz="quarter" idx="11" hasCustomPrompt="1"/>
          </p:nvPr>
        </p:nvSpPr>
        <p:spPr>
          <a:xfrm>
            <a:off x="522288" y="1937544"/>
            <a:ext cx="7046912" cy="2383631"/>
          </a:xfrm>
        </p:spPr>
        <p:txBody>
          <a:bodyPr/>
          <a:lstStyle>
            <a:lvl1pPr marL="0" indent="0">
              <a:buNone/>
              <a:defRPr/>
            </a:lvl1pPr>
          </a:lstStyle>
          <a:p>
            <a:pPr lvl="0"/>
            <a:r>
              <a:rPr lang="de-DE" dirty="0"/>
              <a:t>Tabelle oder Diagramm einfügen</a:t>
            </a:r>
          </a:p>
        </p:txBody>
      </p:sp>
      <p:sp>
        <p:nvSpPr>
          <p:cNvPr id="6" name="Textplatzhalter 4">
            <a:extLst>
              <a:ext uri="{FF2B5EF4-FFF2-40B4-BE49-F238E27FC236}">
                <a16:creationId xmlns:a16="http://schemas.microsoft.com/office/drawing/2014/main" id="{249F68F9-F6C5-484F-9B9C-40BCFF9E9659}"/>
              </a:ext>
            </a:extLst>
          </p:cNvPr>
          <p:cNvSpPr>
            <a:spLocks noGrp="1"/>
          </p:cNvSpPr>
          <p:nvPr>
            <p:ph type="body" sz="quarter" idx="12" hasCustomPrompt="1"/>
            <p:custDataLst>
              <p:tags r:id="rId1"/>
            </p:custDataLst>
          </p:nvPr>
        </p:nvSpPr>
        <p:spPr>
          <a:xfrm>
            <a:off x="520700" y="4321175"/>
            <a:ext cx="7048500" cy="225425"/>
          </a:xfrm>
        </p:spPr>
        <p:txBody>
          <a:bodyPr anchor="b"/>
          <a:lstStyle>
            <a:lvl1pPr marL="88900" indent="-88900">
              <a:spcBef>
                <a:spcPts val="0"/>
              </a:spcBef>
              <a:buNone/>
              <a:tabLst>
                <a:tab pos="88900" algn="l"/>
              </a:tabLst>
              <a:defRPr sz="550">
                <a:solidFill>
                  <a:schemeClr val="tx1"/>
                </a:solidFill>
              </a:defRPr>
            </a:lvl1pPr>
            <a:lvl2pPr marL="176213" indent="0">
              <a:buNone/>
              <a:defRPr sz="550">
                <a:solidFill>
                  <a:schemeClr val="tx1"/>
                </a:solidFill>
              </a:defRPr>
            </a:lvl2pPr>
            <a:lvl3pPr marL="360362" indent="0">
              <a:buNone/>
              <a:defRPr sz="550">
                <a:solidFill>
                  <a:schemeClr val="tx1"/>
                </a:solidFill>
              </a:defRPr>
            </a:lvl3pPr>
            <a:lvl4pPr marL="536575" indent="0">
              <a:buNone/>
              <a:defRPr sz="550">
                <a:solidFill>
                  <a:schemeClr val="tx1"/>
                </a:solidFill>
              </a:defRPr>
            </a:lvl4pPr>
            <a:lvl5pPr marL="719137" indent="0">
              <a:buNone/>
              <a:defRPr sz="550">
                <a:solidFill>
                  <a:schemeClr val="tx1"/>
                </a:solidFill>
              </a:defRPr>
            </a:lvl5pPr>
          </a:lstStyle>
          <a:p>
            <a:pPr lvl="0"/>
            <a:r>
              <a:rPr lang="de-AT" dirty="0"/>
              <a:t>Platz für Quellenangaben, Fußnoten etc.</a:t>
            </a:r>
          </a:p>
        </p:txBody>
      </p:sp>
    </p:spTree>
    <p:extLst>
      <p:ext uri="{BB962C8B-B14F-4D97-AF65-F5344CB8AC3E}">
        <p14:creationId xmlns:p14="http://schemas.microsoft.com/office/powerpoint/2010/main" val="37410926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und Text nummerie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e-DE" dirty="0"/>
              <a:t>Titel hier einfügen (nur 1-zeilig)</a:t>
            </a:r>
            <a:endParaRPr lang="en-US" dirty="0"/>
          </a:p>
        </p:txBody>
      </p:sp>
      <p:sp>
        <p:nvSpPr>
          <p:cNvPr id="4" name="Textplatzhalter 4">
            <a:extLst>
              <a:ext uri="{FF2B5EF4-FFF2-40B4-BE49-F238E27FC236}">
                <a16:creationId xmlns:a16="http://schemas.microsoft.com/office/drawing/2014/main" id="{A22BED48-5E41-42CC-B7C0-91FFA77533E2}"/>
              </a:ext>
            </a:extLst>
          </p:cNvPr>
          <p:cNvSpPr>
            <a:spLocks noGrp="1"/>
          </p:cNvSpPr>
          <p:nvPr>
            <p:ph type="body" sz="quarter" idx="10" hasCustomPrompt="1"/>
            <p:custDataLst>
              <p:tags r:id="rId1"/>
            </p:custDataLst>
          </p:nvPr>
        </p:nvSpPr>
        <p:spPr>
          <a:xfrm>
            <a:off x="520700" y="4321175"/>
            <a:ext cx="7048500" cy="225425"/>
          </a:xfrm>
        </p:spPr>
        <p:txBody>
          <a:bodyPr anchor="b"/>
          <a:lstStyle>
            <a:lvl1pPr marL="88900" indent="-88900">
              <a:spcBef>
                <a:spcPts val="0"/>
              </a:spcBef>
              <a:buNone/>
              <a:tabLst>
                <a:tab pos="88900" algn="l"/>
              </a:tabLst>
              <a:defRPr sz="550">
                <a:solidFill>
                  <a:schemeClr val="tx1"/>
                </a:solidFill>
              </a:defRPr>
            </a:lvl1pPr>
            <a:lvl2pPr marL="176213" indent="0">
              <a:buNone/>
              <a:defRPr sz="550">
                <a:solidFill>
                  <a:schemeClr val="tx1"/>
                </a:solidFill>
              </a:defRPr>
            </a:lvl2pPr>
            <a:lvl3pPr marL="360362" indent="0">
              <a:buNone/>
              <a:defRPr sz="550">
                <a:solidFill>
                  <a:schemeClr val="tx1"/>
                </a:solidFill>
              </a:defRPr>
            </a:lvl3pPr>
            <a:lvl4pPr marL="536575" indent="0">
              <a:buNone/>
              <a:defRPr sz="550">
                <a:solidFill>
                  <a:schemeClr val="tx1"/>
                </a:solidFill>
              </a:defRPr>
            </a:lvl4pPr>
            <a:lvl5pPr marL="719137" indent="0">
              <a:buNone/>
              <a:defRPr sz="550">
                <a:solidFill>
                  <a:schemeClr val="tx1"/>
                </a:solidFill>
              </a:defRPr>
            </a:lvl5pPr>
          </a:lstStyle>
          <a:p>
            <a:pPr lvl="0"/>
            <a:r>
              <a:rPr lang="de-AT" dirty="0"/>
              <a:t>Platz für Quellenangaben, Fußnoten etc.</a:t>
            </a:r>
          </a:p>
        </p:txBody>
      </p:sp>
      <p:sp>
        <p:nvSpPr>
          <p:cNvPr id="6" name="Textplatzhalter 5">
            <a:extLst>
              <a:ext uri="{FF2B5EF4-FFF2-40B4-BE49-F238E27FC236}">
                <a16:creationId xmlns:a16="http://schemas.microsoft.com/office/drawing/2014/main" id="{94FE68FD-0AC7-4D38-A202-B1AFB34BB6B4}"/>
              </a:ext>
            </a:extLst>
          </p:cNvPr>
          <p:cNvSpPr>
            <a:spLocks noGrp="1"/>
          </p:cNvSpPr>
          <p:nvPr>
            <p:ph type="body" sz="quarter" idx="11"/>
          </p:nvPr>
        </p:nvSpPr>
        <p:spPr>
          <a:xfrm>
            <a:off x="520700" y="1023938"/>
            <a:ext cx="7048500" cy="3294062"/>
          </a:xfrm>
        </p:spPr>
        <p:txBody>
          <a:bodyPr/>
          <a:lstStyle>
            <a:lvl1pPr marL="180975" indent="-180975">
              <a:buFont typeface="+mj-lt"/>
              <a:buAutoNum type="arabicPeriod"/>
              <a:defRPr/>
            </a:lvl1pPr>
            <a:lvl2pPr marL="355600" indent="-174625">
              <a:buFont typeface="+mj-lt"/>
              <a:buAutoNum type="arabicPeriod"/>
              <a:defRPr/>
            </a:lvl2pPr>
            <a:lvl3pPr marL="538163" indent="-182563">
              <a:buFont typeface="+mj-lt"/>
              <a:buAutoNum type="arabicPeriod"/>
              <a:defRPr/>
            </a:lvl3pPr>
            <a:lvl4pPr marL="719138" indent="-180975">
              <a:buFont typeface="+mj-lt"/>
              <a:buAutoNum type="arabicPeriod"/>
              <a:tabLst/>
              <a:defRPr/>
            </a:lvl4pPr>
            <a:lvl5pPr marL="893763" indent="-174625">
              <a:buFont typeface="+mj-lt"/>
              <a:buAutoNum type="arabicPeriod"/>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dirty="0"/>
          </a:p>
        </p:txBody>
      </p:sp>
    </p:spTree>
    <p:extLst>
      <p:ext uri="{BB962C8B-B14F-4D97-AF65-F5344CB8AC3E}">
        <p14:creationId xmlns:p14="http://schemas.microsoft.com/office/powerpoint/2010/main" val="42580296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2-zeilig und Text nummerie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0699" y="432000"/>
            <a:ext cx="7046305" cy="591937"/>
          </a:xfrm>
        </p:spPr>
        <p:txBody>
          <a:bodyPr/>
          <a:lstStyle>
            <a:lvl1pPr>
              <a:defRPr/>
            </a:lvl1pPr>
          </a:lstStyle>
          <a:p>
            <a:r>
              <a:rPr lang="de-DE" dirty="0"/>
              <a:t>Titel hier einfügen </a:t>
            </a:r>
            <a:br>
              <a:rPr lang="de-DE" dirty="0"/>
            </a:br>
            <a:r>
              <a:rPr lang="de-DE" dirty="0"/>
              <a:t>(2-zeilig)</a:t>
            </a:r>
            <a:endParaRPr lang="en-US" dirty="0"/>
          </a:p>
        </p:txBody>
      </p:sp>
      <p:sp>
        <p:nvSpPr>
          <p:cNvPr id="4" name="Textplatzhalter 4">
            <a:extLst>
              <a:ext uri="{FF2B5EF4-FFF2-40B4-BE49-F238E27FC236}">
                <a16:creationId xmlns:a16="http://schemas.microsoft.com/office/drawing/2014/main" id="{C764D196-D801-4E7A-B3EF-0C5BFABD2C6A}"/>
              </a:ext>
            </a:extLst>
          </p:cNvPr>
          <p:cNvSpPr>
            <a:spLocks noGrp="1"/>
          </p:cNvSpPr>
          <p:nvPr>
            <p:ph type="body" sz="quarter" idx="10" hasCustomPrompt="1"/>
            <p:custDataLst>
              <p:tags r:id="rId1"/>
            </p:custDataLst>
          </p:nvPr>
        </p:nvSpPr>
        <p:spPr>
          <a:xfrm>
            <a:off x="520700" y="4321175"/>
            <a:ext cx="7048500" cy="225425"/>
          </a:xfrm>
        </p:spPr>
        <p:txBody>
          <a:bodyPr anchor="b"/>
          <a:lstStyle>
            <a:lvl1pPr marL="88900" indent="-88900">
              <a:spcBef>
                <a:spcPts val="0"/>
              </a:spcBef>
              <a:buNone/>
              <a:tabLst>
                <a:tab pos="88900" algn="l"/>
              </a:tabLst>
              <a:defRPr sz="550">
                <a:solidFill>
                  <a:schemeClr val="tx1"/>
                </a:solidFill>
              </a:defRPr>
            </a:lvl1pPr>
            <a:lvl2pPr marL="176213" indent="0">
              <a:buNone/>
              <a:defRPr sz="550">
                <a:solidFill>
                  <a:schemeClr val="tx1"/>
                </a:solidFill>
              </a:defRPr>
            </a:lvl2pPr>
            <a:lvl3pPr marL="360362" indent="0">
              <a:buNone/>
              <a:defRPr sz="550">
                <a:solidFill>
                  <a:schemeClr val="tx1"/>
                </a:solidFill>
              </a:defRPr>
            </a:lvl3pPr>
            <a:lvl4pPr marL="536575" indent="0">
              <a:buNone/>
              <a:defRPr sz="550">
                <a:solidFill>
                  <a:schemeClr val="tx1"/>
                </a:solidFill>
              </a:defRPr>
            </a:lvl4pPr>
            <a:lvl5pPr marL="719137" indent="0">
              <a:buNone/>
              <a:defRPr sz="550">
                <a:solidFill>
                  <a:schemeClr val="tx1"/>
                </a:solidFill>
              </a:defRPr>
            </a:lvl5pPr>
          </a:lstStyle>
          <a:p>
            <a:pPr lvl="0"/>
            <a:r>
              <a:rPr lang="de-AT" dirty="0"/>
              <a:t>Platz für Quellenangaben, Fußnoten etc.</a:t>
            </a:r>
          </a:p>
        </p:txBody>
      </p:sp>
      <p:sp>
        <p:nvSpPr>
          <p:cNvPr id="6" name="Textplatzhalter 5">
            <a:extLst>
              <a:ext uri="{FF2B5EF4-FFF2-40B4-BE49-F238E27FC236}">
                <a16:creationId xmlns:a16="http://schemas.microsoft.com/office/drawing/2014/main" id="{1DDD6B87-AF57-49C5-B73B-F50CE88487B8}"/>
              </a:ext>
            </a:extLst>
          </p:cNvPr>
          <p:cNvSpPr>
            <a:spLocks noGrp="1"/>
          </p:cNvSpPr>
          <p:nvPr>
            <p:ph type="body" sz="quarter" idx="11"/>
          </p:nvPr>
        </p:nvSpPr>
        <p:spPr>
          <a:xfrm>
            <a:off x="520700" y="1335088"/>
            <a:ext cx="7048500" cy="2982912"/>
          </a:xfrm>
        </p:spPr>
        <p:txBody>
          <a:bodyPr/>
          <a:lstStyle>
            <a:lvl1pPr marL="180975" indent="-180975">
              <a:buFont typeface="+mj-lt"/>
              <a:buAutoNum type="arabicPeriod"/>
              <a:defRPr/>
            </a:lvl1pPr>
            <a:lvl2pPr marL="355600" indent="-174625">
              <a:buFont typeface="+mj-lt"/>
              <a:buAutoNum type="arabicPeriod"/>
              <a:defRPr/>
            </a:lvl2pPr>
            <a:lvl3pPr marL="538163" indent="-182563">
              <a:buFont typeface="+mj-lt"/>
              <a:buAutoNum type="arabicPeriod"/>
              <a:defRPr/>
            </a:lvl3pPr>
            <a:lvl4pPr marL="719138" indent="-180975">
              <a:buFont typeface="+mj-lt"/>
              <a:buAutoNum type="arabicPeriod"/>
              <a:tabLst/>
              <a:defRPr/>
            </a:lvl4pPr>
            <a:lvl5pPr marL="893763" indent="-174625">
              <a:buFont typeface="+mj-lt"/>
              <a:buAutoNum type="arabicPeriod"/>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dirty="0"/>
          </a:p>
        </p:txBody>
      </p:sp>
    </p:spTree>
    <p:extLst>
      <p:ext uri="{BB962C8B-B14F-4D97-AF65-F5344CB8AC3E}">
        <p14:creationId xmlns:p14="http://schemas.microsoft.com/office/powerpoint/2010/main" val="30595838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e-DE" dirty="0"/>
              <a:t>Titel hier einfügen (nur 1-zeilig)</a:t>
            </a:r>
            <a:endParaRPr lang="en-US" dirty="0"/>
          </a:p>
        </p:txBody>
      </p:sp>
      <p:sp>
        <p:nvSpPr>
          <p:cNvPr id="3" name="Content Placeholder 2"/>
          <p:cNvSpPr>
            <a:spLocks noGrp="1"/>
          </p:cNvSpPr>
          <p:nvPr>
            <p:ph sz="half" idx="1"/>
          </p:nvPr>
        </p:nvSpPr>
        <p:spPr>
          <a:xfrm>
            <a:off x="522288" y="1023939"/>
            <a:ext cx="3960000" cy="3297236"/>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4663300" y="1023938"/>
            <a:ext cx="3960000" cy="3297237"/>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platzhalter 4">
            <a:extLst>
              <a:ext uri="{FF2B5EF4-FFF2-40B4-BE49-F238E27FC236}">
                <a16:creationId xmlns:a16="http://schemas.microsoft.com/office/drawing/2014/main" id="{6249F119-C136-48C3-896F-ECC0A7E385B2}"/>
              </a:ext>
            </a:extLst>
          </p:cNvPr>
          <p:cNvSpPr>
            <a:spLocks noGrp="1"/>
          </p:cNvSpPr>
          <p:nvPr>
            <p:ph type="body" sz="quarter" idx="10" hasCustomPrompt="1"/>
            <p:custDataLst>
              <p:tags r:id="rId1"/>
            </p:custDataLst>
          </p:nvPr>
        </p:nvSpPr>
        <p:spPr>
          <a:xfrm>
            <a:off x="520700" y="4321175"/>
            <a:ext cx="7048500" cy="225425"/>
          </a:xfrm>
        </p:spPr>
        <p:txBody>
          <a:bodyPr anchor="b"/>
          <a:lstStyle>
            <a:lvl1pPr marL="88900" indent="-88900">
              <a:spcBef>
                <a:spcPts val="0"/>
              </a:spcBef>
              <a:buNone/>
              <a:tabLst>
                <a:tab pos="88900" algn="l"/>
              </a:tabLst>
              <a:defRPr sz="550">
                <a:solidFill>
                  <a:schemeClr val="tx1"/>
                </a:solidFill>
              </a:defRPr>
            </a:lvl1pPr>
            <a:lvl2pPr marL="176213" indent="0">
              <a:buNone/>
              <a:defRPr sz="550">
                <a:solidFill>
                  <a:schemeClr val="tx1"/>
                </a:solidFill>
              </a:defRPr>
            </a:lvl2pPr>
            <a:lvl3pPr marL="360362" indent="0">
              <a:buNone/>
              <a:defRPr sz="550">
                <a:solidFill>
                  <a:schemeClr val="tx1"/>
                </a:solidFill>
              </a:defRPr>
            </a:lvl3pPr>
            <a:lvl4pPr marL="536575" indent="0">
              <a:buNone/>
              <a:defRPr sz="550">
                <a:solidFill>
                  <a:schemeClr val="tx1"/>
                </a:solidFill>
              </a:defRPr>
            </a:lvl4pPr>
            <a:lvl5pPr marL="719137" indent="0">
              <a:buNone/>
              <a:defRPr sz="550">
                <a:solidFill>
                  <a:schemeClr val="tx1"/>
                </a:solidFill>
              </a:defRPr>
            </a:lvl5pPr>
          </a:lstStyle>
          <a:p>
            <a:pPr lvl="0"/>
            <a:r>
              <a:rPr lang="de-AT" dirty="0"/>
              <a:t>Platz für Quellenangaben, Fußnoten etc.</a:t>
            </a:r>
          </a:p>
        </p:txBody>
      </p:sp>
    </p:spTree>
    <p:extLst>
      <p:ext uri="{BB962C8B-B14F-4D97-AF65-F5344CB8AC3E}">
        <p14:creationId xmlns:p14="http://schemas.microsoft.com/office/powerpoint/2010/main" val="39990300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Zwei Inhalte mit Titel 2-zeili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0699" y="432000"/>
            <a:ext cx="7046305" cy="591937"/>
          </a:xfrm>
        </p:spPr>
        <p:txBody>
          <a:bodyPr/>
          <a:lstStyle>
            <a:lvl1pPr>
              <a:defRPr/>
            </a:lvl1pPr>
          </a:lstStyle>
          <a:p>
            <a:r>
              <a:rPr lang="de-DE" dirty="0"/>
              <a:t>Titel hier einfügen </a:t>
            </a:r>
            <a:br>
              <a:rPr lang="de-DE" dirty="0"/>
            </a:br>
            <a:r>
              <a:rPr lang="de-DE" dirty="0"/>
              <a:t>(2-zeilig)</a:t>
            </a:r>
            <a:endParaRPr lang="en-US" dirty="0"/>
          </a:p>
        </p:txBody>
      </p:sp>
      <p:sp>
        <p:nvSpPr>
          <p:cNvPr id="3" name="Content Placeholder 2"/>
          <p:cNvSpPr>
            <a:spLocks noGrp="1"/>
          </p:cNvSpPr>
          <p:nvPr>
            <p:ph sz="half" idx="1"/>
          </p:nvPr>
        </p:nvSpPr>
        <p:spPr>
          <a:xfrm>
            <a:off x="522288" y="1335089"/>
            <a:ext cx="3960000" cy="2986086"/>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4663300" y="1335088"/>
            <a:ext cx="3960000" cy="2986087"/>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platzhalter 4">
            <a:extLst>
              <a:ext uri="{FF2B5EF4-FFF2-40B4-BE49-F238E27FC236}">
                <a16:creationId xmlns:a16="http://schemas.microsoft.com/office/drawing/2014/main" id="{7D940DF1-48CC-4CC3-B7C0-2979B37B4C85}"/>
              </a:ext>
            </a:extLst>
          </p:cNvPr>
          <p:cNvSpPr>
            <a:spLocks noGrp="1"/>
          </p:cNvSpPr>
          <p:nvPr>
            <p:ph type="body" sz="quarter" idx="10" hasCustomPrompt="1"/>
            <p:custDataLst>
              <p:tags r:id="rId1"/>
            </p:custDataLst>
          </p:nvPr>
        </p:nvSpPr>
        <p:spPr>
          <a:xfrm>
            <a:off x="520700" y="4321175"/>
            <a:ext cx="7048500" cy="225425"/>
          </a:xfrm>
        </p:spPr>
        <p:txBody>
          <a:bodyPr anchor="b"/>
          <a:lstStyle>
            <a:lvl1pPr marL="88900" indent="-88900">
              <a:spcBef>
                <a:spcPts val="0"/>
              </a:spcBef>
              <a:buNone/>
              <a:tabLst>
                <a:tab pos="88900" algn="l"/>
              </a:tabLst>
              <a:defRPr sz="550">
                <a:solidFill>
                  <a:schemeClr val="tx1"/>
                </a:solidFill>
              </a:defRPr>
            </a:lvl1pPr>
            <a:lvl2pPr marL="176213" indent="0">
              <a:buNone/>
              <a:defRPr sz="550">
                <a:solidFill>
                  <a:schemeClr val="tx1"/>
                </a:solidFill>
              </a:defRPr>
            </a:lvl2pPr>
            <a:lvl3pPr marL="360362" indent="0">
              <a:buNone/>
              <a:defRPr sz="550">
                <a:solidFill>
                  <a:schemeClr val="tx1"/>
                </a:solidFill>
              </a:defRPr>
            </a:lvl3pPr>
            <a:lvl4pPr marL="536575" indent="0">
              <a:buNone/>
              <a:defRPr sz="550">
                <a:solidFill>
                  <a:schemeClr val="tx1"/>
                </a:solidFill>
              </a:defRPr>
            </a:lvl4pPr>
            <a:lvl5pPr marL="719137" indent="0">
              <a:buNone/>
              <a:defRPr sz="550">
                <a:solidFill>
                  <a:schemeClr val="tx1"/>
                </a:solidFill>
              </a:defRPr>
            </a:lvl5pPr>
          </a:lstStyle>
          <a:p>
            <a:pPr lvl="0"/>
            <a:r>
              <a:rPr lang="de-AT" dirty="0"/>
              <a:t>Platz für Quellenangaben, Fußnoten etc.</a:t>
            </a:r>
          </a:p>
        </p:txBody>
      </p:sp>
    </p:spTree>
    <p:extLst>
      <p:ext uri="{BB962C8B-B14F-4D97-AF65-F5344CB8AC3E}">
        <p14:creationId xmlns:p14="http://schemas.microsoft.com/office/powerpoint/2010/main" val="2906493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ergleich">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522288" y="1023938"/>
            <a:ext cx="3960000" cy="311149"/>
          </a:xfrm>
          <a:prstGeom prst="rect">
            <a:avLst/>
          </a:prstGeom>
        </p:spPr>
        <p:txBody>
          <a:bodyPr anchor="t"/>
          <a:lstStyle>
            <a:lvl1pPr marL="0" indent="0">
              <a:buNone/>
              <a:defRPr sz="1800" b="0" cap="all" baseline="0">
                <a:solidFill>
                  <a:schemeClr val="tx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a:t>Mastertextformat bearbeiten</a:t>
            </a:r>
          </a:p>
        </p:txBody>
      </p:sp>
      <p:sp>
        <p:nvSpPr>
          <p:cNvPr id="4" name="Content Placeholder 3"/>
          <p:cNvSpPr>
            <a:spLocks noGrp="1"/>
          </p:cNvSpPr>
          <p:nvPr>
            <p:ph sz="half" idx="2"/>
          </p:nvPr>
        </p:nvSpPr>
        <p:spPr>
          <a:xfrm>
            <a:off x="522288" y="1335089"/>
            <a:ext cx="3960000" cy="2986088"/>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bwMode="gray">
          <a:xfrm>
            <a:off x="4663300" y="1023940"/>
            <a:ext cx="3960000" cy="311148"/>
          </a:xfrm>
          <a:prstGeom prst="rect">
            <a:avLst/>
          </a:prstGeom>
        </p:spPr>
        <p:txBody>
          <a:bodyPr anchor="t"/>
          <a:lstStyle>
            <a:lvl1pPr marL="0" indent="0">
              <a:buNone/>
              <a:defRPr sz="1800" b="0" cap="all" baseline="0">
                <a:solidFill>
                  <a:schemeClr val="tx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a:t>Mastertextformat bearbeiten</a:t>
            </a:r>
          </a:p>
        </p:txBody>
      </p:sp>
      <p:sp>
        <p:nvSpPr>
          <p:cNvPr id="6" name="Content Placeholder 5"/>
          <p:cNvSpPr>
            <a:spLocks noGrp="1"/>
          </p:cNvSpPr>
          <p:nvPr>
            <p:ph sz="quarter" idx="4"/>
          </p:nvPr>
        </p:nvSpPr>
        <p:spPr>
          <a:xfrm>
            <a:off x="4663300" y="1335089"/>
            <a:ext cx="3960000" cy="2986088"/>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0" name="Titel 9">
            <a:extLst>
              <a:ext uri="{FF2B5EF4-FFF2-40B4-BE49-F238E27FC236}">
                <a16:creationId xmlns:a16="http://schemas.microsoft.com/office/drawing/2014/main" id="{280EFBD2-1775-4D11-977A-B28942DB8353}"/>
              </a:ext>
            </a:extLst>
          </p:cNvPr>
          <p:cNvSpPr>
            <a:spLocks noGrp="1"/>
          </p:cNvSpPr>
          <p:nvPr>
            <p:ph type="title" hasCustomPrompt="1"/>
          </p:nvPr>
        </p:nvSpPr>
        <p:spPr>
          <a:xfrm>
            <a:off x="520699" y="432001"/>
            <a:ext cx="7046305" cy="386822"/>
          </a:xfrm>
        </p:spPr>
        <p:txBody>
          <a:bodyPr/>
          <a:lstStyle>
            <a:lvl1pPr>
              <a:defRPr/>
            </a:lvl1pPr>
          </a:lstStyle>
          <a:p>
            <a:r>
              <a:rPr lang="de-DE" dirty="0"/>
              <a:t>Titel hier einfügen (nur 1-zeilig)</a:t>
            </a:r>
            <a:endParaRPr lang="de-AT" dirty="0"/>
          </a:p>
        </p:txBody>
      </p:sp>
      <p:sp>
        <p:nvSpPr>
          <p:cNvPr id="7" name="Textplatzhalter 4">
            <a:extLst>
              <a:ext uri="{FF2B5EF4-FFF2-40B4-BE49-F238E27FC236}">
                <a16:creationId xmlns:a16="http://schemas.microsoft.com/office/drawing/2014/main" id="{E10CB9A0-1F6C-4B40-ADCC-3B12DCD9FC9E}"/>
              </a:ext>
            </a:extLst>
          </p:cNvPr>
          <p:cNvSpPr>
            <a:spLocks noGrp="1"/>
          </p:cNvSpPr>
          <p:nvPr>
            <p:ph type="body" sz="quarter" idx="10" hasCustomPrompt="1"/>
            <p:custDataLst>
              <p:tags r:id="rId1"/>
            </p:custDataLst>
          </p:nvPr>
        </p:nvSpPr>
        <p:spPr>
          <a:xfrm>
            <a:off x="520700" y="4321175"/>
            <a:ext cx="7048500" cy="225425"/>
          </a:xfrm>
        </p:spPr>
        <p:txBody>
          <a:bodyPr anchor="b"/>
          <a:lstStyle>
            <a:lvl1pPr marL="88900" indent="-88900">
              <a:spcBef>
                <a:spcPts val="0"/>
              </a:spcBef>
              <a:buNone/>
              <a:tabLst>
                <a:tab pos="88900" algn="l"/>
              </a:tabLst>
              <a:defRPr sz="550">
                <a:solidFill>
                  <a:schemeClr val="tx1"/>
                </a:solidFill>
              </a:defRPr>
            </a:lvl1pPr>
            <a:lvl2pPr marL="176213" indent="0">
              <a:buNone/>
              <a:defRPr sz="550">
                <a:solidFill>
                  <a:schemeClr val="tx1"/>
                </a:solidFill>
              </a:defRPr>
            </a:lvl2pPr>
            <a:lvl3pPr marL="360362" indent="0">
              <a:buNone/>
              <a:defRPr sz="550">
                <a:solidFill>
                  <a:schemeClr val="tx1"/>
                </a:solidFill>
              </a:defRPr>
            </a:lvl3pPr>
            <a:lvl4pPr marL="536575" indent="0">
              <a:buNone/>
              <a:defRPr sz="550">
                <a:solidFill>
                  <a:schemeClr val="tx1"/>
                </a:solidFill>
              </a:defRPr>
            </a:lvl4pPr>
            <a:lvl5pPr marL="719137" indent="0">
              <a:buNone/>
              <a:defRPr sz="550">
                <a:solidFill>
                  <a:schemeClr val="tx1"/>
                </a:solidFill>
              </a:defRPr>
            </a:lvl5pPr>
          </a:lstStyle>
          <a:p>
            <a:pPr lvl="0"/>
            <a:r>
              <a:rPr lang="de-AT" dirty="0"/>
              <a:t>Platz für Quellenangaben, Fußnoten etc.</a:t>
            </a:r>
          </a:p>
        </p:txBody>
      </p:sp>
    </p:spTree>
    <p:extLst>
      <p:ext uri="{BB962C8B-B14F-4D97-AF65-F5344CB8AC3E}">
        <p14:creationId xmlns:p14="http://schemas.microsoft.com/office/powerpoint/2010/main" val="11582250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Vergleich mit Titel 2-zeilig">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522288" y="1335086"/>
            <a:ext cx="3960000" cy="295305"/>
          </a:xfrm>
          <a:prstGeom prst="rect">
            <a:avLst/>
          </a:prstGeom>
        </p:spPr>
        <p:txBody>
          <a:bodyPr anchor="t"/>
          <a:lstStyle>
            <a:lvl1pPr marL="0" indent="0">
              <a:buNone/>
              <a:defRPr sz="1800" b="0" cap="all" baseline="0">
                <a:solidFill>
                  <a:schemeClr val="tx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a:t>Mastertextformat bearbeiten</a:t>
            </a:r>
          </a:p>
        </p:txBody>
      </p:sp>
      <p:sp>
        <p:nvSpPr>
          <p:cNvPr id="4" name="Content Placeholder 3"/>
          <p:cNvSpPr>
            <a:spLocks noGrp="1"/>
          </p:cNvSpPr>
          <p:nvPr>
            <p:ph sz="half" idx="2"/>
          </p:nvPr>
        </p:nvSpPr>
        <p:spPr>
          <a:xfrm>
            <a:off x="522288" y="1630391"/>
            <a:ext cx="3960000" cy="2690786"/>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bwMode="gray">
          <a:xfrm>
            <a:off x="4663300" y="1335088"/>
            <a:ext cx="3960000" cy="295304"/>
          </a:xfrm>
          <a:prstGeom prst="rect">
            <a:avLst/>
          </a:prstGeom>
        </p:spPr>
        <p:txBody>
          <a:bodyPr anchor="t"/>
          <a:lstStyle>
            <a:lvl1pPr marL="0" indent="0">
              <a:buNone/>
              <a:defRPr sz="1800" b="0" cap="all" baseline="0">
                <a:solidFill>
                  <a:schemeClr val="tx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a:t>Mastertextformat bearbeiten</a:t>
            </a:r>
          </a:p>
        </p:txBody>
      </p:sp>
      <p:sp>
        <p:nvSpPr>
          <p:cNvPr id="6" name="Content Placeholder 5"/>
          <p:cNvSpPr>
            <a:spLocks noGrp="1"/>
          </p:cNvSpPr>
          <p:nvPr>
            <p:ph sz="quarter" idx="4"/>
          </p:nvPr>
        </p:nvSpPr>
        <p:spPr>
          <a:xfrm>
            <a:off x="4663300" y="1630391"/>
            <a:ext cx="3960000" cy="2690786"/>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0" name="Titel 9">
            <a:extLst>
              <a:ext uri="{FF2B5EF4-FFF2-40B4-BE49-F238E27FC236}">
                <a16:creationId xmlns:a16="http://schemas.microsoft.com/office/drawing/2014/main" id="{280EFBD2-1775-4D11-977A-B28942DB8353}"/>
              </a:ext>
            </a:extLst>
          </p:cNvPr>
          <p:cNvSpPr>
            <a:spLocks noGrp="1"/>
          </p:cNvSpPr>
          <p:nvPr>
            <p:ph type="title" hasCustomPrompt="1"/>
          </p:nvPr>
        </p:nvSpPr>
        <p:spPr>
          <a:xfrm>
            <a:off x="520699" y="432000"/>
            <a:ext cx="7046305" cy="591937"/>
          </a:xfrm>
        </p:spPr>
        <p:txBody>
          <a:bodyPr/>
          <a:lstStyle>
            <a:lvl1pPr>
              <a:defRPr/>
            </a:lvl1pPr>
          </a:lstStyle>
          <a:p>
            <a:r>
              <a:rPr lang="de-DE" dirty="0"/>
              <a:t>Titel hier einfügen </a:t>
            </a:r>
            <a:br>
              <a:rPr lang="de-DE" dirty="0"/>
            </a:br>
            <a:r>
              <a:rPr lang="de-DE" dirty="0"/>
              <a:t>(2-zeilig)</a:t>
            </a:r>
            <a:endParaRPr lang="de-AT" dirty="0"/>
          </a:p>
        </p:txBody>
      </p:sp>
      <p:sp>
        <p:nvSpPr>
          <p:cNvPr id="7" name="Textplatzhalter 4">
            <a:extLst>
              <a:ext uri="{FF2B5EF4-FFF2-40B4-BE49-F238E27FC236}">
                <a16:creationId xmlns:a16="http://schemas.microsoft.com/office/drawing/2014/main" id="{96BE0A45-1BC8-4EF5-A946-65AB6F4636F8}"/>
              </a:ext>
            </a:extLst>
          </p:cNvPr>
          <p:cNvSpPr>
            <a:spLocks noGrp="1"/>
          </p:cNvSpPr>
          <p:nvPr>
            <p:ph type="body" sz="quarter" idx="10" hasCustomPrompt="1"/>
            <p:custDataLst>
              <p:tags r:id="rId1"/>
            </p:custDataLst>
          </p:nvPr>
        </p:nvSpPr>
        <p:spPr>
          <a:xfrm>
            <a:off x="520700" y="4321175"/>
            <a:ext cx="7048500" cy="225425"/>
          </a:xfrm>
        </p:spPr>
        <p:txBody>
          <a:bodyPr anchor="b"/>
          <a:lstStyle>
            <a:lvl1pPr marL="88900" indent="-88900">
              <a:spcBef>
                <a:spcPts val="0"/>
              </a:spcBef>
              <a:buNone/>
              <a:tabLst>
                <a:tab pos="88900" algn="l"/>
              </a:tabLst>
              <a:defRPr sz="550">
                <a:solidFill>
                  <a:schemeClr val="tx1"/>
                </a:solidFill>
              </a:defRPr>
            </a:lvl1pPr>
            <a:lvl2pPr marL="176213" indent="0">
              <a:buNone/>
              <a:defRPr sz="550">
                <a:solidFill>
                  <a:schemeClr val="tx1"/>
                </a:solidFill>
              </a:defRPr>
            </a:lvl2pPr>
            <a:lvl3pPr marL="360362" indent="0">
              <a:buNone/>
              <a:defRPr sz="550">
                <a:solidFill>
                  <a:schemeClr val="tx1"/>
                </a:solidFill>
              </a:defRPr>
            </a:lvl3pPr>
            <a:lvl4pPr marL="536575" indent="0">
              <a:buNone/>
              <a:defRPr sz="550">
                <a:solidFill>
                  <a:schemeClr val="tx1"/>
                </a:solidFill>
              </a:defRPr>
            </a:lvl4pPr>
            <a:lvl5pPr marL="719137" indent="0">
              <a:buNone/>
              <a:defRPr sz="550">
                <a:solidFill>
                  <a:schemeClr val="tx1"/>
                </a:solidFill>
              </a:defRPr>
            </a:lvl5pPr>
          </a:lstStyle>
          <a:p>
            <a:pPr lvl="0"/>
            <a:r>
              <a:rPr lang="de-AT" dirty="0"/>
              <a:t>Platz für Quellenangaben, Fußnoten etc.</a:t>
            </a:r>
          </a:p>
        </p:txBody>
      </p:sp>
    </p:spTree>
    <p:extLst>
      <p:ext uri="{BB962C8B-B14F-4D97-AF65-F5344CB8AC3E}">
        <p14:creationId xmlns:p14="http://schemas.microsoft.com/office/powerpoint/2010/main" val="20520065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und Bild groß">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924D1BF-B483-4DBD-B051-439D7E31E5B0}"/>
              </a:ext>
            </a:extLst>
          </p:cNvPr>
          <p:cNvSpPr>
            <a:spLocks noGrp="1"/>
          </p:cNvSpPr>
          <p:nvPr>
            <p:ph type="pic" sz="quarter" idx="10"/>
          </p:nvPr>
        </p:nvSpPr>
        <p:spPr>
          <a:xfrm>
            <a:off x="520700" y="1023938"/>
            <a:ext cx="8101013" cy="3297237"/>
          </a:xfrm>
        </p:spPr>
        <p:txBody>
          <a:bodyPr/>
          <a:lstStyle>
            <a:lvl1pPr marL="0" indent="0">
              <a:buNone/>
              <a:defRPr sz="1600"/>
            </a:lvl1pPr>
          </a:lstStyle>
          <a:p>
            <a:r>
              <a:rPr lang="de-DE"/>
              <a:t>Bild durch Klicken auf Symbol hinzufügen</a:t>
            </a:r>
            <a:endParaRPr lang="de-AT" dirty="0"/>
          </a:p>
        </p:txBody>
      </p:sp>
      <p:sp>
        <p:nvSpPr>
          <p:cNvPr id="7" name="Titel 6">
            <a:extLst>
              <a:ext uri="{FF2B5EF4-FFF2-40B4-BE49-F238E27FC236}">
                <a16:creationId xmlns:a16="http://schemas.microsoft.com/office/drawing/2014/main" id="{14700D8A-85C3-4C4A-A6CC-1728C45248B1}"/>
              </a:ext>
            </a:extLst>
          </p:cNvPr>
          <p:cNvSpPr>
            <a:spLocks noGrp="1"/>
          </p:cNvSpPr>
          <p:nvPr>
            <p:ph type="title" hasCustomPrompt="1"/>
          </p:nvPr>
        </p:nvSpPr>
        <p:spPr/>
        <p:txBody>
          <a:bodyPr/>
          <a:lstStyle>
            <a:lvl1pPr>
              <a:defRPr/>
            </a:lvl1pPr>
          </a:lstStyle>
          <a:p>
            <a:r>
              <a:rPr lang="de-DE" dirty="0"/>
              <a:t>Titel hier einfügen (nur 1-zeilig)</a:t>
            </a:r>
            <a:endParaRPr lang="de-AT" dirty="0"/>
          </a:p>
        </p:txBody>
      </p:sp>
      <p:sp>
        <p:nvSpPr>
          <p:cNvPr id="4" name="Textplatzhalter 4">
            <a:extLst>
              <a:ext uri="{FF2B5EF4-FFF2-40B4-BE49-F238E27FC236}">
                <a16:creationId xmlns:a16="http://schemas.microsoft.com/office/drawing/2014/main" id="{672C86C3-EBAF-4F73-8613-397F283DB6A1}"/>
              </a:ext>
            </a:extLst>
          </p:cNvPr>
          <p:cNvSpPr>
            <a:spLocks noGrp="1"/>
          </p:cNvSpPr>
          <p:nvPr>
            <p:ph type="body" sz="quarter" idx="11" hasCustomPrompt="1"/>
            <p:custDataLst>
              <p:tags r:id="rId1"/>
            </p:custDataLst>
          </p:nvPr>
        </p:nvSpPr>
        <p:spPr>
          <a:xfrm>
            <a:off x="520700" y="4321175"/>
            <a:ext cx="7048500" cy="225425"/>
          </a:xfrm>
        </p:spPr>
        <p:txBody>
          <a:bodyPr anchor="b"/>
          <a:lstStyle>
            <a:lvl1pPr marL="88900" indent="-88900">
              <a:spcBef>
                <a:spcPts val="0"/>
              </a:spcBef>
              <a:buNone/>
              <a:tabLst>
                <a:tab pos="88900" algn="l"/>
              </a:tabLst>
              <a:defRPr sz="550">
                <a:solidFill>
                  <a:schemeClr val="tx1"/>
                </a:solidFill>
              </a:defRPr>
            </a:lvl1pPr>
            <a:lvl2pPr marL="176213" indent="0">
              <a:buNone/>
              <a:defRPr sz="550">
                <a:solidFill>
                  <a:schemeClr val="tx1"/>
                </a:solidFill>
              </a:defRPr>
            </a:lvl2pPr>
            <a:lvl3pPr marL="360362" indent="0">
              <a:buNone/>
              <a:defRPr sz="550">
                <a:solidFill>
                  <a:schemeClr val="tx1"/>
                </a:solidFill>
              </a:defRPr>
            </a:lvl3pPr>
            <a:lvl4pPr marL="536575" indent="0">
              <a:buNone/>
              <a:defRPr sz="550">
                <a:solidFill>
                  <a:schemeClr val="tx1"/>
                </a:solidFill>
              </a:defRPr>
            </a:lvl4pPr>
            <a:lvl5pPr marL="719137" indent="0">
              <a:buNone/>
              <a:defRPr sz="550">
                <a:solidFill>
                  <a:schemeClr val="tx1"/>
                </a:solidFill>
              </a:defRPr>
            </a:lvl5pPr>
          </a:lstStyle>
          <a:p>
            <a:pPr lvl="0"/>
            <a:r>
              <a:rPr lang="de-AT" dirty="0"/>
              <a:t>Platz für Quellenangaben, Fußnoten etc.</a:t>
            </a:r>
          </a:p>
        </p:txBody>
      </p:sp>
    </p:spTree>
    <p:extLst>
      <p:ext uri="{BB962C8B-B14F-4D97-AF65-F5344CB8AC3E}">
        <p14:creationId xmlns:p14="http://schemas.microsoft.com/office/powerpoint/2010/main" val="31769969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2-zeilig und Bild groß">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924D1BF-B483-4DBD-B051-439D7E31E5B0}"/>
              </a:ext>
            </a:extLst>
          </p:cNvPr>
          <p:cNvSpPr>
            <a:spLocks noGrp="1"/>
          </p:cNvSpPr>
          <p:nvPr>
            <p:ph type="pic" sz="quarter" idx="10"/>
          </p:nvPr>
        </p:nvSpPr>
        <p:spPr>
          <a:xfrm>
            <a:off x="520700" y="1335089"/>
            <a:ext cx="8101013" cy="2982912"/>
          </a:xfrm>
        </p:spPr>
        <p:txBody>
          <a:bodyPr/>
          <a:lstStyle>
            <a:lvl1pPr marL="0" indent="0">
              <a:buNone/>
              <a:defRPr sz="1600"/>
            </a:lvl1pPr>
          </a:lstStyle>
          <a:p>
            <a:r>
              <a:rPr lang="de-DE"/>
              <a:t>Bild durch Klicken auf Symbol hinzufügen</a:t>
            </a:r>
            <a:endParaRPr lang="de-AT" dirty="0"/>
          </a:p>
        </p:txBody>
      </p:sp>
      <p:sp>
        <p:nvSpPr>
          <p:cNvPr id="7" name="Titel 6">
            <a:extLst>
              <a:ext uri="{FF2B5EF4-FFF2-40B4-BE49-F238E27FC236}">
                <a16:creationId xmlns:a16="http://schemas.microsoft.com/office/drawing/2014/main" id="{14700D8A-85C3-4C4A-A6CC-1728C45248B1}"/>
              </a:ext>
            </a:extLst>
          </p:cNvPr>
          <p:cNvSpPr>
            <a:spLocks noGrp="1"/>
          </p:cNvSpPr>
          <p:nvPr>
            <p:ph type="title" hasCustomPrompt="1"/>
          </p:nvPr>
        </p:nvSpPr>
        <p:spPr>
          <a:xfrm>
            <a:off x="520699" y="432000"/>
            <a:ext cx="7046305" cy="591937"/>
          </a:xfrm>
        </p:spPr>
        <p:txBody>
          <a:bodyPr/>
          <a:lstStyle>
            <a:lvl1pPr>
              <a:defRPr/>
            </a:lvl1pPr>
          </a:lstStyle>
          <a:p>
            <a:r>
              <a:rPr lang="de-DE" dirty="0"/>
              <a:t>Titel hier einfügen </a:t>
            </a:r>
            <a:br>
              <a:rPr lang="de-DE" dirty="0"/>
            </a:br>
            <a:r>
              <a:rPr lang="de-DE" dirty="0"/>
              <a:t>(2-zeilig)</a:t>
            </a:r>
            <a:endParaRPr lang="de-AT" dirty="0"/>
          </a:p>
        </p:txBody>
      </p:sp>
      <p:sp>
        <p:nvSpPr>
          <p:cNvPr id="4" name="Textplatzhalter 4">
            <a:extLst>
              <a:ext uri="{FF2B5EF4-FFF2-40B4-BE49-F238E27FC236}">
                <a16:creationId xmlns:a16="http://schemas.microsoft.com/office/drawing/2014/main" id="{5CEDCDB2-8803-4982-97FD-A74E1BEEDDFF}"/>
              </a:ext>
            </a:extLst>
          </p:cNvPr>
          <p:cNvSpPr>
            <a:spLocks noGrp="1"/>
          </p:cNvSpPr>
          <p:nvPr>
            <p:ph type="body" sz="quarter" idx="11" hasCustomPrompt="1"/>
            <p:custDataLst>
              <p:tags r:id="rId1"/>
            </p:custDataLst>
          </p:nvPr>
        </p:nvSpPr>
        <p:spPr>
          <a:xfrm>
            <a:off x="520700" y="4321175"/>
            <a:ext cx="7048500" cy="225425"/>
          </a:xfrm>
        </p:spPr>
        <p:txBody>
          <a:bodyPr anchor="b"/>
          <a:lstStyle>
            <a:lvl1pPr marL="88900" indent="-88900">
              <a:spcBef>
                <a:spcPts val="0"/>
              </a:spcBef>
              <a:buNone/>
              <a:tabLst>
                <a:tab pos="88900" algn="l"/>
              </a:tabLst>
              <a:defRPr sz="550">
                <a:solidFill>
                  <a:schemeClr val="tx1"/>
                </a:solidFill>
              </a:defRPr>
            </a:lvl1pPr>
            <a:lvl2pPr marL="176213" indent="0">
              <a:buNone/>
              <a:defRPr sz="550">
                <a:solidFill>
                  <a:schemeClr val="tx1"/>
                </a:solidFill>
              </a:defRPr>
            </a:lvl2pPr>
            <a:lvl3pPr marL="360362" indent="0">
              <a:buNone/>
              <a:defRPr sz="550">
                <a:solidFill>
                  <a:schemeClr val="tx1"/>
                </a:solidFill>
              </a:defRPr>
            </a:lvl3pPr>
            <a:lvl4pPr marL="536575" indent="0">
              <a:buNone/>
              <a:defRPr sz="550">
                <a:solidFill>
                  <a:schemeClr val="tx1"/>
                </a:solidFill>
              </a:defRPr>
            </a:lvl4pPr>
            <a:lvl5pPr marL="719137" indent="0">
              <a:buNone/>
              <a:defRPr sz="550">
                <a:solidFill>
                  <a:schemeClr val="tx1"/>
                </a:solidFill>
              </a:defRPr>
            </a:lvl5pPr>
          </a:lstStyle>
          <a:p>
            <a:pPr lvl="0"/>
            <a:r>
              <a:rPr lang="de-AT" dirty="0"/>
              <a:t>Platz für Quellenangaben, Fußnoten etc.</a:t>
            </a:r>
          </a:p>
        </p:txBody>
      </p:sp>
    </p:spTree>
    <p:extLst>
      <p:ext uri="{BB962C8B-B14F-4D97-AF65-F5344CB8AC3E}">
        <p14:creationId xmlns:p14="http://schemas.microsoft.com/office/powerpoint/2010/main" val="36833539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e-DE" dirty="0"/>
              <a:t>Titel hier einfügen (nur 1-zeilig)</a:t>
            </a:r>
            <a:endParaRPr lang="en-US" dirty="0"/>
          </a:p>
        </p:txBody>
      </p:sp>
      <p:sp>
        <p:nvSpPr>
          <p:cNvPr id="3" name="Content Placeholder 2"/>
          <p:cNvSpPr>
            <a:spLocks noGrp="1"/>
          </p:cNvSpPr>
          <p:nvPr>
            <p:ph idx="1"/>
          </p:nvPr>
        </p:nvSpPr>
        <p:spPr>
          <a:xfrm>
            <a:off x="522288" y="1023938"/>
            <a:ext cx="7044716" cy="3297237"/>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platzhalter 4">
            <a:extLst>
              <a:ext uri="{FF2B5EF4-FFF2-40B4-BE49-F238E27FC236}">
                <a16:creationId xmlns:a16="http://schemas.microsoft.com/office/drawing/2014/main" id="{A22BED48-5E41-42CC-B7C0-91FFA77533E2}"/>
              </a:ext>
            </a:extLst>
          </p:cNvPr>
          <p:cNvSpPr>
            <a:spLocks noGrp="1"/>
          </p:cNvSpPr>
          <p:nvPr>
            <p:ph type="body" sz="quarter" idx="10" hasCustomPrompt="1"/>
            <p:custDataLst>
              <p:tags r:id="rId1"/>
            </p:custDataLst>
          </p:nvPr>
        </p:nvSpPr>
        <p:spPr>
          <a:xfrm>
            <a:off x="520700" y="4321175"/>
            <a:ext cx="7048500" cy="225425"/>
          </a:xfrm>
        </p:spPr>
        <p:txBody>
          <a:bodyPr anchor="b"/>
          <a:lstStyle>
            <a:lvl1pPr marL="88900" indent="-88900">
              <a:spcBef>
                <a:spcPts val="0"/>
              </a:spcBef>
              <a:buNone/>
              <a:tabLst>
                <a:tab pos="88900" algn="l"/>
              </a:tabLst>
              <a:defRPr sz="550">
                <a:solidFill>
                  <a:schemeClr val="tx1"/>
                </a:solidFill>
              </a:defRPr>
            </a:lvl1pPr>
            <a:lvl2pPr marL="176213" indent="0">
              <a:buNone/>
              <a:defRPr sz="550">
                <a:solidFill>
                  <a:schemeClr val="tx1"/>
                </a:solidFill>
              </a:defRPr>
            </a:lvl2pPr>
            <a:lvl3pPr marL="360362" indent="0">
              <a:buNone/>
              <a:defRPr sz="550">
                <a:solidFill>
                  <a:schemeClr val="tx1"/>
                </a:solidFill>
              </a:defRPr>
            </a:lvl3pPr>
            <a:lvl4pPr marL="536575" indent="0">
              <a:buNone/>
              <a:defRPr sz="550">
                <a:solidFill>
                  <a:schemeClr val="tx1"/>
                </a:solidFill>
              </a:defRPr>
            </a:lvl4pPr>
            <a:lvl5pPr marL="719137" indent="0">
              <a:buNone/>
              <a:defRPr sz="550">
                <a:solidFill>
                  <a:schemeClr val="tx1"/>
                </a:solidFill>
              </a:defRPr>
            </a:lvl5pPr>
          </a:lstStyle>
          <a:p>
            <a:pPr lvl="0"/>
            <a:r>
              <a:rPr lang="de-AT" dirty="0"/>
              <a:t>Platz für Quellenangaben, Fußnoten etc.</a:t>
            </a:r>
          </a:p>
        </p:txBody>
      </p:sp>
    </p:spTree>
    <p:extLst>
      <p:ext uri="{BB962C8B-B14F-4D97-AF65-F5344CB8AC3E}">
        <p14:creationId xmlns:p14="http://schemas.microsoft.com/office/powerpoint/2010/main" val="41096737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ighl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e-DE" dirty="0"/>
              <a:t>Titel hier einfügen (nur 1-zeilig)</a:t>
            </a:r>
            <a:endParaRPr lang="en-US" dirty="0"/>
          </a:p>
        </p:txBody>
      </p:sp>
      <p:sp>
        <p:nvSpPr>
          <p:cNvPr id="7" name="Textplatzhalter 6">
            <a:extLst>
              <a:ext uri="{FF2B5EF4-FFF2-40B4-BE49-F238E27FC236}">
                <a16:creationId xmlns:a16="http://schemas.microsoft.com/office/drawing/2014/main" id="{F55C90D8-4C63-498D-95D5-5EA472D87451}"/>
              </a:ext>
            </a:extLst>
          </p:cNvPr>
          <p:cNvSpPr>
            <a:spLocks noGrp="1"/>
          </p:cNvSpPr>
          <p:nvPr>
            <p:ph type="body" sz="quarter" idx="11"/>
          </p:nvPr>
        </p:nvSpPr>
        <p:spPr bwMode="gray">
          <a:xfrm>
            <a:off x="520699" y="1097281"/>
            <a:ext cx="8102601" cy="2888124"/>
          </a:xfrm>
        </p:spPr>
        <p:txBody>
          <a:bodyPr/>
          <a:lstStyle>
            <a:lvl1pPr marL="0" indent="0">
              <a:spcAft>
                <a:spcPts val="3000"/>
              </a:spcAft>
              <a:buNone/>
              <a:defRPr lang="de-DE" sz="3600" b="1" kern="1200" dirty="0" smtClean="0">
                <a:solidFill>
                  <a:schemeClr val="tx1"/>
                </a:solidFill>
                <a:highlight>
                  <a:srgbClr val="D7DC46"/>
                </a:highlight>
                <a:latin typeface="+mn-lt"/>
                <a:ea typeface="+mn-ea"/>
                <a:cs typeface="+mn-cs"/>
              </a:defRPr>
            </a:lvl1pPr>
            <a:lvl2pPr marL="0" indent="0">
              <a:buNone/>
              <a:defRPr lang="de-DE" sz="1800" b="1" kern="1200" dirty="0" smtClean="0">
                <a:solidFill>
                  <a:schemeClr val="tx1"/>
                </a:solidFill>
                <a:latin typeface="+mn-lt"/>
                <a:ea typeface="+mn-ea"/>
                <a:cs typeface="+mn-cs"/>
              </a:defRPr>
            </a:lvl2pPr>
          </a:lstStyle>
          <a:p>
            <a:pPr lvl="0"/>
            <a:r>
              <a:rPr lang="de-DE"/>
              <a:t>Mastertextformat bearbeiten</a:t>
            </a:r>
          </a:p>
          <a:p>
            <a:pPr lvl="1"/>
            <a:r>
              <a:rPr lang="de-DE"/>
              <a:t>Zweite Ebene</a:t>
            </a:r>
          </a:p>
        </p:txBody>
      </p:sp>
      <p:sp>
        <p:nvSpPr>
          <p:cNvPr id="4" name="Textplatzhalter 4">
            <a:extLst>
              <a:ext uri="{FF2B5EF4-FFF2-40B4-BE49-F238E27FC236}">
                <a16:creationId xmlns:a16="http://schemas.microsoft.com/office/drawing/2014/main" id="{785BF13E-2861-4C78-8A1B-96BF83EDC2B9}"/>
              </a:ext>
            </a:extLst>
          </p:cNvPr>
          <p:cNvSpPr>
            <a:spLocks noGrp="1"/>
          </p:cNvSpPr>
          <p:nvPr>
            <p:ph type="body" sz="quarter" idx="10" hasCustomPrompt="1"/>
            <p:custDataLst>
              <p:tags r:id="rId1"/>
            </p:custDataLst>
          </p:nvPr>
        </p:nvSpPr>
        <p:spPr>
          <a:xfrm>
            <a:off x="520700" y="4321175"/>
            <a:ext cx="7048500" cy="225425"/>
          </a:xfrm>
        </p:spPr>
        <p:txBody>
          <a:bodyPr anchor="b"/>
          <a:lstStyle>
            <a:lvl1pPr marL="88900" indent="-88900">
              <a:spcBef>
                <a:spcPts val="0"/>
              </a:spcBef>
              <a:buNone/>
              <a:tabLst>
                <a:tab pos="88900" algn="l"/>
              </a:tabLst>
              <a:defRPr sz="550">
                <a:solidFill>
                  <a:schemeClr val="tx1"/>
                </a:solidFill>
              </a:defRPr>
            </a:lvl1pPr>
            <a:lvl2pPr marL="176213" indent="0">
              <a:buNone/>
              <a:defRPr sz="550">
                <a:solidFill>
                  <a:schemeClr val="tx1"/>
                </a:solidFill>
              </a:defRPr>
            </a:lvl2pPr>
            <a:lvl3pPr marL="360362" indent="0">
              <a:buNone/>
              <a:defRPr sz="550">
                <a:solidFill>
                  <a:schemeClr val="tx1"/>
                </a:solidFill>
              </a:defRPr>
            </a:lvl3pPr>
            <a:lvl4pPr marL="536575" indent="0">
              <a:buNone/>
              <a:defRPr sz="550">
                <a:solidFill>
                  <a:schemeClr val="tx1"/>
                </a:solidFill>
              </a:defRPr>
            </a:lvl4pPr>
            <a:lvl5pPr marL="719137" indent="0">
              <a:buNone/>
              <a:defRPr sz="550">
                <a:solidFill>
                  <a:schemeClr val="tx1"/>
                </a:solidFill>
              </a:defRPr>
            </a:lvl5pPr>
          </a:lstStyle>
          <a:p>
            <a:pPr lvl="0"/>
            <a:r>
              <a:rPr lang="de-AT" dirty="0"/>
              <a:t>Platz für Quellenangaben, Fußnoten etc.</a:t>
            </a:r>
          </a:p>
        </p:txBody>
      </p:sp>
    </p:spTree>
    <p:extLst>
      <p:ext uri="{BB962C8B-B14F-4D97-AF65-F5344CB8AC3E}">
        <p14:creationId xmlns:p14="http://schemas.microsoft.com/office/powerpoint/2010/main" val="21060372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ighlight mit Titel 2-zeili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0699" y="432000"/>
            <a:ext cx="7046305" cy="591937"/>
          </a:xfrm>
        </p:spPr>
        <p:txBody>
          <a:bodyPr/>
          <a:lstStyle>
            <a:lvl1pPr>
              <a:defRPr/>
            </a:lvl1pPr>
          </a:lstStyle>
          <a:p>
            <a:r>
              <a:rPr lang="de-DE" dirty="0"/>
              <a:t>Titel hier einfügen </a:t>
            </a:r>
            <a:br>
              <a:rPr lang="de-DE" dirty="0"/>
            </a:br>
            <a:r>
              <a:rPr lang="de-DE" dirty="0"/>
              <a:t>(2-zeilig)</a:t>
            </a:r>
            <a:endParaRPr lang="en-US" dirty="0"/>
          </a:p>
        </p:txBody>
      </p:sp>
      <p:sp>
        <p:nvSpPr>
          <p:cNvPr id="7" name="Textplatzhalter 6">
            <a:extLst>
              <a:ext uri="{FF2B5EF4-FFF2-40B4-BE49-F238E27FC236}">
                <a16:creationId xmlns:a16="http://schemas.microsoft.com/office/drawing/2014/main" id="{F55C90D8-4C63-498D-95D5-5EA472D87451}"/>
              </a:ext>
            </a:extLst>
          </p:cNvPr>
          <p:cNvSpPr>
            <a:spLocks noGrp="1"/>
          </p:cNvSpPr>
          <p:nvPr>
            <p:ph type="body" sz="quarter" idx="11"/>
          </p:nvPr>
        </p:nvSpPr>
        <p:spPr bwMode="gray">
          <a:xfrm>
            <a:off x="520699" y="1408853"/>
            <a:ext cx="8102601" cy="2576552"/>
          </a:xfrm>
        </p:spPr>
        <p:txBody>
          <a:bodyPr/>
          <a:lstStyle>
            <a:lvl1pPr marL="0" indent="0">
              <a:spcAft>
                <a:spcPts val="3000"/>
              </a:spcAft>
              <a:buNone/>
              <a:defRPr lang="de-DE" sz="3600" b="1" kern="1200" dirty="0" smtClean="0">
                <a:solidFill>
                  <a:schemeClr val="tx1"/>
                </a:solidFill>
                <a:highlight>
                  <a:srgbClr val="D7DC46"/>
                </a:highlight>
                <a:latin typeface="+mn-lt"/>
                <a:ea typeface="+mn-ea"/>
                <a:cs typeface="+mn-cs"/>
              </a:defRPr>
            </a:lvl1pPr>
            <a:lvl2pPr marL="0" indent="0">
              <a:buNone/>
              <a:defRPr lang="de-DE" sz="1800" b="1" kern="1200" dirty="0" smtClean="0">
                <a:solidFill>
                  <a:schemeClr val="tx1"/>
                </a:solidFill>
                <a:latin typeface="+mn-lt"/>
                <a:ea typeface="+mn-ea"/>
                <a:cs typeface="+mn-cs"/>
              </a:defRPr>
            </a:lvl2pPr>
          </a:lstStyle>
          <a:p>
            <a:pPr lvl="0"/>
            <a:r>
              <a:rPr lang="de-DE"/>
              <a:t>Mastertextformat bearbeiten</a:t>
            </a:r>
          </a:p>
          <a:p>
            <a:pPr lvl="1"/>
            <a:r>
              <a:rPr lang="de-DE"/>
              <a:t>Zweite Ebene</a:t>
            </a:r>
          </a:p>
        </p:txBody>
      </p:sp>
      <p:sp>
        <p:nvSpPr>
          <p:cNvPr id="4" name="Textplatzhalter 4">
            <a:extLst>
              <a:ext uri="{FF2B5EF4-FFF2-40B4-BE49-F238E27FC236}">
                <a16:creationId xmlns:a16="http://schemas.microsoft.com/office/drawing/2014/main" id="{B31D9A68-2BCD-41EB-98A9-5475B576B408}"/>
              </a:ext>
            </a:extLst>
          </p:cNvPr>
          <p:cNvSpPr>
            <a:spLocks noGrp="1"/>
          </p:cNvSpPr>
          <p:nvPr>
            <p:ph type="body" sz="quarter" idx="10" hasCustomPrompt="1"/>
            <p:custDataLst>
              <p:tags r:id="rId1"/>
            </p:custDataLst>
          </p:nvPr>
        </p:nvSpPr>
        <p:spPr>
          <a:xfrm>
            <a:off x="520700" y="4321175"/>
            <a:ext cx="7048500" cy="225425"/>
          </a:xfrm>
        </p:spPr>
        <p:txBody>
          <a:bodyPr anchor="b"/>
          <a:lstStyle>
            <a:lvl1pPr marL="88900" indent="-88900">
              <a:spcBef>
                <a:spcPts val="0"/>
              </a:spcBef>
              <a:buNone/>
              <a:tabLst>
                <a:tab pos="88900" algn="l"/>
              </a:tabLst>
              <a:defRPr sz="550">
                <a:solidFill>
                  <a:schemeClr val="tx1"/>
                </a:solidFill>
              </a:defRPr>
            </a:lvl1pPr>
            <a:lvl2pPr marL="176213" indent="0">
              <a:buNone/>
              <a:defRPr sz="550">
                <a:solidFill>
                  <a:schemeClr val="tx1"/>
                </a:solidFill>
              </a:defRPr>
            </a:lvl2pPr>
            <a:lvl3pPr marL="360362" indent="0">
              <a:buNone/>
              <a:defRPr sz="550">
                <a:solidFill>
                  <a:schemeClr val="tx1"/>
                </a:solidFill>
              </a:defRPr>
            </a:lvl3pPr>
            <a:lvl4pPr marL="536575" indent="0">
              <a:buNone/>
              <a:defRPr sz="550">
                <a:solidFill>
                  <a:schemeClr val="tx1"/>
                </a:solidFill>
              </a:defRPr>
            </a:lvl4pPr>
            <a:lvl5pPr marL="719137" indent="0">
              <a:buNone/>
              <a:defRPr sz="550">
                <a:solidFill>
                  <a:schemeClr val="tx1"/>
                </a:solidFill>
              </a:defRPr>
            </a:lvl5pPr>
          </a:lstStyle>
          <a:p>
            <a:pPr lvl="0"/>
            <a:r>
              <a:rPr lang="de-AT" dirty="0"/>
              <a:t>Platz für Quellenangaben, Fußnoten etc.</a:t>
            </a:r>
          </a:p>
        </p:txBody>
      </p:sp>
    </p:spTree>
    <p:extLst>
      <p:ext uri="{BB962C8B-B14F-4D97-AF65-F5344CB8AC3E}">
        <p14:creationId xmlns:p14="http://schemas.microsoft.com/office/powerpoint/2010/main" val="26332088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3" name="Text Box 5">
            <a:extLst>
              <a:ext uri="{FF2B5EF4-FFF2-40B4-BE49-F238E27FC236}">
                <a16:creationId xmlns:a16="http://schemas.microsoft.com/office/drawing/2014/main" id="{59915AC5-6E58-45D6-ADE0-CF4B4E623CC7}"/>
              </a:ext>
            </a:extLst>
          </p:cNvPr>
          <p:cNvSpPr txBox="1">
            <a:spLocks noChangeArrowheads="1"/>
          </p:cNvSpPr>
          <p:nvPr/>
        </p:nvSpPr>
        <p:spPr bwMode="auto">
          <a:xfrm>
            <a:off x="526075" y="1466851"/>
            <a:ext cx="8097226" cy="2244204"/>
          </a:xfrm>
          <a:prstGeom prst="rect">
            <a:avLst/>
          </a:prstGeom>
          <a:noFill/>
          <a:ln w="9525">
            <a:noFill/>
            <a:miter lim="800000"/>
            <a:headEnd/>
            <a:tailEnd/>
          </a:ln>
        </p:spPr>
        <p:txBody>
          <a:bodyPr wrap="square" lIns="0" tIns="0" rIns="0" bIns="0">
            <a:spAutoFit/>
          </a:bodyPr>
          <a:lstStyle/>
          <a:p>
            <a:pPr defTabSz="685800">
              <a:spcAft>
                <a:spcPct val="30000"/>
              </a:spcAft>
              <a:defRPr/>
            </a:pPr>
            <a:endParaRPr lang="de-AT" sz="923" b="0" dirty="0">
              <a:solidFill>
                <a:schemeClr val="tx1"/>
              </a:solidFill>
              <a:latin typeface="+mn-lt"/>
            </a:endParaRPr>
          </a:p>
          <a:p>
            <a:pPr defTabSz="685800">
              <a:spcAft>
                <a:spcPct val="30000"/>
              </a:spcAft>
              <a:defRPr/>
            </a:pPr>
            <a:endParaRPr lang="de-AT" sz="923" b="0" dirty="0">
              <a:solidFill>
                <a:schemeClr val="tx1"/>
              </a:solidFill>
              <a:latin typeface="+mn-lt"/>
            </a:endParaRPr>
          </a:p>
          <a:p>
            <a:pPr defTabSz="685800">
              <a:spcAft>
                <a:spcPct val="30000"/>
              </a:spcAft>
              <a:defRPr/>
            </a:pPr>
            <a:r>
              <a:rPr lang="de-AT" sz="923" b="0" dirty="0">
                <a:solidFill>
                  <a:schemeClr val="tx1"/>
                </a:solidFill>
                <a:latin typeface="+mn-lt"/>
              </a:rPr>
              <a:t>Copyright © 2021 </a:t>
            </a:r>
            <a:r>
              <a:rPr lang="de-AT" sz="923" b="0" dirty="0" err="1">
                <a:solidFill>
                  <a:schemeClr val="tx1"/>
                </a:solidFill>
                <a:latin typeface="+mn-lt"/>
              </a:rPr>
              <a:t>by</a:t>
            </a:r>
            <a:r>
              <a:rPr lang="de-AT" sz="923" b="0" dirty="0">
                <a:solidFill>
                  <a:schemeClr val="tx1"/>
                </a:solidFill>
                <a:latin typeface="+mn-lt"/>
              </a:rPr>
              <a:t> Austria Glas Recycling GmbH (AGR)</a:t>
            </a:r>
          </a:p>
          <a:p>
            <a:pPr defTabSz="685800">
              <a:spcAft>
                <a:spcPct val="30000"/>
              </a:spcAft>
              <a:defRPr/>
            </a:pPr>
            <a:r>
              <a:rPr lang="de-AT" sz="923" b="0" dirty="0">
                <a:solidFill>
                  <a:schemeClr val="tx1"/>
                </a:solidFill>
                <a:latin typeface="+mn-lt"/>
              </a:rPr>
              <a:t>Diese Präsentation einschließlich aller ihrer Teile ist geistiges Eigentum der AGR und urheberrechtlich geschützt. Alle Rechte sind vorbehalten. Durch diese Präsentation wird keine Lizenz zur Nutzung des geistigen Eigentums der AGR oder Dritter erteilt. Jede Verwertung oder Weitergabe an Dritte bedarf der vorherigen schriftlichen Zustimmung der AGR. Dies gilt insbesondere für die Vervielfältigung, Bearbeitung, Übersetzung, die Entnahme von Daten oder Abbildungen, die Wiedergabe auf fotomechanischem oder ähnlichem Weg sowie die Einspeicherung und Verarbeitung in elektronischen Systemen.</a:t>
            </a:r>
          </a:p>
          <a:p>
            <a:pPr defTabSz="685800">
              <a:spcAft>
                <a:spcPct val="30000"/>
              </a:spcAft>
              <a:defRPr/>
            </a:pPr>
            <a:endParaRPr lang="de-AT" sz="923" b="0" dirty="0">
              <a:solidFill>
                <a:schemeClr val="tx1"/>
              </a:solidFill>
              <a:latin typeface="+mn-lt"/>
            </a:endParaRPr>
          </a:p>
          <a:p>
            <a:pPr defTabSz="685800">
              <a:spcAft>
                <a:spcPct val="30000"/>
              </a:spcAft>
              <a:defRPr/>
            </a:pPr>
            <a:r>
              <a:rPr lang="de-AT" sz="923" b="0" dirty="0">
                <a:solidFill>
                  <a:schemeClr val="tx1"/>
                </a:solidFill>
                <a:latin typeface="+mn-lt"/>
              </a:rPr>
              <a:t>Haftungsausschluss </a:t>
            </a:r>
          </a:p>
          <a:p>
            <a:pPr defTabSz="685800">
              <a:defRPr/>
            </a:pPr>
            <a:r>
              <a:rPr lang="de-AT" sz="923" b="0" dirty="0">
                <a:solidFill>
                  <a:schemeClr val="tx1"/>
                </a:solidFill>
                <a:latin typeface="+mn-lt"/>
              </a:rPr>
              <a:t>Die in dieser Präsentation enthaltenen Informationen und Beurteilungen beruhen auf dem Informationsstand zum Zeitpunkt der Erstellung. Jede Haftung des Verfassers für die Vollständigkeit und Richtigkeit der in dieser Präsentation enthaltenen Angaben und Bewertungen ist ausgeschlossen. Mit Aushändigung dieser Präsentation kommt kein Beratungsvertrag zwischen dem Verfasser und dem Empfänger zustande. Der Verfasser behält sich das Recht vor, diese Präsentation jederzeit zu ändern und/oder zu ergänzen. Der Verfasser übernimmt keine Verpflichtung, dem Empfänger dieser Präsentation auf Verlangen zusätzliche Informationen zur Verfügung zu stellen, diese Präsentation zu ändern oder zu ergänzen.</a:t>
            </a:r>
          </a:p>
        </p:txBody>
      </p:sp>
    </p:spTree>
    <p:extLst>
      <p:ext uri="{BB962C8B-B14F-4D97-AF65-F5344CB8AC3E}">
        <p14:creationId xmlns:p14="http://schemas.microsoft.com/office/powerpoint/2010/main" val="130042087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ontakt">
    <p:bg>
      <p:bgRef idx="1001">
        <a:schemeClr val="bg1"/>
      </p:bgRef>
    </p:bg>
    <p:spTree>
      <p:nvGrpSpPr>
        <p:cNvPr id="1" name=""/>
        <p:cNvGrpSpPr/>
        <p:nvPr/>
      </p:nvGrpSpPr>
      <p:grpSpPr>
        <a:xfrm>
          <a:off x="0" y="0"/>
          <a:ext cx="0" cy="0"/>
          <a:chOff x="0" y="0"/>
          <a:chExt cx="0" cy="0"/>
        </a:xfrm>
      </p:grpSpPr>
      <p:graphicFrame>
        <p:nvGraphicFramePr>
          <p:cNvPr id="4" name="Tabelle 4">
            <a:extLst>
              <a:ext uri="{FF2B5EF4-FFF2-40B4-BE49-F238E27FC236}">
                <a16:creationId xmlns:a16="http://schemas.microsoft.com/office/drawing/2014/main" id="{A97718F1-0602-47B5-8401-C15A607ADEFD}"/>
              </a:ext>
            </a:extLst>
          </p:cNvPr>
          <p:cNvGraphicFramePr>
            <a:graphicFrameLocks noGrp="1"/>
          </p:cNvGraphicFramePr>
          <p:nvPr userDrawn="1">
            <p:extLst>
              <p:ext uri="{D42A27DB-BD31-4B8C-83A1-F6EECF244321}">
                <p14:modId xmlns:p14="http://schemas.microsoft.com/office/powerpoint/2010/main" val="4225464821"/>
              </p:ext>
            </p:extLst>
          </p:nvPr>
        </p:nvGraphicFramePr>
        <p:xfrm>
          <a:off x="522288" y="2204655"/>
          <a:ext cx="5255058" cy="1615440"/>
        </p:xfrm>
        <a:graphic>
          <a:graphicData uri="http://schemas.openxmlformats.org/drawingml/2006/table">
            <a:tbl>
              <a:tblPr>
                <a:tableStyleId>{5C22544A-7EE6-4342-B048-85BDC9FD1C3A}</a:tableStyleId>
              </a:tblPr>
              <a:tblGrid>
                <a:gridCol w="5255058">
                  <a:extLst>
                    <a:ext uri="{9D8B030D-6E8A-4147-A177-3AD203B41FA5}">
                      <a16:colId xmlns:a16="http://schemas.microsoft.com/office/drawing/2014/main" val="2121819486"/>
                    </a:ext>
                  </a:extLst>
                </a:gridCol>
              </a:tblGrid>
              <a:tr h="370840">
                <a:tc>
                  <a:txBody>
                    <a:bodyPr/>
                    <a:lstStyle/>
                    <a:p>
                      <a:r>
                        <a:rPr lang="de-AT" dirty="0">
                          <a:solidFill>
                            <a:schemeClr val="tx1"/>
                          </a:solidFill>
                        </a:rPr>
                        <a:t>Sie haben Fragen? Wir beraten Sie gerne. Kontaktieren Sie uns!</a:t>
                      </a:r>
                      <a:endParaRPr lang="en-US" dirty="0">
                        <a:solidFill>
                          <a:schemeClr val="tx1"/>
                        </a:solidFill>
                      </a:endParaRPr>
                    </a:p>
                  </a:txBody>
                  <a:tcPr anchor="ctr">
                    <a:lnL w="12700" cmpd="sng">
                      <a:noFill/>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953874951"/>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e-AT" sz="1350" kern="1200" dirty="0">
                          <a:solidFill>
                            <a:schemeClr val="tx1"/>
                          </a:solidFill>
                          <a:effectLst/>
                          <a:latin typeface="+mn-lt"/>
                          <a:ea typeface="+mn-ea"/>
                          <a:cs typeface="+mn-cs"/>
                        </a:rPr>
                        <a:t>Tel.: +43.1.214 49 00</a:t>
                      </a:r>
                    </a:p>
                  </a:txBody>
                  <a:tcPr anchor="ctr">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60736930"/>
                  </a:ext>
                </a:extLst>
              </a:tr>
              <a:tr h="370840">
                <a:tc>
                  <a:txBody>
                    <a:bodyPr/>
                    <a:lstStyle/>
                    <a:p>
                      <a:r>
                        <a:rPr lang="en-US" u="none" dirty="0">
                          <a:solidFill>
                            <a:schemeClr val="tx1"/>
                          </a:solidFill>
                          <a:hlinkClick r:id="rId2">
                            <a:extLst>
                              <a:ext uri="{A12FA001-AC4F-418D-AE19-62706E023703}">
                                <ahyp:hlinkClr xmlns:ahyp="http://schemas.microsoft.com/office/drawing/2018/hyperlinkcolor" val="tx"/>
                              </a:ext>
                            </a:extLst>
                          </a:hlinkClick>
                        </a:rPr>
                        <a:t>agr@agr.at</a:t>
                      </a:r>
                      <a:endParaRPr lang="en-US" u="none" dirty="0">
                        <a:solidFill>
                          <a:schemeClr val="tx1"/>
                        </a:solidFill>
                      </a:endParaRPr>
                    </a:p>
                  </a:txBody>
                  <a:tcPr anchor="ctr">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89481618"/>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e-AT" sz="1350" kern="1200" dirty="0">
                          <a:solidFill>
                            <a:schemeClr val="tx1"/>
                          </a:solidFill>
                          <a:effectLst/>
                          <a:latin typeface="+mn-lt"/>
                          <a:ea typeface="+mn-ea"/>
                          <a:cs typeface="+mn-cs"/>
                        </a:rPr>
                        <a:t>Unsere AGR </a:t>
                      </a:r>
                      <a:r>
                        <a:rPr lang="de-AT" sz="1350" kern="1200" dirty="0" err="1">
                          <a:solidFill>
                            <a:schemeClr val="tx1"/>
                          </a:solidFill>
                          <a:effectLst/>
                          <a:latin typeface="+mn-lt"/>
                          <a:ea typeface="+mn-ea"/>
                          <a:cs typeface="+mn-cs"/>
                        </a:rPr>
                        <a:t>Mitarbeiter:innen</a:t>
                      </a:r>
                      <a:r>
                        <a:rPr lang="de-AT" sz="1350" kern="1200" dirty="0">
                          <a:solidFill>
                            <a:schemeClr val="tx1"/>
                          </a:solidFill>
                          <a:effectLst/>
                          <a:latin typeface="+mn-lt"/>
                          <a:ea typeface="+mn-ea"/>
                          <a:cs typeface="+mn-cs"/>
                        </a:rPr>
                        <a:t> stehen Ihnen gerne persönlich zur Verfügung.</a:t>
                      </a:r>
                    </a:p>
                  </a:txBody>
                  <a:tcPr anchor="ctr">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16982321"/>
                  </a:ext>
                </a:extLst>
              </a:tr>
            </a:tbl>
          </a:graphicData>
        </a:graphic>
      </p:graphicFrame>
      <p:sp>
        <p:nvSpPr>
          <p:cNvPr id="6" name="Textfeld 5">
            <a:extLst>
              <a:ext uri="{FF2B5EF4-FFF2-40B4-BE49-F238E27FC236}">
                <a16:creationId xmlns:a16="http://schemas.microsoft.com/office/drawing/2014/main" id="{203237AB-5A75-4705-BCEC-AFB91E822668}"/>
              </a:ext>
            </a:extLst>
          </p:cNvPr>
          <p:cNvSpPr txBox="1"/>
          <p:nvPr userDrawn="1"/>
        </p:nvSpPr>
        <p:spPr>
          <a:xfrm>
            <a:off x="522288" y="432000"/>
            <a:ext cx="1384482" cy="424732"/>
          </a:xfrm>
          <a:prstGeom prst="rect">
            <a:avLst/>
          </a:prstGeom>
        </p:spPr>
        <p:txBody>
          <a:bodyPr vert="horz" lIns="0" tIns="0" rIns="0" bIns="0" rtlCol="0" anchor="t">
            <a:noAutofit/>
          </a:bodyPr>
          <a:lstStyle>
            <a:lvl1pPr defTabSz="685800">
              <a:lnSpc>
                <a:spcPct val="90000"/>
              </a:lnSpc>
              <a:spcBef>
                <a:spcPct val="0"/>
              </a:spcBef>
              <a:buNone/>
              <a:defRPr sz="2400" b="1" cap="all" baseline="0">
                <a:solidFill>
                  <a:schemeClr val="accent1"/>
                </a:solidFill>
                <a:latin typeface="+mj-lt"/>
                <a:ea typeface="+mj-ea"/>
                <a:cs typeface="+mj-cs"/>
              </a:defRPr>
            </a:lvl1pPr>
          </a:lstStyle>
          <a:p>
            <a:pPr lvl="0"/>
            <a:r>
              <a:rPr lang="en-US" dirty="0">
                <a:solidFill>
                  <a:schemeClr val="accent1"/>
                </a:solidFill>
              </a:rPr>
              <a:t>Kontakt</a:t>
            </a:r>
          </a:p>
        </p:txBody>
      </p:sp>
    </p:spTree>
    <p:extLst>
      <p:ext uri="{BB962C8B-B14F-4D97-AF65-F5344CB8AC3E}">
        <p14:creationId xmlns:p14="http://schemas.microsoft.com/office/powerpoint/2010/main" val="3058409724"/>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2-zeilig und Inhal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0699" y="432000"/>
            <a:ext cx="7046305" cy="591937"/>
          </a:xfrm>
        </p:spPr>
        <p:txBody>
          <a:bodyPr/>
          <a:lstStyle>
            <a:lvl1pPr>
              <a:defRPr/>
            </a:lvl1pPr>
          </a:lstStyle>
          <a:p>
            <a:r>
              <a:rPr lang="de-DE" dirty="0"/>
              <a:t>Titel hier einfügen </a:t>
            </a:r>
            <a:br>
              <a:rPr lang="de-DE" dirty="0"/>
            </a:br>
            <a:r>
              <a:rPr lang="de-DE" dirty="0"/>
              <a:t>(2-zeilig)</a:t>
            </a:r>
            <a:endParaRPr lang="en-US" dirty="0"/>
          </a:p>
        </p:txBody>
      </p:sp>
      <p:sp>
        <p:nvSpPr>
          <p:cNvPr id="3" name="Content Placeholder 2"/>
          <p:cNvSpPr>
            <a:spLocks noGrp="1"/>
          </p:cNvSpPr>
          <p:nvPr>
            <p:ph idx="1"/>
          </p:nvPr>
        </p:nvSpPr>
        <p:spPr>
          <a:xfrm>
            <a:off x="522288" y="1335088"/>
            <a:ext cx="7044716" cy="2986087"/>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platzhalter 4">
            <a:extLst>
              <a:ext uri="{FF2B5EF4-FFF2-40B4-BE49-F238E27FC236}">
                <a16:creationId xmlns:a16="http://schemas.microsoft.com/office/drawing/2014/main" id="{C764D196-D801-4E7A-B3EF-0C5BFABD2C6A}"/>
              </a:ext>
            </a:extLst>
          </p:cNvPr>
          <p:cNvSpPr>
            <a:spLocks noGrp="1"/>
          </p:cNvSpPr>
          <p:nvPr>
            <p:ph type="body" sz="quarter" idx="10" hasCustomPrompt="1"/>
            <p:custDataLst>
              <p:tags r:id="rId1"/>
            </p:custDataLst>
          </p:nvPr>
        </p:nvSpPr>
        <p:spPr>
          <a:xfrm>
            <a:off x="520700" y="4321175"/>
            <a:ext cx="7048500" cy="225425"/>
          </a:xfrm>
        </p:spPr>
        <p:txBody>
          <a:bodyPr anchor="b"/>
          <a:lstStyle>
            <a:lvl1pPr marL="88900" indent="-88900">
              <a:spcBef>
                <a:spcPts val="0"/>
              </a:spcBef>
              <a:buNone/>
              <a:tabLst>
                <a:tab pos="88900" algn="l"/>
              </a:tabLst>
              <a:defRPr sz="550">
                <a:solidFill>
                  <a:schemeClr val="tx1"/>
                </a:solidFill>
              </a:defRPr>
            </a:lvl1pPr>
            <a:lvl2pPr marL="176213" indent="0">
              <a:buNone/>
              <a:defRPr sz="550">
                <a:solidFill>
                  <a:schemeClr val="tx1"/>
                </a:solidFill>
              </a:defRPr>
            </a:lvl2pPr>
            <a:lvl3pPr marL="360362" indent="0">
              <a:buNone/>
              <a:defRPr sz="550">
                <a:solidFill>
                  <a:schemeClr val="tx1"/>
                </a:solidFill>
              </a:defRPr>
            </a:lvl3pPr>
            <a:lvl4pPr marL="536575" indent="0">
              <a:buNone/>
              <a:defRPr sz="550">
                <a:solidFill>
                  <a:schemeClr val="tx1"/>
                </a:solidFill>
              </a:defRPr>
            </a:lvl4pPr>
            <a:lvl5pPr marL="719137" indent="0">
              <a:buNone/>
              <a:defRPr sz="550">
                <a:solidFill>
                  <a:schemeClr val="tx1"/>
                </a:solidFill>
              </a:defRPr>
            </a:lvl5pPr>
          </a:lstStyle>
          <a:p>
            <a:pPr lvl="0"/>
            <a:r>
              <a:rPr lang="de-AT" dirty="0"/>
              <a:t>Platz für Quellenangaben, Fußnoten etc.</a:t>
            </a:r>
          </a:p>
        </p:txBody>
      </p:sp>
    </p:spTree>
    <p:extLst>
      <p:ext uri="{BB962C8B-B14F-4D97-AF65-F5344CB8AC3E}">
        <p14:creationId xmlns:p14="http://schemas.microsoft.com/office/powerpoint/2010/main" val="8197587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22288" y="1023938"/>
            <a:ext cx="7046912" cy="3297237"/>
          </a:xfrm>
          <a:prstGeom prst="rect">
            <a:avLst/>
          </a:prstGeom>
        </p:spPr>
        <p:txBody>
          <a:bodyPr/>
          <a:lstStyle>
            <a:lvl1pPr>
              <a:lnSpc>
                <a:spcPct val="100000"/>
              </a:lnSpc>
              <a:spcBef>
                <a:spcPts val="600"/>
              </a:spcBef>
              <a:defRPr sz="1800"/>
            </a:lvl1pPr>
            <a:lvl2pPr marL="285750" indent="-285750">
              <a:lnSpc>
                <a:spcPct val="100000"/>
              </a:lnSpc>
              <a:spcBef>
                <a:spcPts val="600"/>
              </a:spcBef>
              <a:defRPr lang="de-DE" sz="1800" kern="1200" dirty="0">
                <a:solidFill>
                  <a:schemeClr val="tx1"/>
                </a:solidFill>
                <a:highlight>
                  <a:srgbClr val="D7DC46"/>
                </a:highlight>
                <a:latin typeface="+mn-lt"/>
                <a:ea typeface="+mn-ea"/>
                <a:cs typeface="+mn-cs"/>
              </a:defRPr>
            </a:lvl2pPr>
          </a:lstStyle>
          <a:p>
            <a:pPr lvl="0"/>
            <a:r>
              <a:rPr lang="de-DE" dirty="0"/>
              <a:t>Agendapunkte mit Hervorhebung</a:t>
            </a:r>
          </a:p>
          <a:p>
            <a:pPr marL="182563" lvl="1" indent="-182563" algn="l" defTabSz="685800" rtl="0" eaLnBrk="1" latinLnBrk="0" hangingPunct="1">
              <a:lnSpc>
                <a:spcPct val="90000"/>
              </a:lnSpc>
              <a:spcBef>
                <a:spcPts val="200"/>
              </a:spcBef>
              <a:buFont typeface="Symbol" panose="05050102010706020507" pitchFamily="18" charset="2"/>
              <a:buChar char="-"/>
            </a:pPr>
            <a:r>
              <a:rPr lang="de-DE" dirty="0"/>
              <a:t>Zweite Ebene</a:t>
            </a:r>
          </a:p>
        </p:txBody>
      </p:sp>
      <p:sp>
        <p:nvSpPr>
          <p:cNvPr id="7" name="Titel 6">
            <a:extLst>
              <a:ext uri="{FF2B5EF4-FFF2-40B4-BE49-F238E27FC236}">
                <a16:creationId xmlns:a16="http://schemas.microsoft.com/office/drawing/2014/main" id="{D619B126-9E05-4DDF-A9DC-D1941B9F80DC}"/>
              </a:ext>
            </a:extLst>
          </p:cNvPr>
          <p:cNvSpPr>
            <a:spLocks noGrp="1"/>
          </p:cNvSpPr>
          <p:nvPr>
            <p:ph type="title" hasCustomPrompt="1"/>
          </p:nvPr>
        </p:nvSpPr>
        <p:spPr/>
        <p:txBody>
          <a:bodyPr/>
          <a:lstStyle>
            <a:lvl1pPr>
              <a:defRPr/>
            </a:lvl1pPr>
          </a:lstStyle>
          <a:p>
            <a:r>
              <a:rPr lang="de-DE" dirty="0"/>
              <a:t>Agenda-Layout (nicht für andere Zwecke)</a:t>
            </a:r>
            <a:endParaRPr lang="en-US" dirty="0"/>
          </a:p>
        </p:txBody>
      </p:sp>
    </p:spTree>
    <p:extLst>
      <p:ext uri="{BB962C8B-B14F-4D97-AF65-F5344CB8AC3E}">
        <p14:creationId xmlns:p14="http://schemas.microsoft.com/office/powerpoint/2010/main" val="27716981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Abschnittstitel Farbe">
    <p:bg bwMode="gray">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2288" y="439817"/>
            <a:ext cx="7046912" cy="1214358"/>
          </a:xfrm>
        </p:spPr>
        <p:txBody>
          <a:bodyPr anchor="ctr"/>
          <a:lstStyle>
            <a:lvl1pPr>
              <a:defRPr sz="2800" i="0">
                <a:solidFill>
                  <a:schemeClr val="bg1"/>
                </a:solidFill>
              </a:defRPr>
            </a:lvl1pPr>
          </a:lstStyle>
          <a:p>
            <a:r>
              <a:rPr lang="de-DE"/>
              <a:t>Mastertitelformat bearbeiten</a:t>
            </a:r>
            <a:endParaRPr lang="en-US" dirty="0"/>
          </a:p>
        </p:txBody>
      </p:sp>
      <p:sp>
        <p:nvSpPr>
          <p:cNvPr id="3" name="Text Placeholder 2"/>
          <p:cNvSpPr>
            <a:spLocks noGrp="1"/>
          </p:cNvSpPr>
          <p:nvPr>
            <p:ph type="body" idx="1"/>
          </p:nvPr>
        </p:nvSpPr>
        <p:spPr bwMode="gray">
          <a:xfrm>
            <a:off x="522288" y="1804190"/>
            <a:ext cx="7046912" cy="1125140"/>
          </a:xfrm>
          <a:prstGeom prst="rect">
            <a:avLst/>
          </a:prstGeom>
        </p:spPr>
        <p:txBody>
          <a:bodyPr/>
          <a:lstStyle>
            <a:lvl1pPr marL="0" indent="0">
              <a:buNone/>
              <a:defRPr sz="1800" b="1" i="0" cap="all" baseline="0">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e-DE"/>
              <a:t>Mastertextformat bearbeiten</a:t>
            </a:r>
          </a:p>
        </p:txBody>
      </p:sp>
      <p:pic>
        <p:nvPicPr>
          <p:cNvPr id="5" name="Grafik 4" descr="Ein Bild, das Text enthält.&#10;&#10;Automatisch generierte Beschreibung">
            <a:extLst>
              <a:ext uri="{FF2B5EF4-FFF2-40B4-BE49-F238E27FC236}">
                <a16:creationId xmlns:a16="http://schemas.microsoft.com/office/drawing/2014/main" id="{D9F3261C-3B11-463A-AB38-CFA2DEA2C16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27036" y="4552885"/>
            <a:ext cx="1222455" cy="407485"/>
          </a:xfrm>
          <a:prstGeom prst="rect">
            <a:avLst/>
          </a:prstGeom>
        </p:spPr>
      </p:pic>
    </p:spTree>
    <p:extLst>
      <p:ext uri="{BB962C8B-B14F-4D97-AF65-F5344CB8AC3E}">
        <p14:creationId xmlns:p14="http://schemas.microsoft.com/office/powerpoint/2010/main" val="33826912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bschnittstitel weiß mit Icon">
    <p:spTree>
      <p:nvGrpSpPr>
        <p:cNvPr id="1" name=""/>
        <p:cNvGrpSpPr/>
        <p:nvPr/>
      </p:nvGrpSpPr>
      <p:grpSpPr>
        <a:xfrm>
          <a:off x="0" y="0"/>
          <a:ext cx="0" cy="0"/>
          <a:chOff x="0" y="0"/>
          <a:chExt cx="0" cy="0"/>
        </a:xfrm>
      </p:grpSpPr>
      <p:sp>
        <p:nvSpPr>
          <p:cNvPr id="2" name="Title 1"/>
          <p:cNvSpPr>
            <a:spLocks noGrp="1"/>
          </p:cNvSpPr>
          <p:nvPr>
            <p:ph type="title"/>
          </p:nvPr>
        </p:nvSpPr>
        <p:spPr>
          <a:xfrm>
            <a:off x="522288" y="439817"/>
            <a:ext cx="7046912" cy="1214358"/>
          </a:xfrm>
        </p:spPr>
        <p:txBody>
          <a:bodyPr anchor="ctr"/>
          <a:lstStyle>
            <a:lvl1pPr>
              <a:defRPr sz="2800" i="0">
                <a:solidFill>
                  <a:schemeClr val="accent1"/>
                </a:solidFill>
              </a:defRPr>
            </a:lvl1pPr>
          </a:lstStyle>
          <a:p>
            <a:r>
              <a:rPr lang="de-DE"/>
              <a:t>Mastertitelformat bearbeiten</a:t>
            </a:r>
            <a:endParaRPr lang="en-US" dirty="0"/>
          </a:p>
        </p:txBody>
      </p:sp>
      <p:sp>
        <p:nvSpPr>
          <p:cNvPr id="3" name="Text Placeholder 2"/>
          <p:cNvSpPr>
            <a:spLocks noGrp="1"/>
          </p:cNvSpPr>
          <p:nvPr>
            <p:ph type="body" idx="1"/>
          </p:nvPr>
        </p:nvSpPr>
        <p:spPr bwMode="gray">
          <a:xfrm>
            <a:off x="522288" y="1804190"/>
            <a:ext cx="7046912" cy="1125140"/>
          </a:xfrm>
          <a:prstGeom prst="rect">
            <a:avLst/>
          </a:prstGeom>
        </p:spPr>
        <p:txBody>
          <a:bodyPr/>
          <a:lstStyle>
            <a:lvl1pPr marL="0" indent="0">
              <a:buNone/>
              <a:defRPr sz="1800" b="1" i="0" cap="all" baseline="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e-DE"/>
              <a:t>Mastertextformat bearbeiten</a:t>
            </a:r>
          </a:p>
        </p:txBody>
      </p:sp>
    </p:spTree>
    <p:extLst>
      <p:ext uri="{BB962C8B-B14F-4D97-AF65-F5344CB8AC3E}">
        <p14:creationId xmlns:p14="http://schemas.microsoft.com/office/powerpoint/2010/main" val="909197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Abschnittstitel mit Bild">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AF05FC0D-521C-4465-BA69-71C5540EECD5}"/>
              </a:ext>
            </a:extLst>
          </p:cNvPr>
          <p:cNvSpPr>
            <a:spLocks noGrp="1"/>
          </p:cNvSpPr>
          <p:nvPr>
            <p:ph type="pic" sz="quarter" idx="10"/>
          </p:nvPr>
        </p:nvSpPr>
        <p:spPr>
          <a:xfrm>
            <a:off x="0" y="0"/>
            <a:ext cx="9144000" cy="5143500"/>
          </a:xfrm>
        </p:spPr>
        <p:txBody>
          <a:bodyPr/>
          <a:lstStyle/>
          <a:p>
            <a:r>
              <a:rPr lang="de-DE"/>
              <a:t>Bild durch Klicken auf Symbol hinzufügen</a:t>
            </a:r>
            <a:endParaRPr lang="de-AT"/>
          </a:p>
        </p:txBody>
      </p:sp>
      <p:sp>
        <p:nvSpPr>
          <p:cNvPr id="2" name="Title 1"/>
          <p:cNvSpPr>
            <a:spLocks noGrp="1"/>
          </p:cNvSpPr>
          <p:nvPr>
            <p:ph type="title"/>
          </p:nvPr>
        </p:nvSpPr>
        <p:spPr bwMode="gray">
          <a:xfrm>
            <a:off x="522288" y="439817"/>
            <a:ext cx="7046912" cy="1214358"/>
          </a:xfrm>
        </p:spPr>
        <p:txBody>
          <a:bodyPr anchor="ctr"/>
          <a:lstStyle>
            <a:lvl1pPr>
              <a:defRPr sz="2800" i="0">
                <a:solidFill>
                  <a:srgbClr val="FFFFFF"/>
                </a:solidFill>
                <a:highlight>
                  <a:srgbClr val="009756"/>
                </a:highlight>
              </a:defRPr>
            </a:lvl1pPr>
          </a:lstStyle>
          <a:p>
            <a:r>
              <a:rPr lang="de-DE"/>
              <a:t>Mastertitelformat bearbeiten</a:t>
            </a:r>
            <a:endParaRPr lang="en-US" dirty="0"/>
          </a:p>
        </p:txBody>
      </p:sp>
      <p:sp>
        <p:nvSpPr>
          <p:cNvPr id="3" name="Text Placeholder 2"/>
          <p:cNvSpPr>
            <a:spLocks noGrp="1"/>
          </p:cNvSpPr>
          <p:nvPr>
            <p:ph type="body" idx="1"/>
          </p:nvPr>
        </p:nvSpPr>
        <p:spPr bwMode="gray">
          <a:xfrm>
            <a:off x="522288" y="1804190"/>
            <a:ext cx="7046912" cy="1125140"/>
          </a:xfrm>
          <a:prstGeom prst="rect">
            <a:avLst/>
          </a:prstGeom>
        </p:spPr>
        <p:txBody>
          <a:bodyPr/>
          <a:lstStyle>
            <a:lvl1pPr marL="0" indent="0">
              <a:buNone/>
              <a:defRPr sz="1800" b="1" i="0" cap="all" baseline="0">
                <a:solidFill>
                  <a:schemeClr val="bg1"/>
                </a:solidFill>
                <a:highlight>
                  <a:srgbClr val="009756"/>
                </a:highlight>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e-DE"/>
              <a:t>Mastertextformat bearbeiten</a:t>
            </a:r>
          </a:p>
        </p:txBody>
      </p:sp>
    </p:spTree>
    <p:extLst>
      <p:ext uri="{BB962C8B-B14F-4D97-AF65-F5344CB8AC3E}">
        <p14:creationId xmlns:p14="http://schemas.microsoft.com/office/powerpoint/2010/main" val="9657860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Inhalt groß">
    <p:spTree>
      <p:nvGrpSpPr>
        <p:cNvPr id="1" name=""/>
        <p:cNvGrpSpPr/>
        <p:nvPr/>
      </p:nvGrpSpPr>
      <p:grpSpPr>
        <a:xfrm>
          <a:off x="0" y="0"/>
          <a:ext cx="0" cy="0"/>
          <a:chOff x="0" y="0"/>
          <a:chExt cx="0" cy="0"/>
        </a:xfrm>
      </p:grpSpPr>
      <p:sp>
        <p:nvSpPr>
          <p:cNvPr id="3" name="Content Placeholder 2"/>
          <p:cNvSpPr>
            <a:spLocks noGrp="1"/>
          </p:cNvSpPr>
          <p:nvPr>
            <p:ph idx="1"/>
          </p:nvPr>
        </p:nvSpPr>
        <p:spPr>
          <a:xfrm>
            <a:off x="522288" y="1023938"/>
            <a:ext cx="8101012" cy="3297237"/>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itel 3">
            <a:extLst>
              <a:ext uri="{FF2B5EF4-FFF2-40B4-BE49-F238E27FC236}">
                <a16:creationId xmlns:a16="http://schemas.microsoft.com/office/drawing/2014/main" id="{C2BB3DE5-836E-4588-8CAE-4BB41E41E554}"/>
              </a:ext>
            </a:extLst>
          </p:cNvPr>
          <p:cNvSpPr>
            <a:spLocks noGrp="1"/>
          </p:cNvSpPr>
          <p:nvPr>
            <p:ph type="title" hasCustomPrompt="1"/>
          </p:nvPr>
        </p:nvSpPr>
        <p:spPr/>
        <p:txBody>
          <a:bodyPr/>
          <a:lstStyle>
            <a:lvl1pPr>
              <a:defRPr/>
            </a:lvl1pPr>
          </a:lstStyle>
          <a:p>
            <a:r>
              <a:rPr lang="de-DE" dirty="0"/>
              <a:t>Titel hier einfügen (nur 1-zeilig)</a:t>
            </a:r>
            <a:endParaRPr lang="de-AT" dirty="0"/>
          </a:p>
        </p:txBody>
      </p:sp>
      <p:sp>
        <p:nvSpPr>
          <p:cNvPr id="5" name="Textplatzhalter 4">
            <a:extLst>
              <a:ext uri="{FF2B5EF4-FFF2-40B4-BE49-F238E27FC236}">
                <a16:creationId xmlns:a16="http://schemas.microsoft.com/office/drawing/2014/main" id="{9F098032-636B-400D-8090-1164B39F56FF}"/>
              </a:ext>
            </a:extLst>
          </p:cNvPr>
          <p:cNvSpPr>
            <a:spLocks noGrp="1"/>
          </p:cNvSpPr>
          <p:nvPr>
            <p:ph type="body" sz="quarter" idx="10" hasCustomPrompt="1"/>
            <p:custDataLst>
              <p:tags r:id="rId1"/>
            </p:custDataLst>
          </p:nvPr>
        </p:nvSpPr>
        <p:spPr>
          <a:xfrm>
            <a:off x="520700" y="4321175"/>
            <a:ext cx="7048500" cy="225425"/>
          </a:xfrm>
        </p:spPr>
        <p:txBody>
          <a:bodyPr anchor="b"/>
          <a:lstStyle>
            <a:lvl1pPr marL="88900" indent="-88900">
              <a:spcBef>
                <a:spcPts val="0"/>
              </a:spcBef>
              <a:buNone/>
              <a:tabLst>
                <a:tab pos="88900" algn="l"/>
              </a:tabLst>
              <a:defRPr sz="550">
                <a:solidFill>
                  <a:schemeClr val="tx1"/>
                </a:solidFill>
              </a:defRPr>
            </a:lvl1pPr>
            <a:lvl2pPr marL="176213" indent="0">
              <a:buNone/>
              <a:defRPr sz="550">
                <a:solidFill>
                  <a:schemeClr val="tx1"/>
                </a:solidFill>
              </a:defRPr>
            </a:lvl2pPr>
            <a:lvl3pPr marL="360362" indent="0">
              <a:buNone/>
              <a:defRPr sz="550">
                <a:solidFill>
                  <a:schemeClr val="tx1"/>
                </a:solidFill>
              </a:defRPr>
            </a:lvl3pPr>
            <a:lvl4pPr marL="536575" indent="0">
              <a:buNone/>
              <a:defRPr sz="550">
                <a:solidFill>
                  <a:schemeClr val="tx1"/>
                </a:solidFill>
              </a:defRPr>
            </a:lvl4pPr>
            <a:lvl5pPr marL="719137" indent="0">
              <a:buNone/>
              <a:defRPr sz="550">
                <a:solidFill>
                  <a:schemeClr val="tx1"/>
                </a:solidFill>
              </a:defRPr>
            </a:lvl5pPr>
          </a:lstStyle>
          <a:p>
            <a:pPr lvl="0"/>
            <a:r>
              <a:rPr lang="de-AT" dirty="0"/>
              <a:t>Platz für Quellenangaben, Fußnoten etc.</a:t>
            </a:r>
          </a:p>
        </p:txBody>
      </p:sp>
    </p:spTree>
    <p:extLst>
      <p:ext uri="{BB962C8B-B14F-4D97-AF65-F5344CB8AC3E}">
        <p14:creationId xmlns:p14="http://schemas.microsoft.com/office/powerpoint/2010/main" val="6684406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2-zeilig und Inhalt groß">
    <p:spTree>
      <p:nvGrpSpPr>
        <p:cNvPr id="1" name=""/>
        <p:cNvGrpSpPr/>
        <p:nvPr/>
      </p:nvGrpSpPr>
      <p:grpSpPr>
        <a:xfrm>
          <a:off x="0" y="0"/>
          <a:ext cx="0" cy="0"/>
          <a:chOff x="0" y="0"/>
          <a:chExt cx="0" cy="0"/>
        </a:xfrm>
      </p:grpSpPr>
      <p:sp>
        <p:nvSpPr>
          <p:cNvPr id="3" name="Content Placeholder 2"/>
          <p:cNvSpPr>
            <a:spLocks noGrp="1"/>
          </p:cNvSpPr>
          <p:nvPr>
            <p:ph idx="1"/>
          </p:nvPr>
        </p:nvSpPr>
        <p:spPr>
          <a:xfrm>
            <a:off x="522288" y="1335088"/>
            <a:ext cx="8101012" cy="2982912"/>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itel 3">
            <a:extLst>
              <a:ext uri="{FF2B5EF4-FFF2-40B4-BE49-F238E27FC236}">
                <a16:creationId xmlns:a16="http://schemas.microsoft.com/office/drawing/2014/main" id="{C2BB3DE5-836E-4588-8CAE-4BB41E41E554}"/>
              </a:ext>
            </a:extLst>
          </p:cNvPr>
          <p:cNvSpPr>
            <a:spLocks noGrp="1"/>
          </p:cNvSpPr>
          <p:nvPr>
            <p:ph type="title" hasCustomPrompt="1"/>
          </p:nvPr>
        </p:nvSpPr>
        <p:spPr>
          <a:xfrm>
            <a:off x="520699" y="432000"/>
            <a:ext cx="7046305" cy="591937"/>
          </a:xfrm>
        </p:spPr>
        <p:txBody>
          <a:bodyPr/>
          <a:lstStyle>
            <a:lvl1pPr>
              <a:defRPr/>
            </a:lvl1pPr>
          </a:lstStyle>
          <a:p>
            <a:r>
              <a:rPr lang="de-DE" dirty="0"/>
              <a:t>Titel hier einfügen </a:t>
            </a:r>
            <a:br>
              <a:rPr lang="de-DE" dirty="0"/>
            </a:br>
            <a:r>
              <a:rPr lang="de-DE" dirty="0"/>
              <a:t>(2-zeilig)</a:t>
            </a:r>
            <a:endParaRPr lang="de-AT" dirty="0"/>
          </a:p>
        </p:txBody>
      </p:sp>
      <p:sp>
        <p:nvSpPr>
          <p:cNvPr id="5" name="Textplatzhalter 4">
            <a:extLst>
              <a:ext uri="{FF2B5EF4-FFF2-40B4-BE49-F238E27FC236}">
                <a16:creationId xmlns:a16="http://schemas.microsoft.com/office/drawing/2014/main" id="{832D3B6B-6CEF-4854-94D6-78FD095055B8}"/>
              </a:ext>
            </a:extLst>
          </p:cNvPr>
          <p:cNvSpPr>
            <a:spLocks noGrp="1"/>
          </p:cNvSpPr>
          <p:nvPr>
            <p:ph type="body" sz="quarter" idx="10" hasCustomPrompt="1"/>
            <p:custDataLst>
              <p:tags r:id="rId1"/>
            </p:custDataLst>
          </p:nvPr>
        </p:nvSpPr>
        <p:spPr>
          <a:xfrm>
            <a:off x="520700" y="4321175"/>
            <a:ext cx="7048500" cy="225425"/>
          </a:xfrm>
        </p:spPr>
        <p:txBody>
          <a:bodyPr anchor="b"/>
          <a:lstStyle>
            <a:lvl1pPr marL="88900" indent="-88900">
              <a:spcBef>
                <a:spcPts val="0"/>
              </a:spcBef>
              <a:buNone/>
              <a:tabLst>
                <a:tab pos="88900" algn="l"/>
              </a:tabLst>
              <a:defRPr sz="550">
                <a:solidFill>
                  <a:schemeClr val="tx1"/>
                </a:solidFill>
              </a:defRPr>
            </a:lvl1pPr>
            <a:lvl2pPr marL="176213" indent="0">
              <a:buNone/>
              <a:defRPr sz="550">
                <a:solidFill>
                  <a:schemeClr val="tx1"/>
                </a:solidFill>
              </a:defRPr>
            </a:lvl2pPr>
            <a:lvl3pPr marL="360362" indent="0">
              <a:buNone/>
              <a:defRPr sz="550">
                <a:solidFill>
                  <a:schemeClr val="tx1"/>
                </a:solidFill>
              </a:defRPr>
            </a:lvl3pPr>
            <a:lvl4pPr marL="536575" indent="0">
              <a:buNone/>
              <a:defRPr sz="550">
                <a:solidFill>
                  <a:schemeClr val="tx1"/>
                </a:solidFill>
              </a:defRPr>
            </a:lvl4pPr>
            <a:lvl5pPr marL="719137" indent="0">
              <a:buNone/>
              <a:defRPr sz="550">
                <a:solidFill>
                  <a:schemeClr val="tx1"/>
                </a:solidFill>
              </a:defRPr>
            </a:lvl5pPr>
          </a:lstStyle>
          <a:p>
            <a:pPr lvl="0"/>
            <a:r>
              <a:rPr lang="de-AT" dirty="0"/>
              <a:t>Platz für Quellenangaben, Fußnoten etc.</a:t>
            </a:r>
          </a:p>
        </p:txBody>
      </p:sp>
    </p:spTree>
    <p:extLst>
      <p:ext uri="{BB962C8B-B14F-4D97-AF65-F5344CB8AC3E}">
        <p14:creationId xmlns:p14="http://schemas.microsoft.com/office/powerpoint/2010/main" val="41704051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jp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Textplatzhalter 10">
            <a:extLst>
              <a:ext uri="{FF2B5EF4-FFF2-40B4-BE49-F238E27FC236}">
                <a16:creationId xmlns:a16="http://schemas.microsoft.com/office/drawing/2014/main" id="{B0706B76-346C-4D61-807E-F2AE5F209E96}"/>
              </a:ext>
            </a:extLst>
          </p:cNvPr>
          <p:cNvSpPr>
            <a:spLocks noGrp="1"/>
          </p:cNvSpPr>
          <p:nvPr>
            <p:ph type="body" idx="1"/>
          </p:nvPr>
        </p:nvSpPr>
        <p:spPr>
          <a:xfrm>
            <a:off x="520699" y="1023938"/>
            <a:ext cx="7046305" cy="3297238"/>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de-AT" dirty="0"/>
          </a:p>
        </p:txBody>
      </p:sp>
      <p:sp>
        <p:nvSpPr>
          <p:cNvPr id="2" name="Title Placeholder 1"/>
          <p:cNvSpPr>
            <a:spLocks noGrp="1"/>
          </p:cNvSpPr>
          <p:nvPr>
            <p:ph type="title"/>
          </p:nvPr>
        </p:nvSpPr>
        <p:spPr bwMode="gray">
          <a:xfrm>
            <a:off x="520699" y="432001"/>
            <a:ext cx="7046305" cy="386822"/>
          </a:xfrm>
          <a:prstGeom prst="rect">
            <a:avLst/>
          </a:prstGeom>
        </p:spPr>
        <p:txBody>
          <a:bodyPr vert="horz" lIns="0" tIns="0" rIns="0" bIns="0" rtlCol="0" anchor="t">
            <a:noAutofit/>
          </a:bodyPr>
          <a:lstStyle/>
          <a:p>
            <a:r>
              <a:rPr lang="de-DE" dirty="0"/>
              <a:t>Mastertitelformat bearbeiten</a:t>
            </a:r>
            <a:endParaRPr lang="en-US" dirty="0"/>
          </a:p>
        </p:txBody>
      </p:sp>
      <p:pic>
        <p:nvPicPr>
          <p:cNvPr id="4" name="Grafik 3" descr="Ein Bild, das Text enthält.&#10;&#10;Automatisch generierte Beschreibung">
            <a:extLst>
              <a:ext uri="{FF2B5EF4-FFF2-40B4-BE49-F238E27FC236}">
                <a16:creationId xmlns:a16="http://schemas.microsoft.com/office/drawing/2014/main" id="{E7308613-29E1-4F07-9752-8FAECF1EB038}"/>
              </a:ext>
            </a:extLst>
          </p:cNvPr>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a:xfrm>
            <a:off x="7427036" y="4547858"/>
            <a:ext cx="1222455" cy="417374"/>
          </a:xfrm>
          <a:prstGeom prst="rect">
            <a:avLst/>
          </a:prstGeom>
        </p:spPr>
      </p:pic>
    </p:spTree>
    <p:extLst>
      <p:ext uri="{BB962C8B-B14F-4D97-AF65-F5344CB8AC3E}">
        <p14:creationId xmlns:p14="http://schemas.microsoft.com/office/powerpoint/2010/main" val="593424775"/>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52" r:id="rId3"/>
    <p:sldLayoutId id="2147483734" r:id="rId4"/>
    <p:sldLayoutId id="2147483735" r:id="rId5"/>
    <p:sldLayoutId id="2147483751" r:id="rId6"/>
    <p:sldLayoutId id="2147483736" r:id="rId7"/>
    <p:sldLayoutId id="2147483738" r:id="rId8"/>
    <p:sldLayoutId id="2147483754" r:id="rId9"/>
    <p:sldLayoutId id="2147483737" r:id="rId10"/>
    <p:sldLayoutId id="2147483753" r:id="rId11"/>
    <p:sldLayoutId id="2147483760" r:id="rId12"/>
    <p:sldLayoutId id="2147483761" r:id="rId13"/>
    <p:sldLayoutId id="2147483741" r:id="rId14"/>
    <p:sldLayoutId id="2147483757" r:id="rId15"/>
    <p:sldLayoutId id="2147483743" r:id="rId16"/>
    <p:sldLayoutId id="2147483758" r:id="rId17"/>
    <p:sldLayoutId id="2147483739" r:id="rId18"/>
    <p:sldLayoutId id="2147483755" r:id="rId19"/>
    <p:sldLayoutId id="2147483740" r:id="rId20"/>
    <p:sldLayoutId id="2147483756" r:id="rId21"/>
    <p:sldLayoutId id="2147483746" r:id="rId22"/>
    <p:sldLayoutId id="2147483750" r:id="rId23"/>
  </p:sldLayoutIdLst>
  <p:txStyles>
    <p:titleStyle>
      <a:lvl1pPr algn="l" defTabSz="685800" rtl="0" eaLnBrk="1" latinLnBrk="0" hangingPunct="1">
        <a:lnSpc>
          <a:spcPct val="80000"/>
        </a:lnSpc>
        <a:spcBef>
          <a:spcPct val="0"/>
        </a:spcBef>
        <a:buNone/>
        <a:defRPr sz="2400" b="1" kern="1200" cap="all" baseline="0">
          <a:solidFill>
            <a:schemeClr val="accent1"/>
          </a:solidFill>
          <a:latin typeface="+mj-lt"/>
          <a:ea typeface="+mj-ea"/>
          <a:cs typeface="+mj-cs"/>
        </a:defRPr>
      </a:lvl1pPr>
    </p:titleStyle>
    <p:bodyStyle>
      <a:lvl1pPr marL="176213" indent="-176213" algn="l" defTabSz="685800" rtl="0" eaLnBrk="1" latinLnBrk="0" hangingPunct="1">
        <a:lnSpc>
          <a:spcPct val="95000"/>
        </a:lnSpc>
        <a:spcBef>
          <a:spcPts val="1200"/>
        </a:spcBef>
        <a:spcAft>
          <a:spcPts val="0"/>
        </a:spcAft>
        <a:buFont typeface="Symbol" panose="05050102010706020507" pitchFamily="18" charset="2"/>
        <a:buChar char="-"/>
        <a:defRPr sz="1600" kern="1200">
          <a:solidFill>
            <a:schemeClr val="tx1"/>
          </a:solidFill>
          <a:latin typeface="+mn-lt"/>
          <a:ea typeface="+mn-ea"/>
          <a:cs typeface="+mn-cs"/>
        </a:defRPr>
      </a:lvl1pPr>
      <a:lvl2pPr marL="360363" indent="-184150" algn="l" defTabSz="685800" rtl="0" eaLnBrk="1" latinLnBrk="0" hangingPunct="1">
        <a:lnSpc>
          <a:spcPct val="95000"/>
        </a:lnSpc>
        <a:spcBef>
          <a:spcPts val="600"/>
        </a:spcBef>
        <a:buFont typeface="Symbol" panose="05050102010706020507" pitchFamily="18" charset="2"/>
        <a:buChar char="-"/>
        <a:defRPr sz="1600" kern="1200">
          <a:solidFill>
            <a:schemeClr val="tx1"/>
          </a:solidFill>
          <a:latin typeface="+mn-lt"/>
          <a:ea typeface="+mn-ea"/>
          <a:cs typeface="+mn-cs"/>
        </a:defRPr>
      </a:lvl2pPr>
      <a:lvl3pPr marL="536575" indent="-176213" algn="l" defTabSz="685800" rtl="0" eaLnBrk="1" latinLnBrk="0" hangingPunct="1">
        <a:lnSpc>
          <a:spcPct val="95000"/>
        </a:lnSpc>
        <a:spcBef>
          <a:spcPts val="600"/>
        </a:spcBef>
        <a:buFont typeface="Symbol" panose="05050102010706020507" pitchFamily="18" charset="2"/>
        <a:buChar char="-"/>
        <a:defRPr sz="1600" kern="1200">
          <a:solidFill>
            <a:schemeClr val="tx1"/>
          </a:solidFill>
          <a:latin typeface="+mn-lt"/>
          <a:ea typeface="+mn-ea"/>
          <a:cs typeface="+mn-cs"/>
        </a:defRPr>
      </a:lvl3pPr>
      <a:lvl4pPr marL="719138" indent="-182563" algn="l" defTabSz="685800" rtl="0" eaLnBrk="1" latinLnBrk="0" hangingPunct="1">
        <a:lnSpc>
          <a:spcPct val="95000"/>
        </a:lnSpc>
        <a:spcBef>
          <a:spcPts val="600"/>
        </a:spcBef>
        <a:buFont typeface="Symbol" panose="05050102010706020507" pitchFamily="18" charset="2"/>
        <a:buChar char="-"/>
        <a:defRPr sz="1600" kern="1200">
          <a:solidFill>
            <a:schemeClr val="tx1"/>
          </a:solidFill>
          <a:latin typeface="+mn-lt"/>
          <a:ea typeface="+mn-ea"/>
          <a:cs typeface="+mn-cs"/>
        </a:defRPr>
      </a:lvl4pPr>
      <a:lvl5pPr marL="895350" indent="-176213" algn="l" defTabSz="685800" rtl="0" eaLnBrk="1" latinLnBrk="0" hangingPunct="1">
        <a:lnSpc>
          <a:spcPct val="95000"/>
        </a:lnSpc>
        <a:spcBef>
          <a:spcPts val="600"/>
        </a:spcBef>
        <a:buFont typeface="Symbol" panose="05050102010706020507" pitchFamily="18" charset="2"/>
        <a:buChar char="-"/>
        <a:defRPr sz="16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2" pos="2880" userDrawn="1">
          <p15:clr>
            <a:srgbClr val="F26B43"/>
          </p15:clr>
        </p15:guide>
        <p15:guide id="13" orient="horz" pos="1620" userDrawn="1">
          <p15:clr>
            <a:srgbClr val="F26B43"/>
          </p15:clr>
        </p15:guide>
        <p15:guide id="14" pos="5432" userDrawn="1">
          <p15:clr>
            <a:srgbClr val="F26B43"/>
          </p15:clr>
        </p15:guide>
        <p15:guide id="15" pos="329" userDrawn="1">
          <p15:clr>
            <a:srgbClr val="F26B43"/>
          </p15:clr>
        </p15:guide>
        <p15:guide id="16" orient="horz" pos="269" userDrawn="1">
          <p15:clr>
            <a:srgbClr val="F26B43"/>
          </p15:clr>
        </p15:guide>
        <p15:guide id="17" orient="horz" pos="645" userDrawn="1">
          <p15:clr>
            <a:srgbClr val="F26B43"/>
          </p15:clr>
        </p15:guide>
        <p15:guide id="18" orient="horz" pos="841" userDrawn="1">
          <p15:clr>
            <a:srgbClr val="F26B43"/>
          </p15:clr>
        </p15:guide>
        <p15:guide id="20" pos="4768" userDrawn="1">
          <p15:clr>
            <a:srgbClr val="F26B43"/>
          </p15:clr>
        </p15:guide>
        <p15:guide id="21" orient="horz" pos="3072" userDrawn="1">
          <p15:clr>
            <a:srgbClr val="F26B43"/>
          </p15:clr>
        </p15:guide>
        <p15:guide id="22" orient="horz" pos="272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5" Type="http://schemas.openxmlformats.org/officeDocument/2006/relationships/image" Target="../media/image11.png"/><Relationship Id="rId4" Type="http://schemas.openxmlformats.org/officeDocument/2006/relationships/image" Target="../media/image10.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3" Type="http://schemas.openxmlformats.org/officeDocument/2006/relationships/tags" Target="../tags/tag29.xml"/><Relationship Id="rId18" Type="http://schemas.openxmlformats.org/officeDocument/2006/relationships/tags" Target="../tags/tag34.xml"/><Relationship Id="rId26" Type="http://schemas.openxmlformats.org/officeDocument/2006/relationships/tags" Target="../tags/tag42.xml"/><Relationship Id="rId39" Type="http://schemas.openxmlformats.org/officeDocument/2006/relationships/tags" Target="../tags/tag55.xml"/><Relationship Id="rId21" Type="http://schemas.openxmlformats.org/officeDocument/2006/relationships/tags" Target="../tags/tag37.xml"/><Relationship Id="rId34" Type="http://schemas.openxmlformats.org/officeDocument/2006/relationships/tags" Target="../tags/tag50.xml"/><Relationship Id="rId42" Type="http://schemas.openxmlformats.org/officeDocument/2006/relationships/tags" Target="../tags/tag58.xml"/><Relationship Id="rId47" Type="http://schemas.openxmlformats.org/officeDocument/2006/relationships/tags" Target="../tags/tag63.xml"/><Relationship Id="rId50" Type="http://schemas.openxmlformats.org/officeDocument/2006/relationships/notesSlide" Target="../notesSlides/notesSlide2.xml"/><Relationship Id="rId7" Type="http://schemas.openxmlformats.org/officeDocument/2006/relationships/tags" Target="../tags/tag23.xml"/><Relationship Id="rId2" Type="http://schemas.openxmlformats.org/officeDocument/2006/relationships/tags" Target="../tags/tag18.xml"/><Relationship Id="rId16" Type="http://schemas.openxmlformats.org/officeDocument/2006/relationships/tags" Target="../tags/tag32.xml"/><Relationship Id="rId29" Type="http://schemas.openxmlformats.org/officeDocument/2006/relationships/tags" Target="../tags/tag45.xml"/><Relationship Id="rId11" Type="http://schemas.openxmlformats.org/officeDocument/2006/relationships/tags" Target="../tags/tag27.xml"/><Relationship Id="rId24" Type="http://schemas.openxmlformats.org/officeDocument/2006/relationships/tags" Target="../tags/tag40.xml"/><Relationship Id="rId32" Type="http://schemas.openxmlformats.org/officeDocument/2006/relationships/tags" Target="../tags/tag48.xml"/><Relationship Id="rId37" Type="http://schemas.openxmlformats.org/officeDocument/2006/relationships/tags" Target="../tags/tag53.xml"/><Relationship Id="rId40" Type="http://schemas.openxmlformats.org/officeDocument/2006/relationships/tags" Target="../tags/tag56.xml"/><Relationship Id="rId45" Type="http://schemas.openxmlformats.org/officeDocument/2006/relationships/tags" Target="../tags/tag61.xml"/><Relationship Id="rId5" Type="http://schemas.openxmlformats.org/officeDocument/2006/relationships/tags" Target="../tags/tag21.xml"/><Relationship Id="rId15" Type="http://schemas.openxmlformats.org/officeDocument/2006/relationships/tags" Target="../tags/tag31.xml"/><Relationship Id="rId23" Type="http://schemas.openxmlformats.org/officeDocument/2006/relationships/tags" Target="../tags/tag39.xml"/><Relationship Id="rId28" Type="http://schemas.openxmlformats.org/officeDocument/2006/relationships/tags" Target="../tags/tag44.xml"/><Relationship Id="rId36" Type="http://schemas.openxmlformats.org/officeDocument/2006/relationships/tags" Target="../tags/tag52.xml"/><Relationship Id="rId49" Type="http://schemas.openxmlformats.org/officeDocument/2006/relationships/slideLayout" Target="../slideLayouts/slideLayout14.xml"/><Relationship Id="rId10" Type="http://schemas.openxmlformats.org/officeDocument/2006/relationships/tags" Target="../tags/tag26.xml"/><Relationship Id="rId19" Type="http://schemas.openxmlformats.org/officeDocument/2006/relationships/tags" Target="../tags/tag35.xml"/><Relationship Id="rId31" Type="http://schemas.openxmlformats.org/officeDocument/2006/relationships/tags" Target="../tags/tag47.xml"/><Relationship Id="rId44" Type="http://schemas.openxmlformats.org/officeDocument/2006/relationships/tags" Target="../tags/tag60.xml"/><Relationship Id="rId52" Type="http://schemas.openxmlformats.org/officeDocument/2006/relationships/image" Target="../media/image4.wmf"/><Relationship Id="rId4" Type="http://schemas.openxmlformats.org/officeDocument/2006/relationships/tags" Target="../tags/tag20.xml"/><Relationship Id="rId9" Type="http://schemas.openxmlformats.org/officeDocument/2006/relationships/tags" Target="../tags/tag25.xml"/><Relationship Id="rId14" Type="http://schemas.openxmlformats.org/officeDocument/2006/relationships/tags" Target="../tags/tag30.xml"/><Relationship Id="rId22" Type="http://schemas.openxmlformats.org/officeDocument/2006/relationships/tags" Target="../tags/tag38.xml"/><Relationship Id="rId27" Type="http://schemas.openxmlformats.org/officeDocument/2006/relationships/tags" Target="../tags/tag43.xml"/><Relationship Id="rId30" Type="http://schemas.openxmlformats.org/officeDocument/2006/relationships/tags" Target="../tags/tag46.xml"/><Relationship Id="rId35" Type="http://schemas.openxmlformats.org/officeDocument/2006/relationships/tags" Target="../tags/tag51.xml"/><Relationship Id="rId43" Type="http://schemas.openxmlformats.org/officeDocument/2006/relationships/tags" Target="../tags/tag59.xml"/><Relationship Id="rId48" Type="http://schemas.openxmlformats.org/officeDocument/2006/relationships/tags" Target="../tags/tag64.xml"/><Relationship Id="rId8" Type="http://schemas.openxmlformats.org/officeDocument/2006/relationships/tags" Target="../tags/tag24.xml"/><Relationship Id="rId51" Type="http://schemas.openxmlformats.org/officeDocument/2006/relationships/package" Target="../embeddings/Microsoft_Excel_Worksheet.xlsx"/><Relationship Id="rId3" Type="http://schemas.openxmlformats.org/officeDocument/2006/relationships/tags" Target="../tags/tag19.xml"/><Relationship Id="rId12" Type="http://schemas.openxmlformats.org/officeDocument/2006/relationships/tags" Target="../tags/tag28.xml"/><Relationship Id="rId17" Type="http://schemas.openxmlformats.org/officeDocument/2006/relationships/tags" Target="../tags/tag33.xml"/><Relationship Id="rId25" Type="http://schemas.openxmlformats.org/officeDocument/2006/relationships/tags" Target="../tags/tag41.xml"/><Relationship Id="rId33" Type="http://schemas.openxmlformats.org/officeDocument/2006/relationships/tags" Target="../tags/tag49.xml"/><Relationship Id="rId38" Type="http://schemas.openxmlformats.org/officeDocument/2006/relationships/tags" Target="../tags/tag54.xml"/><Relationship Id="rId46" Type="http://schemas.openxmlformats.org/officeDocument/2006/relationships/tags" Target="../tags/tag62.xml"/><Relationship Id="rId20" Type="http://schemas.openxmlformats.org/officeDocument/2006/relationships/tags" Target="../tags/tag36.xml"/><Relationship Id="rId41" Type="http://schemas.openxmlformats.org/officeDocument/2006/relationships/tags" Target="../tags/tag57.xml"/><Relationship Id="rId1" Type="http://schemas.openxmlformats.org/officeDocument/2006/relationships/tags" Target="../tags/tag17.xml"/><Relationship Id="rId6" Type="http://schemas.openxmlformats.org/officeDocument/2006/relationships/tags" Target="../tags/tag2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3.xml"/><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5" Type="http://schemas.openxmlformats.org/officeDocument/2006/relationships/image" Target="../media/image11.png"/><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3.xml"/><Relationship Id="rId5" Type="http://schemas.openxmlformats.org/officeDocument/2006/relationships/image" Target="../media/image12.png"/><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5" Type="http://schemas.openxmlformats.org/officeDocument/2006/relationships/image" Target="../media/image11.png"/><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8.xml"/><Relationship Id="rId1" Type="http://schemas.openxmlformats.org/officeDocument/2006/relationships/tags" Target="../tags/tag67.xml"/><Relationship Id="rId6" Type="http://schemas.openxmlformats.org/officeDocument/2006/relationships/image" Target="../media/image12.png"/><Relationship Id="rId5" Type="http://schemas.openxmlformats.org/officeDocument/2006/relationships/image" Target="../media/image16.png"/><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a:extLst>
              <a:ext uri="{FF2B5EF4-FFF2-40B4-BE49-F238E27FC236}">
                <a16:creationId xmlns:a16="http://schemas.microsoft.com/office/drawing/2014/main" id="{DA2C9126-E52A-4B24-91CB-ED1AC6204351}"/>
              </a:ext>
            </a:extLst>
          </p:cNvPr>
          <p:cNvSpPr>
            <a:spLocks noGrp="1"/>
          </p:cNvSpPr>
          <p:nvPr>
            <p:ph type="subTitle" idx="1"/>
          </p:nvPr>
        </p:nvSpPr>
        <p:spPr/>
        <p:txBody>
          <a:bodyPr/>
          <a:lstStyle/>
          <a:p>
            <a:r>
              <a:rPr lang="de-AT" dirty="0" err="1"/>
              <a:t>Reshaping</a:t>
            </a:r>
            <a:r>
              <a:rPr lang="de-AT" dirty="0"/>
              <a:t> </a:t>
            </a:r>
            <a:r>
              <a:rPr lang="de-AT" dirty="0" err="1"/>
              <a:t>glass</a:t>
            </a:r>
            <a:r>
              <a:rPr lang="de-AT" dirty="0"/>
              <a:t> Collection &amp; </a:t>
            </a:r>
            <a:br>
              <a:rPr lang="de-AT" dirty="0"/>
            </a:br>
            <a:r>
              <a:rPr lang="de-AT" dirty="0"/>
              <a:t>Recycling </a:t>
            </a:r>
            <a:r>
              <a:rPr lang="de-AT" dirty="0" err="1"/>
              <a:t>by</a:t>
            </a:r>
            <a:r>
              <a:rPr lang="de-AT" dirty="0"/>
              <a:t> </a:t>
            </a:r>
            <a:br>
              <a:rPr lang="de-AT" dirty="0"/>
            </a:br>
            <a:r>
              <a:rPr lang="de-AT" dirty="0" err="1"/>
              <a:t>digitalisation</a:t>
            </a:r>
            <a:r>
              <a:rPr lang="de-AT" dirty="0"/>
              <a:t> in </a:t>
            </a:r>
            <a:r>
              <a:rPr lang="de-AT" dirty="0" err="1"/>
              <a:t>austria</a:t>
            </a:r>
            <a:endParaRPr lang="de-AT" dirty="0"/>
          </a:p>
        </p:txBody>
      </p:sp>
      <p:sp>
        <p:nvSpPr>
          <p:cNvPr id="3" name="Titel 2">
            <a:extLst>
              <a:ext uri="{FF2B5EF4-FFF2-40B4-BE49-F238E27FC236}">
                <a16:creationId xmlns:a16="http://schemas.microsoft.com/office/drawing/2014/main" id="{3A86604A-A6F5-48A4-B3FC-F770859AEBCB}"/>
              </a:ext>
            </a:extLst>
          </p:cNvPr>
          <p:cNvSpPr>
            <a:spLocks noGrp="1"/>
          </p:cNvSpPr>
          <p:nvPr>
            <p:ph type="ctrTitle"/>
          </p:nvPr>
        </p:nvSpPr>
        <p:spPr/>
        <p:txBody>
          <a:bodyPr/>
          <a:lstStyle/>
          <a:p>
            <a:r>
              <a:rPr lang="de-AT" dirty="0" err="1"/>
              <a:t>cLose</a:t>
            </a:r>
            <a:r>
              <a:rPr lang="de-AT" dirty="0"/>
              <a:t> </a:t>
            </a:r>
            <a:r>
              <a:rPr lang="de-AT" dirty="0" err="1"/>
              <a:t>the</a:t>
            </a:r>
            <a:r>
              <a:rPr lang="de-AT" dirty="0"/>
              <a:t> </a:t>
            </a:r>
            <a:r>
              <a:rPr lang="de-AT" dirty="0" err="1"/>
              <a:t>glass</a:t>
            </a:r>
            <a:r>
              <a:rPr lang="de-AT" dirty="0"/>
              <a:t> loop</a:t>
            </a:r>
          </a:p>
        </p:txBody>
      </p:sp>
      <p:sp>
        <p:nvSpPr>
          <p:cNvPr id="4" name="Textplatzhalter 3">
            <a:extLst>
              <a:ext uri="{FF2B5EF4-FFF2-40B4-BE49-F238E27FC236}">
                <a16:creationId xmlns:a16="http://schemas.microsoft.com/office/drawing/2014/main" id="{DABFA7EC-9DEA-4439-AEFD-A5058E6001D6}"/>
              </a:ext>
            </a:extLst>
          </p:cNvPr>
          <p:cNvSpPr>
            <a:spLocks noGrp="1"/>
          </p:cNvSpPr>
          <p:nvPr>
            <p:ph type="body" sz="quarter" idx="11"/>
          </p:nvPr>
        </p:nvSpPr>
        <p:spPr/>
        <p:txBody>
          <a:bodyPr/>
          <a:lstStyle/>
          <a:p>
            <a:r>
              <a:rPr lang="de-AT" dirty="0"/>
              <a:t>Eva Koller	</a:t>
            </a:r>
          </a:p>
        </p:txBody>
      </p:sp>
      <p:sp>
        <p:nvSpPr>
          <p:cNvPr id="5" name="Textplatzhalter 4">
            <a:extLst>
              <a:ext uri="{FF2B5EF4-FFF2-40B4-BE49-F238E27FC236}">
                <a16:creationId xmlns:a16="http://schemas.microsoft.com/office/drawing/2014/main" id="{7F020F0B-53B2-4692-8D3B-4E0813C03B62}"/>
              </a:ext>
            </a:extLst>
          </p:cNvPr>
          <p:cNvSpPr>
            <a:spLocks noGrp="1"/>
          </p:cNvSpPr>
          <p:nvPr>
            <p:ph type="body" sz="quarter" idx="12"/>
          </p:nvPr>
        </p:nvSpPr>
        <p:spPr/>
        <p:txBody>
          <a:bodyPr/>
          <a:lstStyle/>
          <a:p>
            <a:r>
              <a:rPr lang="de-AT" dirty="0"/>
              <a:t>27.11.2025</a:t>
            </a:r>
          </a:p>
        </p:txBody>
      </p:sp>
      <p:pic>
        <p:nvPicPr>
          <p:cNvPr id="8" name="Grafik 7">
            <a:extLst>
              <a:ext uri="{FF2B5EF4-FFF2-40B4-BE49-F238E27FC236}">
                <a16:creationId xmlns:a16="http://schemas.microsoft.com/office/drawing/2014/main" id="{0A0A05C6-46B8-43E8-999C-E6457514C0B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00223" y="510539"/>
            <a:ext cx="3600450" cy="3600450"/>
          </a:xfrm>
          <a:prstGeom prst="rect">
            <a:avLst/>
          </a:prstGeom>
        </p:spPr>
      </p:pic>
    </p:spTree>
    <p:extLst>
      <p:ext uri="{BB962C8B-B14F-4D97-AF65-F5344CB8AC3E}">
        <p14:creationId xmlns:p14="http://schemas.microsoft.com/office/powerpoint/2010/main" val="33057478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200E60-8E18-97FD-BCA7-CDD9A4E79191}"/>
            </a:ext>
          </a:extLst>
        </p:cNvPr>
        <p:cNvGrpSpPr/>
        <p:nvPr/>
      </p:nvGrpSpPr>
      <p:grpSpPr>
        <a:xfrm>
          <a:off x="0" y="0"/>
          <a:ext cx="0" cy="0"/>
          <a:chOff x="0" y="0"/>
          <a:chExt cx="0" cy="0"/>
        </a:xfrm>
      </p:grpSpPr>
      <p:sp>
        <p:nvSpPr>
          <p:cNvPr id="13" name="Line 65">
            <a:extLst>
              <a:ext uri="{FF2B5EF4-FFF2-40B4-BE49-F238E27FC236}">
                <a16:creationId xmlns:a16="http://schemas.microsoft.com/office/drawing/2014/main" id="{5B0506DC-0615-F8BF-A489-F2C89552F424}"/>
              </a:ext>
            </a:extLst>
          </p:cNvPr>
          <p:cNvSpPr>
            <a:spLocks noChangeShapeType="1"/>
          </p:cNvSpPr>
          <p:nvPr/>
        </p:nvSpPr>
        <p:spPr bwMode="auto">
          <a:xfrm>
            <a:off x="4700646" y="2120793"/>
            <a:ext cx="798009" cy="0"/>
          </a:xfrm>
          <a:prstGeom prst="line">
            <a:avLst/>
          </a:prstGeom>
          <a:noFill/>
          <a:ln w="25400">
            <a:solidFill>
              <a:schemeClr val="accent5"/>
            </a:solidFill>
            <a:round/>
            <a:headEnd type="none" w="med" len="med"/>
            <a:tailEnd type="triangle" w="med" len="med"/>
          </a:ln>
        </p:spPr>
        <p:txBody>
          <a:bodyPr wrap="square" lIns="62308" tIns="29908" rIns="62308" bIns="29908">
            <a:noAutofit/>
          </a:bodyPr>
          <a:lstStyle/>
          <a:p>
            <a:endParaRPr lang="en-GB" sz="761" noProof="0" dirty="0">
              <a:ln>
                <a:solidFill>
                  <a:schemeClr val="tx1"/>
                </a:solidFill>
                <a:prstDash val="solid"/>
              </a:ln>
            </a:endParaRPr>
          </a:p>
        </p:txBody>
      </p:sp>
      <p:grpSp>
        <p:nvGrpSpPr>
          <p:cNvPr id="4" name="Gruppieren 3">
            <a:extLst>
              <a:ext uri="{FF2B5EF4-FFF2-40B4-BE49-F238E27FC236}">
                <a16:creationId xmlns:a16="http://schemas.microsoft.com/office/drawing/2014/main" id="{049A846E-700B-62BE-F64B-054793AA7EC2}"/>
              </a:ext>
            </a:extLst>
          </p:cNvPr>
          <p:cNvGrpSpPr/>
          <p:nvPr/>
        </p:nvGrpSpPr>
        <p:grpSpPr>
          <a:xfrm>
            <a:off x="3864134" y="1762274"/>
            <a:ext cx="365043" cy="370374"/>
            <a:chOff x="3989507" y="3812485"/>
            <a:chExt cx="365043" cy="370374"/>
          </a:xfrm>
        </p:grpSpPr>
        <p:sp>
          <p:nvSpPr>
            <p:cNvPr id="164" name="Rechteck 163">
              <a:extLst>
                <a:ext uri="{FF2B5EF4-FFF2-40B4-BE49-F238E27FC236}">
                  <a16:creationId xmlns:a16="http://schemas.microsoft.com/office/drawing/2014/main" id="{1831EF57-C9C8-1653-0206-8A3BC83AC734}"/>
                </a:ext>
              </a:extLst>
            </p:cNvPr>
            <p:cNvSpPr/>
            <p:nvPr/>
          </p:nvSpPr>
          <p:spPr>
            <a:xfrm>
              <a:off x="3994550" y="3858859"/>
              <a:ext cx="360000" cy="324000"/>
            </a:xfrm>
            <a:prstGeom prst="rect">
              <a:avLst/>
            </a:prstGeom>
            <a:solidFill>
              <a:schemeClr val="bg1"/>
            </a:solidFill>
            <a:ln>
              <a:noFill/>
            </a:ln>
          </p:spPr>
          <p:txBody>
            <a:bodyPr lIns="0" tIns="0" rIns="0" bIns="0" rtlCol="0" anchor="ctr">
              <a:noAutofit/>
            </a:bodyPr>
            <a:lstStyle/>
            <a:p>
              <a:pPr marL="207169" indent="-207169" algn="ctr" defTabSz="247650">
                <a:spcBef>
                  <a:spcPts val="225"/>
                </a:spcBef>
                <a:buFont typeface="Symbol" pitchFamily="18" charset="2"/>
                <a:buChar char="-"/>
              </a:pPr>
              <a:endParaRPr lang="en-GB" sz="1350" kern="0" noProof="0" dirty="0">
                <a:solidFill>
                  <a:srgbClr val="41474C"/>
                </a:solidFill>
                <a:latin typeface="Corbel" pitchFamily="34" charset="0"/>
              </a:endParaRPr>
            </a:p>
          </p:txBody>
        </p:sp>
        <p:grpSp>
          <p:nvGrpSpPr>
            <p:cNvPr id="142" name="Grafik 36">
              <a:extLst>
                <a:ext uri="{FF2B5EF4-FFF2-40B4-BE49-F238E27FC236}">
                  <a16:creationId xmlns:a16="http://schemas.microsoft.com/office/drawing/2014/main" id="{2D31E5BC-E51D-7BDF-5875-1C19BC606288}"/>
                </a:ext>
              </a:extLst>
            </p:cNvPr>
            <p:cNvGrpSpPr>
              <a:grpSpLocks noChangeAspect="1"/>
            </p:cNvGrpSpPr>
            <p:nvPr/>
          </p:nvGrpSpPr>
          <p:grpSpPr>
            <a:xfrm>
              <a:off x="3989507" y="3812485"/>
              <a:ext cx="360000" cy="360000"/>
              <a:chOff x="5793045" y="3060246"/>
              <a:chExt cx="540000" cy="540000"/>
            </a:xfrm>
            <a:solidFill>
              <a:schemeClr val="accent1"/>
            </a:solidFill>
          </p:grpSpPr>
          <p:grpSp>
            <p:nvGrpSpPr>
              <p:cNvPr id="159" name="Grafik 36">
                <a:extLst>
                  <a:ext uri="{FF2B5EF4-FFF2-40B4-BE49-F238E27FC236}">
                    <a16:creationId xmlns:a16="http://schemas.microsoft.com/office/drawing/2014/main" id="{F50BCB2A-2240-C404-E5D5-049CE25A664A}"/>
                  </a:ext>
                </a:extLst>
              </p:cNvPr>
              <p:cNvGrpSpPr/>
              <p:nvPr/>
            </p:nvGrpSpPr>
            <p:grpSpPr>
              <a:xfrm>
                <a:off x="5793045" y="3060246"/>
                <a:ext cx="495835" cy="539049"/>
                <a:chOff x="5793045" y="3060246"/>
                <a:chExt cx="495835" cy="539049"/>
              </a:xfrm>
              <a:grpFill/>
            </p:grpSpPr>
            <p:grpSp>
              <p:nvGrpSpPr>
                <p:cNvPr id="161" name="Grafik 36">
                  <a:extLst>
                    <a:ext uri="{FF2B5EF4-FFF2-40B4-BE49-F238E27FC236}">
                      <a16:creationId xmlns:a16="http://schemas.microsoft.com/office/drawing/2014/main" id="{712F7842-4AD0-7E77-C2C6-C63AF894493C}"/>
                    </a:ext>
                  </a:extLst>
                </p:cNvPr>
                <p:cNvGrpSpPr/>
                <p:nvPr/>
              </p:nvGrpSpPr>
              <p:grpSpPr>
                <a:xfrm>
                  <a:off x="5836259" y="3146379"/>
                  <a:ext cx="452621" cy="452915"/>
                  <a:chOff x="5836259" y="3146379"/>
                  <a:chExt cx="452621" cy="452915"/>
                </a:xfrm>
                <a:grpFill/>
              </p:grpSpPr>
              <p:sp>
                <p:nvSpPr>
                  <p:cNvPr id="162" name="Freihandform: Form 161">
                    <a:extLst>
                      <a:ext uri="{FF2B5EF4-FFF2-40B4-BE49-F238E27FC236}">
                        <a16:creationId xmlns:a16="http://schemas.microsoft.com/office/drawing/2014/main" id="{88B69BA3-329F-624E-DAC4-D98E13A0288E}"/>
                      </a:ext>
                    </a:extLst>
                  </p:cNvPr>
                  <p:cNvSpPr/>
                  <p:nvPr/>
                </p:nvSpPr>
                <p:spPr>
                  <a:xfrm>
                    <a:off x="5836259" y="3146379"/>
                    <a:ext cx="452621" cy="452915"/>
                  </a:xfrm>
                  <a:custGeom>
                    <a:avLst/>
                    <a:gdLst>
                      <a:gd name="connsiteX0" fmla="*/ 451152 w 452621"/>
                      <a:gd name="connsiteY0" fmla="*/ 398916 h 452915"/>
                      <a:gd name="connsiteX1" fmla="*/ 444117 w 452621"/>
                      <a:gd name="connsiteY1" fmla="*/ 395303 h 452915"/>
                      <a:gd name="connsiteX2" fmla="*/ 76385 w 452621"/>
                      <a:gd name="connsiteY2" fmla="*/ 395303 h 452915"/>
                      <a:gd name="connsiteX3" fmla="*/ 76385 w 452621"/>
                      <a:gd name="connsiteY3" fmla="*/ 121880 h 452915"/>
                      <a:gd name="connsiteX4" fmla="*/ 129054 w 452621"/>
                      <a:gd name="connsiteY4" fmla="*/ 61225 h 452915"/>
                      <a:gd name="connsiteX5" fmla="*/ 67828 w 452621"/>
                      <a:gd name="connsiteY5" fmla="*/ 0 h 452915"/>
                      <a:gd name="connsiteX6" fmla="*/ 6603 w 452621"/>
                      <a:gd name="connsiteY6" fmla="*/ 61225 h 452915"/>
                      <a:gd name="connsiteX7" fmla="*/ 59272 w 452621"/>
                      <a:gd name="connsiteY7" fmla="*/ 121880 h 452915"/>
                      <a:gd name="connsiteX8" fmla="*/ 59272 w 452621"/>
                      <a:gd name="connsiteY8" fmla="*/ 395303 h 452915"/>
                      <a:gd name="connsiteX9" fmla="*/ 8504 w 452621"/>
                      <a:gd name="connsiteY9" fmla="*/ 395303 h 452915"/>
                      <a:gd name="connsiteX10" fmla="*/ 1469 w 452621"/>
                      <a:gd name="connsiteY10" fmla="*/ 398916 h 452915"/>
                      <a:gd name="connsiteX11" fmla="*/ 518 w 452621"/>
                      <a:gd name="connsiteY11" fmla="*/ 406711 h 452915"/>
                      <a:gd name="connsiteX12" fmla="*/ 15159 w 452621"/>
                      <a:gd name="connsiteY12" fmla="*/ 447211 h 452915"/>
                      <a:gd name="connsiteX13" fmla="*/ 23145 w 452621"/>
                      <a:gd name="connsiteY13" fmla="*/ 452916 h 452915"/>
                      <a:gd name="connsiteX14" fmla="*/ 429476 w 452621"/>
                      <a:gd name="connsiteY14" fmla="*/ 452916 h 452915"/>
                      <a:gd name="connsiteX15" fmla="*/ 437462 w 452621"/>
                      <a:gd name="connsiteY15" fmla="*/ 447211 h 452915"/>
                      <a:gd name="connsiteX16" fmla="*/ 452103 w 452621"/>
                      <a:gd name="connsiteY16" fmla="*/ 406711 h 452915"/>
                      <a:gd name="connsiteX17" fmla="*/ 451152 w 452621"/>
                      <a:gd name="connsiteY17" fmla="*/ 398916 h 452915"/>
                      <a:gd name="connsiteX18" fmla="*/ 67828 w 452621"/>
                      <a:gd name="connsiteY18" fmla="*/ 17113 h 452915"/>
                      <a:gd name="connsiteX19" fmla="*/ 111180 w 452621"/>
                      <a:gd name="connsiteY19" fmla="*/ 52669 h 452915"/>
                      <a:gd name="connsiteX20" fmla="*/ 76385 w 452621"/>
                      <a:gd name="connsiteY20" fmla="*/ 52669 h 452915"/>
                      <a:gd name="connsiteX21" fmla="*/ 76385 w 452621"/>
                      <a:gd name="connsiteY21" fmla="*/ 37648 h 452915"/>
                      <a:gd name="connsiteX22" fmla="*/ 67828 w 452621"/>
                      <a:gd name="connsiteY22" fmla="*/ 29092 h 452915"/>
                      <a:gd name="connsiteX23" fmla="*/ 59272 w 452621"/>
                      <a:gd name="connsiteY23" fmla="*/ 37648 h 452915"/>
                      <a:gd name="connsiteX24" fmla="*/ 59272 w 452621"/>
                      <a:gd name="connsiteY24" fmla="*/ 52669 h 452915"/>
                      <a:gd name="connsiteX25" fmla="*/ 24666 w 452621"/>
                      <a:gd name="connsiteY25" fmla="*/ 52669 h 452915"/>
                      <a:gd name="connsiteX26" fmla="*/ 67828 w 452621"/>
                      <a:gd name="connsiteY26" fmla="*/ 17113 h 452915"/>
                      <a:gd name="connsiteX27" fmla="*/ 24666 w 452621"/>
                      <a:gd name="connsiteY27" fmla="*/ 69782 h 452915"/>
                      <a:gd name="connsiteX28" fmla="*/ 111180 w 452621"/>
                      <a:gd name="connsiteY28" fmla="*/ 69782 h 452915"/>
                      <a:gd name="connsiteX29" fmla="*/ 67828 w 452621"/>
                      <a:gd name="connsiteY29" fmla="*/ 105338 h 452915"/>
                      <a:gd name="connsiteX30" fmla="*/ 24666 w 452621"/>
                      <a:gd name="connsiteY30" fmla="*/ 69782 h 452915"/>
                      <a:gd name="connsiteX31" fmla="*/ 423392 w 452621"/>
                      <a:gd name="connsiteY31" fmla="*/ 435803 h 452915"/>
                      <a:gd name="connsiteX32" fmla="*/ 29039 w 452621"/>
                      <a:gd name="connsiteY32" fmla="*/ 435803 h 452915"/>
                      <a:gd name="connsiteX33" fmla="*/ 20673 w 452621"/>
                      <a:gd name="connsiteY33" fmla="*/ 412416 h 452915"/>
                      <a:gd name="connsiteX34" fmla="*/ 431948 w 452621"/>
                      <a:gd name="connsiteY34" fmla="*/ 412416 h 452915"/>
                      <a:gd name="connsiteX35" fmla="*/ 423392 w 452621"/>
                      <a:gd name="connsiteY35" fmla="*/ 435803 h 452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52621" h="452915">
                        <a:moveTo>
                          <a:pt x="451152" y="398916"/>
                        </a:moveTo>
                        <a:cubicBezTo>
                          <a:pt x="449631" y="396634"/>
                          <a:pt x="446969" y="395303"/>
                          <a:pt x="444117" y="395303"/>
                        </a:cubicBezTo>
                        <a:lnTo>
                          <a:pt x="76385" y="395303"/>
                        </a:lnTo>
                        <a:lnTo>
                          <a:pt x="76385" y="121880"/>
                        </a:lnTo>
                        <a:cubicBezTo>
                          <a:pt x="106046" y="117697"/>
                          <a:pt x="129054" y="92028"/>
                          <a:pt x="129054" y="61225"/>
                        </a:cubicBezTo>
                        <a:cubicBezTo>
                          <a:pt x="129054" y="27380"/>
                          <a:pt x="101483" y="0"/>
                          <a:pt x="67828" y="0"/>
                        </a:cubicBezTo>
                        <a:cubicBezTo>
                          <a:pt x="33983" y="0"/>
                          <a:pt x="6603" y="27570"/>
                          <a:pt x="6603" y="61225"/>
                        </a:cubicBezTo>
                        <a:cubicBezTo>
                          <a:pt x="6603" y="92028"/>
                          <a:pt x="29610" y="117697"/>
                          <a:pt x="59272" y="121880"/>
                        </a:cubicBezTo>
                        <a:lnTo>
                          <a:pt x="59272" y="395303"/>
                        </a:lnTo>
                        <a:lnTo>
                          <a:pt x="8504" y="395303"/>
                        </a:lnTo>
                        <a:cubicBezTo>
                          <a:pt x="5652" y="395303"/>
                          <a:pt x="3180" y="396634"/>
                          <a:pt x="1469" y="398916"/>
                        </a:cubicBezTo>
                        <a:cubicBezTo>
                          <a:pt x="-52" y="401197"/>
                          <a:pt x="-432" y="404049"/>
                          <a:pt x="518" y="406711"/>
                        </a:cubicBezTo>
                        <a:lnTo>
                          <a:pt x="15159" y="447211"/>
                        </a:lnTo>
                        <a:cubicBezTo>
                          <a:pt x="16300" y="450634"/>
                          <a:pt x="19532" y="452916"/>
                          <a:pt x="23145" y="452916"/>
                        </a:cubicBezTo>
                        <a:lnTo>
                          <a:pt x="429476" y="452916"/>
                        </a:lnTo>
                        <a:cubicBezTo>
                          <a:pt x="433089" y="452916"/>
                          <a:pt x="436321" y="450634"/>
                          <a:pt x="437462" y="447211"/>
                        </a:cubicBezTo>
                        <a:lnTo>
                          <a:pt x="452103" y="406711"/>
                        </a:lnTo>
                        <a:cubicBezTo>
                          <a:pt x="453054" y="404049"/>
                          <a:pt x="452673" y="401197"/>
                          <a:pt x="451152" y="398916"/>
                        </a:cubicBezTo>
                        <a:close/>
                        <a:moveTo>
                          <a:pt x="67828" y="17113"/>
                        </a:moveTo>
                        <a:cubicBezTo>
                          <a:pt x="89314" y="17113"/>
                          <a:pt x="107187" y="32514"/>
                          <a:pt x="111180" y="52669"/>
                        </a:cubicBezTo>
                        <a:lnTo>
                          <a:pt x="76385" y="52669"/>
                        </a:lnTo>
                        <a:lnTo>
                          <a:pt x="76385" y="37648"/>
                        </a:lnTo>
                        <a:cubicBezTo>
                          <a:pt x="76385" y="32894"/>
                          <a:pt x="72582" y="29092"/>
                          <a:pt x="67828" y="29092"/>
                        </a:cubicBezTo>
                        <a:cubicBezTo>
                          <a:pt x="63075" y="29092"/>
                          <a:pt x="59272" y="32894"/>
                          <a:pt x="59272" y="37648"/>
                        </a:cubicBezTo>
                        <a:lnTo>
                          <a:pt x="59272" y="52669"/>
                        </a:lnTo>
                        <a:lnTo>
                          <a:pt x="24666" y="52669"/>
                        </a:lnTo>
                        <a:cubicBezTo>
                          <a:pt x="28659" y="32324"/>
                          <a:pt x="46532" y="17113"/>
                          <a:pt x="67828" y="17113"/>
                        </a:cubicBezTo>
                        <a:close/>
                        <a:moveTo>
                          <a:pt x="24666" y="69782"/>
                        </a:moveTo>
                        <a:lnTo>
                          <a:pt x="111180" y="69782"/>
                        </a:lnTo>
                        <a:cubicBezTo>
                          <a:pt x="107187" y="90127"/>
                          <a:pt x="89314" y="105338"/>
                          <a:pt x="67828" y="105338"/>
                        </a:cubicBezTo>
                        <a:cubicBezTo>
                          <a:pt x="46532" y="105338"/>
                          <a:pt x="28659" y="90127"/>
                          <a:pt x="24666" y="69782"/>
                        </a:cubicBezTo>
                        <a:close/>
                        <a:moveTo>
                          <a:pt x="423392" y="435803"/>
                        </a:moveTo>
                        <a:lnTo>
                          <a:pt x="29039" y="435803"/>
                        </a:lnTo>
                        <a:lnTo>
                          <a:pt x="20673" y="412416"/>
                        </a:lnTo>
                        <a:lnTo>
                          <a:pt x="431948" y="412416"/>
                        </a:lnTo>
                        <a:lnTo>
                          <a:pt x="423392" y="435803"/>
                        </a:lnTo>
                        <a:close/>
                      </a:path>
                    </a:pathLst>
                  </a:custGeom>
                  <a:grpFill/>
                  <a:ln w="1878" cap="flat">
                    <a:noFill/>
                    <a:prstDash val="solid"/>
                    <a:miter/>
                  </a:ln>
                </p:spPr>
                <p:txBody>
                  <a:bodyPr rtlCol="0" anchor="ctr"/>
                  <a:lstStyle/>
                  <a:p>
                    <a:endParaRPr lang="en-GB" noProof="0" dirty="0"/>
                  </a:p>
                </p:txBody>
              </p:sp>
              <p:sp>
                <p:nvSpPr>
                  <p:cNvPr id="163" name="Freihandform: Form 162">
                    <a:extLst>
                      <a:ext uri="{FF2B5EF4-FFF2-40B4-BE49-F238E27FC236}">
                        <a16:creationId xmlns:a16="http://schemas.microsoft.com/office/drawing/2014/main" id="{3E1F86D7-BF99-9651-4AFB-48FB66EC4EF8}"/>
                      </a:ext>
                    </a:extLst>
                  </p:cNvPr>
                  <p:cNvSpPr/>
                  <p:nvPr/>
                </p:nvSpPr>
                <p:spPr>
                  <a:xfrm>
                    <a:off x="5934129" y="3316936"/>
                    <a:ext cx="338830" cy="208774"/>
                  </a:xfrm>
                  <a:custGeom>
                    <a:avLst/>
                    <a:gdLst>
                      <a:gd name="connsiteX0" fmla="*/ 0 w 338830"/>
                      <a:gd name="connsiteY0" fmla="*/ 26239 h 208774"/>
                      <a:gd name="connsiteX1" fmla="*/ 190 w 338830"/>
                      <a:gd name="connsiteY1" fmla="*/ 115415 h 208774"/>
                      <a:gd name="connsiteX2" fmla="*/ 190 w 338830"/>
                      <a:gd name="connsiteY2" fmla="*/ 116746 h 208774"/>
                      <a:gd name="connsiteX3" fmla="*/ 31373 w 338830"/>
                      <a:gd name="connsiteY3" fmla="*/ 208775 h 208774"/>
                      <a:gd name="connsiteX4" fmla="*/ 292627 w 338830"/>
                      <a:gd name="connsiteY4" fmla="*/ 208775 h 208774"/>
                      <a:gd name="connsiteX5" fmla="*/ 303085 w 338830"/>
                      <a:gd name="connsiteY5" fmla="*/ 186338 h 208774"/>
                      <a:gd name="connsiteX6" fmla="*/ 337310 w 338830"/>
                      <a:gd name="connsiteY6" fmla="*/ 113704 h 208774"/>
                      <a:gd name="connsiteX7" fmla="*/ 338831 w 338830"/>
                      <a:gd name="connsiteY7" fmla="*/ 110662 h 208774"/>
                      <a:gd name="connsiteX8" fmla="*/ 303275 w 338830"/>
                      <a:gd name="connsiteY8" fmla="*/ 0 h 208774"/>
                      <a:gd name="connsiteX9" fmla="*/ 0 w 338830"/>
                      <a:gd name="connsiteY9" fmla="*/ 0 h 208774"/>
                      <a:gd name="connsiteX10" fmla="*/ 0 w 338830"/>
                      <a:gd name="connsiteY10" fmla="*/ 26239 h 208774"/>
                      <a:gd name="connsiteX11" fmla="*/ 314873 w 338830"/>
                      <a:gd name="connsiteY11" fmla="*/ 121500 h 208774"/>
                      <a:gd name="connsiteX12" fmla="*/ 308789 w 338830"/>
                      <a:gd name="connsiteY12" fmla="*/ 134430 h 208774"/>
                      <a:gd name="connsiteX13" fmla="*/ 24148 w 338830"/>
                      <a:gd name="connsiteY13" fmla="*/ 134430 h 208774"/>
                      <a:gd name="connsiteX14" fmla="*/ 19775 w 338830"/>
                      <a:gd name="connsiteY14" fmla="*/ 121500 h 208774"/>
                      <a:gd name="connsiteX15" fmla="*/ 314873 w 338830"/>
                      <a:gd name="connsiteY15" fmla="*/ 121500 h 208774"/>
                      <a:gd name="connsiteX16" fmla="*/ 287683 w 338830"/>
                      <a:gd name="connsiteY16" fmla="*/ 179303 h 208774"/>
                      <a:gd name="connsiteX17" fmla="*/ 281789 w 338830"/>
                      <a:gd name="connsiteY17" fmla="*/ 191852 h 208774"/>
                      <a:gd name="connsiteX18" fmla="*/ 43732 w 338830"/>
                      <a:gd name="connsiteY18" fmla="*/ 191852 h 208774"/>
                      <a:gd name="connsiteX19" fmla="*/ 30042 w 338830"/>
                      <a:gd name="connsiteY19" fmla="*/ 151542 h 208774"/>
                      <a:gd name="connsiteX20" fmla="*/ 300803 w 338830"/>
                      <a:gd name="connsiteY20" fmla="*/ 151542 h 208774"/>
                      <a:gd name="connsiteX21" fmla="*/ 287683 w 338830"/>
                      <a:gd name="connsiteY21" fmla="*/ 179303 h 208774"/>
                      <a:gd name="connsiteX22" fmla="*/ 290725 w 338830"/>
                      <a:gd name="connsiteY22" fmla="*/ 17113 h 208774"/>
                      <a:gd name="connsiteX23" fmla="*/ 318676 w 338830"/>
                      <a:gd name="connsiteY23" fmla="*/ 104387 h 208774"/>
                      <a:gd name="connsiteX24" fmla="*/ 251937 w 338830"/>
                      <a:gd name="connsiteY24" fmla="*/ 104387 h 208774"/>
                      <a:gd name="connsiteX25" fmla="*/ 251937 w 338830"/>
                      <a:gd name="connsiteY25" fmla="*/ 17113 h 208774"/>
                      <a:gd name="connsiteX26" fmla="*/ 290725 w 338830"/>
                      <a:gd name="connsiteY26" fmla="*/ 17113 h 208774"/>
                      <a:gd name="connsiteX27" fmla="*/ 234824 w 338830"/>
                      <a:gd name="connsiteY27" fmla="*/ 17113 h 208774"/>
                      <a:gd name="connsiteX28" fmla="*/ 234824 w 338830"/>
                      <a:gd name="connsiteY28" fmla="*/ 104387 h 208774"/>
                      <a:gd name="connsiteX29" fmla="*/ 174359 w 338830"/>
                      <a:gd name="connsiteY29" fmla="*/ 104387 h 208774"/>
                      <a:gd name="connsiteX30" fmla="*/ 174359 w 338830"/>
                      <a:gd name="connsiteY30" fmla="*/ 17113 h 208774"/>
                      <a:gd name="connsiteX31" fmla="*/ 234824 w 338830"/>
                      <a:gd name="connsiteY31" fmla="*/ 17113 h 208774"/>
                      <a:gd name="connsiteX32" fmla="*/ 157246 w 338830"/>
                      <a:gd name="connsiteY32" fmla="*/ 17113 h 208774"/>
                      <a:gd name="connsiteX33" fmla="*/ 157246 w 338830"/>
                      <a:gd name="connsiteY33" fmla="*/ 104387 h 208774"/>
                      <a:gd name="connsiteX34" fmla="*/ 97162 w 338830"/>
                      <a:gd name="connsiteY34" fmla="*/ 104387 h 208774"/>
                      <a:gd name="connsiteX35" fmla="*/ 97162 w 338830"/>
                      <a:gd name="connsiteY35" fmla="*/ 17113 h 208774"/>
                      <a:gd name="connsiteX36" fmla="*/ 157246 w 338830"/>
                      <a:gd name="connsiteY36" fmla="*/ 17113 h 208774"/>
                      <a:gd name="connsiteX37" fmla="*/ 79859 w 338830"/>
                      <a:gd name="connsiteY37" fmla="*/ 17113 h 208774"/>
                      <a:gd name="connsiteX38" fmla="*/ 79859 w 338830"/>
                      <a:gd name="connsiteY38" fmla="*/ 104387 h 208774"/>
                      <a:gd name="connsiteX39" fmla="*/ 17303 w 338830"/>
                      <a:gd name="connsiteY39" fmla="*/ 104387 h 208774"/>
                      <a:gd name="connsiteX40" fmla="*/ 17113 w 338830"/>
                      <a:gd name="connsiteY40" fmla="*/ 26239 h 208774"/>
                      <a:gd name="connsiteX41" fmla="*/ 17113 w 338830"/>
                      <a:gd name="connsiteY41" fmla="*/ 17113 h 208774"/>
                      <a:gd name="connsiteX42" fmla="*/ 79859 w 338830"/>
                      <a:gd name="connsiteY42" fmla="*/ 17113 h 208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38830" h="208774">
                        <a:moveTo>
                          <a:pt x="0" y="26239"/>
                        </a:moveTo>
                        <a:cubicBezTo>
                          <a:pt x="0" y="55901"/>
                          <a:pt x="190" y="85754"/>
                          <a:pt x="190" y="115415"/>
                        </a:cubicBezTo>
                        <a:lnTo>
                          <a:pt x="190" y="116746"/>
                        </a:lnTo>
                        <a:lnTo>
                          <a:pt x="31373" y="208775"/>
                        </a:lnTo>
                        <a:lnTo>
                          <a:pt x="292627" y="208775"/>
                        </a:lnTo>
                        <a:lnTo>
                          <a:pt x="303085" y="186338"/>
                        </a:lnTo>
                        <a:cubicBezTo>
                          <a:pt x="314493" y="162190"/>
                          <a:pt x="325901" y="137852"/>
                          <a:pt x="337310" y="113704"/>
                        </a:cubicBezTo>
                        <a:lnTo>
                          <a:pt x="338831" y="110662"/>
                        </a:lnTo>
                        <a:lnTo>
                          <a:pt x="303275" y="0"/>
                        </a:lnTo>
                        <a:lnTo>
                          <a:pt x="0" y="0"/>
                        </a:lnTo>
                        <a:lnTo>
                          <a:pt x="0" y="26239"/>
                        </a:lnTo>
                        <a:close/>
                        <a:moveTo>
                          <a:pt x="314873" y="121500"/>
                        </a:moveTo>
                        <a:cubicBezTo>
                          <a:pt x="312782" y="125873"/>
                          <a:pt x="310880" y="130056"/>
                          <a:pt x="308789" y="134430"/>
                        </a:cubicBezTo>
                        <a:lnTo>
                          <a:pt x="24148" y="134430"/>
                        </a:lnTo>
                        <a:lnTo>
                          <a:pt x="19775" y="121500"/>
                        </a:lnTo>
                        <a:lnTo>
                          <a:pt x="314873" y="121500"/>
                        </a:lnTo>
                        <a:close/>
                        <a:moveTo>
                          <a:pt x="287683" y="179303"/>
                        </a:moveTo>
                        <a:lnTo>
                          <a:pt x="281789" y="191852"/>
                        </a:lnTo>
                        <a:lnTo>
                          <a:pt x="43732" y="191852"/>
                        </a:lnTo>
                        <a:lnTo>
                          <a:pt x="30042" y="151542"/>
                        </a:lnTo>
                        <a:lnTo>
                          <a:pt x="300803" y="151542"/>
                        </a:lnTo>
                        <a:cubicBezTo>
                          <a:pt x="296430" y="160669"/>
                          <a:pt x="292056" y="169986"/>
                          <a:pt x="287683" y="179303"/>
                        </a:cubicBezTo>
                        <a:close/>
                        <a:moveTo>
                          <a:pt x="290725" y="17113"/>
                        </a:moveTo>
                        <a:lnTo>
                          <a:pt x="318676" y="104387"/>
                        </a:lnTo>
                        <a:lnTo>
                          <a:pt x="251937" y="104387"/>
                        </a:lnTo>
                        <a:lnTo>
                          <a:pt x="251937" y="17113"/>
                        </a:lnTo>
                        <a:lnTo>
                          <a:pt x="290725" y="17113"/>
                        </a:lnTo>
                        <a:close/>
                        <a:moveTo>
                          <a:pt x="234824" y="17113"/>
                        </a:moveTo>
                        <a:lnTo>
                          <a:pt x="234824" y="104387"/>
                        </a:lnTo>
                        <a:lnTo>
                          <a:pt x="174359" y="104387"/>
                        </a:lnTo>
                        <a:lnTo>
                          <a:pt x="174359" y="17113"/>
                        </a:lnTo>
                        <a:lnTo>
                          <a:pt x="234824" y="17113"/>
                        </a:lnTo>
                        <a:close/>
                        <a:moveTo>
                          <a:pt x="157246" y="17113"/>
                        </a:moveTo>
                        <a:lnTo>
                          <a:pt x="157246" y="104387"/>
                        </a:lnTo>
                        <a:lnTo>
                          <a:pt x="97162" y="104387"/>
                        </a:lnTo>
                        <a:lnTo>
                          <a:pt x="97162" y="17113"/>
                        </a:lnTo>
                        <a:lnTo>
                          <a:pt x="157246" y="17113"/>
                        </a:lnTo>
                        <a:close/>
                        <a:moveTo>
                          <a:pt x="79859" y="17113"/>
                        </a:moveTo>
                        <a:lnTo>
                          <a:pt x="79859" y="104387"/>
                        </a:lnTo>
                        <a:lnTo>
                          <a:pt x="17303" y="104387"/>
                        </a:lnTo>
                        <a:cubicBezTo>
                          <a:pt x="17303" y="78338"/>
                          <a:pt x="17113" y="52289"/>
                          <a:pt x="17113" y="26239"/>
                        </a:cubicBezTo>
                        <a:lnTo>
                          <a:pt x="17113" y="17113"/>
                        </a:lnTo>
                        <a:lnTo>
                          <a:pt x="79859" y="17113"/>
                        </a:lnTo>
                        <a:close/>
                      </a:path>
                    </a:pathLst>
                  </a:custGeom>
                  <a:grpFill/>
                  <a:ln w="1878" cap="flat">
                    <a:noFill/>
                    <a:prstDash val="solid"/>
                    <a:miter/>
                  </a:ln>
                </p:spPr>
                <p:txBody>
                  <a:bodyPr rtlCol="0" anchor="ctr"/>
                  <a:lstStyle/>
                  <a:p>
                    <a:endParaRPr lang="en-GB" noProof="0" dirty="0"/>
                  </a:p>
                </p:txBody>
              </p:sp>
            </p:grpSp>
          </p:grpSp>
        </p:grpSp>
      </p:grpSp>
      <p:sp>
        <p:nvSpPr>
          <p:cNvPr id="3" name="Rechteck 2">
            <a:extLst>
              <a:ext uri="{FF2B5EF4-FFF2-40B4-BE49-F238E27FC236}">
                <a16:creationId xmlns:a16="http://schemas.microsoft.com/office/drawing/2014/main" id="{0859CF8F-58B6-D43F-A537-8D05E6D6EFE2}"/>
              </a:ext>
            </a:extLst>
          </p:cNvPr>
          <p:cNvSpPr/>
          <p:nvPr/>
        </p:nvSpPr>
        <p:spPr>
          <a:xfrm>
            <a:off x="2232727" y="1834629"/>
            <a:ext cx="1565687" cy="1677148"/>
          </a:xfrm>
          <a:prstGeom prst="rect">
            <a:avLst/>
          </a:prstGeom>
          <a:solidFill>
            <a:schemeClr val="accent3">
              <a:lumMod val="60000"/>
              <a:lumOff val="40000"/>
            </a:schemeClr>
          </a:solidFill>
          <a:ln>
            <a:solidFill>
              <a:schemeClr val="bg1"/>
            </a:solidFill>
          </a:ln>
        </p:spPr>
        <p:txBody>
          <a:bodyPr lIns="0" tIns="0" rIns="0" bIns="0" rtlCol="0" anchor="ctr">
            <a:noAutofit/>
          </a:bodyPr>
          <a:lstStyle/>
          <a:p>
            <a:pPr marL="207169" indent="-207169" algn="ctr" defTabSz="247650">
              <a:spcBef>
                <a:spcPts val="225"/>
              </a:spcBef>
              <a:buFont typeface="Symbol" pitchFamily="18" charset="2"/>
              <a:buChar char="-"/>
            </a:pPr>
            <a:endParaRPr lang="en-GB" sz="1350" kern="0" noProof="0" dirty="0">
              <a:solidFill>
                <a:srgbClr val="41474C"/>
              </a:solidFill>
              <a:latin typeface="Corbel" pitchFamily="34" charset="0"/>
            </a:endParaRPr>
          </a:p>
        </p:txBody>
      </p:sp>
      <p:sp>
        <p:nvSpPr>
          <p:cNvPr id="96" name="Line 65">
            <a:extLst>
              <a:ext uri="{FF2B5EF4-FFF2-40B4-BE49-F238E27FC236}">
                <a16:creationId xmlns:a16="http://schemas.microsoft.com/office/drawing/2014/main" id="{7150434C-D865-5226-16A3-152F212DD35C}"/>
              </a:ext>
            </a:extLst>
          </p:cNvPr>
          <p:cNvSpPr>
            <a:spLocks noChangeShapeType="1"/>
          </p:cNvSpPr>
          <p:nvPr/>
        </p:nvSpPr>
        <p:spPr bwMode="auto">
          <a:xfrm>
            <a:off x="6026020" y="2122213"/>
            <a:ext cx="1557868" cy="0"/>
          </a:xfrm>
          <a:prstGeom prst="line">
            <a:avLst/>
          </a:prstGeom>
          <a:noFill/>
          <a:ln w="25400">
            <a:solidFill>
              <a:schemeClr val="accent5"/>
            </a:solidFill>
            <a:round/>
            <a:headEnd type="none" w="med" len="med"/>
            <a:tailEnd type="none" w="med" len="med"/>
          </a:ln>
        </p:spPr>
        <p:txBody>
          <a:bodyPr wrap="square" lIns="62308" tIns="29908" rIns="62308" bIns="29908">
            <a:noAutofit/>
          </a:bodyPr>
          <a:lstStyle/>
          <a:p>
            <a:endParaRPr lang="en-GB" sz="761" noProof="0" dirty="0">
              <a:ln>
                <a:solidFill>
                  <a:schemeClr val="tx1"/>
                </a:solidFill>
                <a:prstDash val="solid"/>
              </a:ln>
            </a:endParaRPr>
          </a:p>
        </p:txBody>
      </p:sp>
      <p:sp>
        <p:nvSpPr>
          <p:cNvPr id="2" name="Titel 1">
            <a:extLst>
              <a:ext uri="{FF2B5EF4-FFF2-40B4-BE49-F238E27FC236}">
                <a16:creationId xmlns:a16="http://schemas.microsoft.com/office/drawing/2014/main" id="{34CC6CEF-3007-8F66-797B-F6828268C0C2}"/>
              </a:ext>
            </a:extLst>
          </p:cNvPr>
          <p:cNvSpPr>
            <a:spLocks noGrp="1"/>
          </p:cNvSpPr>
          <p:nvPr>
            <p:ph type="title"/>
          </p:nvPr>
        </p:nvSpPr>
        <p:spPr>
          <a:xfrm>
            <a:off x="520699" y="432001"/>
            <a:ext cx="7880351" cy="386822"/>
          </a:xfrm>
        </p:spPr>
        <p:txBody>
          <a:bodyPr/>
          <a:lstStyle/>
          <a:p>
            <a:r>
              <a:rPr lang="en-GB" noProof="0" dirty="0"/>
              <a:t>Digitalisation in the Glass collection and recycling process</a:t>
            </a:r>
          </a:p>
        </p:txBody>
      </p:sp>
      <p:sp>
        <p:nvSpPr>
          <p:cNvPr id="124" name="Rechteck 123">
            <a:extLst>
              <a:ext uri="{FF2B5EF4-FFF2-40B4-BE49-F238E27FC236}">
                <a16:creationId xmlns:a16="http://schemas.microsoft.com/office/drawing/2014/main" id="{B8F1D0EB-F9A6-BC62-919F-7E8B8ACC1022}"/>
              </a:ext>
            </a:extLst>
          </p:cNvPr>
          <p:cNvSpPr/>
          <p:nvPr/>
        </p:nvSpPr>
        <p:spPr>
          <a:xfrm>
            <a:off x="5857331" y="1832634"/>
            <a:ext cx="756000" cy="571064"/>
          </a:xfrm>
          <a:prstGeom prst="rect">
            <a:avLst/>
          </a:prstGeom>
          <a:solidFill>
            <a:schemeClr val="accent3">
              <a:lumMod val="60000"/>
              <a:lumOff val="40000"/>
            </a:schemeClr>
          </a:solidFill>
          <a:ln>
            <a:solidFill>
              <a:schemeClr val="bg1"/>
            </a:solidFill>
          </a:ln>
        </p:spPr>
        <p:txBody>
          <a:bodyPr lIns="0" tIns="0" rIns="0" bIns="0" rtlCol="0" anchor="ctr">
            <a:noAutofit/>
          </a:bodyPr>
          <a:lstStyle/>
          <a:p>
            <a:pPr marL="207169" indent="-207169" algn="ctr" defTabSz="247650">
              <a:spcBef>
                <a:spcPts val="225"/>
              </a:spcBef>
              <a:buFont typeface="Symbol" pitchFamily="18" charset="2"/>
              <a:buChar char="-"/>
            </a:pPr>
            <a:endParaRPr lang="en-GB" sz="1350" kern="0" noProof="0" dirty="0">
              <a:solidFill>
                <a:srgbClr val="41474C"/>
              </a:solidFill>
              <a:latin typeface="Corbel" pitchFamily="34" charset="0"/>
            </a:endParaRPr>
          </a:p>
        </p:txBody>
      </p:sp>
      <p:sp>
        <p:nvSpPr>
          <p:cNvPr id="140" name="Rechteck 139">
            <a:extLst>
              <a:ext uri="{FF2B5EF4-FFF2-40B4-BE49-F238E27FC236}">
                <a16:creationId xmlns:a16="http://schemas.microsoft.com/office/drawing/2014/main" id="{168438E9-749E-30DF-CC69-3727CFD6F369}"/>
              </a:ext>
            </a:extLst>
          </p:cNvPr>
          <p:cNvSpPr/>
          <p:nvPr/>
        </p:nvSpPr>
        <p:spPr>
          <a:xfrm>
            <a:off x="7715562" y="1814684"/>
            <a:ext cx="756000" cy="1697089"/>
          </a:xfrm>
          <a:prstGeom prst="rect">
            <a:avLst/>
          </a:prstGeom>
          <a:solidFill>
            <a:schemeClr val="accent3">
              <a:lumMod val="60000"/>
              <a:lumOff val="40000"/>
            </a:schemeClr>
          </a:solidFill>
          <a:ln>
            <a:solidFill>
              <a:schemeClr val="bg1"/>
            </a:solidFill>
          </a:ln>
        </p:spPr>
        <p:txBody>
          <a:bodyPr lIns="0" tIns="0" rIns="0" bIns="0" rtlCol="0" anchor="ctr">
            <a:noAutofit/>
          </a:bodyPr>
          <a:lstStyle/>
          <a:p>
            <a:pPr marL="207169" indent="-207169" algn="ctr" defTabSz="247650">
              <a:spcBef>
                <a:spcPts val="225"/>
              </a:spcBef>
              <a:buFont typeface="Symbol" pitchFamily="18" charset="2"/>
              <a:buChar char="-"/>
            </a:pPr>
            <a:endParaRPr lang="en-GB" sz="1350" kern="0" noProof="0" dirty="0">
              <a:solidFill>
                <a:srgbClr val="41474C"/>
              </a:solidFill>
              <a:latin typeface="Corbel" pitchFamily="34" charset="0"/>
            </a:endParaRPr>
          </a:p>
        </p:txBody>
      </p:sp>
      <p:sp>
        <p:nvSpPr>
          <p:cNvPr id="75" name="Line 65">
            <a:extLst>
              <a:ext uri="{FF2B5EF4-FFF2-40B4-BE49-F238E27FC236}">
                <a16:creationId xmlns:a16="http://schemas.microsoft.com/office/drawing/2014/main" id="{FC232D3E-B45E-755E-1C5A-B442E680FD40}"/>
              </a:ext>
            </a:extLst>
          </p:cNvPr>
          <p:cNvSpPr>
            <a:spLocks noChangeShapeType="1"/>
          </p:cNvSpPr>
          <p:nvPr/>
        </p:nvSpPr>
        <p:spPr bwMode="auto">
          <a:xfrm>
            <a:off x="2700998" y="3209307"/>
            <a:ext cx="1618335" cy="7593"/>
          </a:xfrm>
          <a:prstGeom prst="line">
            <a:avLst/>
          </a:prstGeom>
          <a:noFill/>
          <a:ln w="25400">
            <a:solidFill>
              <a:schemeClr val="accent5"/>
            </a:solidFill>
            <a:round/>
            <a:headEnd type="none" w="med" len="med"/>
            <a:tailEnd type="none" w="med" len="med"/>
          </a:ln>
        </p:spPr>
        <p:txBody>
          <a:bodyPr wrap="square" lIns="62308" tIns="29908" rIns="62308" bIns="29908">
            <a:noAutofit/>
          </a:bodyPr>
          <a:lstStyle/>
          <a:p>
            <a:endParaRPr lang="en-GB" sz="761" noProof="0" dirty="0">
              <a:ln>
                <a:solidFill>
                  <a:schemeClr val="tx1"/>
                </a:solidFill>
                <a:prstDash val="solid"/>
              </a:ln>
            </a:endParaRPr>
          </a:p>
        </p:txBody>
      </p:sp>
      <p:sp>
        <p:nvSpPr>
          <p:cNvPr id="51" name="Line 65">
            <a:extLst>
              <a:ext uri="{FF2B5EF4-FFF2-40B4-BE49-F238E27FC236}">
                <a16:creationId xmlns:a16="http://schemas.microsoft.com/office/drawing/2014/main" id="{AFCE752E-69C0-1005-2F0E-757ED0434664}"/>
              </a:ext>
            </a:extLst>
          </p:cNvPr>
          <p:cNvSpPr>
            <a:spLocks noChangeShapeType="1"/>
          </p:cNvSpPr>
          <p:nvPr/>
        </p:nvSpPr>
        <p:spPr bwMode="auto">
          <a:xfrm>
            <a:off x="2700998" y="2345392"/>
            <a:ext cx="2004260" cy="1568"/>
          </a:xfrm>
          <a:prstGeom prst="line">
            <a:avLst/>
          </a:prstGeom>
          <a:noFill/>
          <a:ln w="25400">
            <a:solidFill>
              <a:schemeClr val="accent5"/>
            </a:solidFill>
            <a:round/>
            <a:headEnd type="none" w="med" len="med"/>
            <a:tailEnd type="none" w="med" len="med"/>
          </a:ln>
        </p:spPr>
        <p:txBody>
          <a:bodyPr wrap="square" lIns="62308" tIns="29908" rIns="62308" bIns="29908">
            <a:noAutofit/>
          </a:bodyPr>
          <a:lstStyle/>
          <a:p>
            <a:endParaRPr lang="en-GB" sz="761" noProof="0" dirty="0">
              <a:ln>
                <a:solidFill>
                  <a:schemeClr val="tx1"/>
                </a:solidFill>
                <a:prstDash val="solid"/>
              </a:ln>
            </a:endParaRPr>
          </a:p>
        </p:txBody>
      </p:sp>
      <p:sp>
        <p:nvSpPr>
          <p:cNvPr id="55" name="Chevron 17">
            <a:extLst>
              <a:ext uri="{FF2B5EF4-FFF2-40B4-BE49-F238E27FC236}">
                <a16:creationId xmlns:a16="http://schemas.microsoft.com/office/drawing/2014/main" id="{80439738-E820-B1BB-3816-101D52EE6FD0}"/>
              </a:ext>
            </a:extLst>
          </p:cNvPr>
          <p:cNvSpPr/>
          <p:nvPr/>
        </p:nvSpPr>
        <p:spPr>
          <a:xfrm>
            <a:off x="1997725" y="1165225"/>
            <a:ext cx="972000" cy="287220"/>
          </a:xfrm>
          <a:prstGeom prst="chevron">
            <a:avLst/>
          </a:prstGeom>
          <a:solidFill>
            <a:schemeClr val="accent1"/>
          </a:solidFill>
          <a:ln>
            <a:solidFill>
              <a:srgbClr val="009252"/>
            </a:solidFill>
          </a:ln>
        </p:spPr>
        <p:txBody>
          <a:bodyPr lIns="0" tIns="0" rIns="0" bIns="0" rtlCol="0" anchor="ctr">
            <a:noAutofit/>
          </a:bodyPr>
          <a:lstStyle/>
          <a:p>
            <a:pPr algn="ctr" defTabSz="247650">
              <a:spcBef>
                <a:spcPts val="225"/>
              </a:spcBef>
            </a:pPr>
            <a:r>
              <a:rPr lang="en-GB" sz="800" kern="0" noProof="0" dirty="0">
                <a:solidFill>
                  <a:schemeClr val="bg1"/>
                </a:solidFill>
                <a:latin typeface="Corbel" pitchFamily="34" charset="0"/>
              </a:rPr>
              <a:t>collection infrastructure</a:t>
            </a:r>
          </a:p>
        </p:txBody>
      </p:sp>
      <p:grpSp>
        <p:nvGrpSpPr>
          <p:cNvPr id="57" name="Gruppieren 56">
            <a:extLst>
              <a:ext uri="{FF2B5EF4-FFF2-40B4-BE49-F238E27FC236}">
                <a16:creationId xmlns:a16="http://schemas.microsoft.com/office/drawing/2014/main" id="{A82D1731-287C-48EE-DDE1-6035EA2D3CF6}"/>
              </a:ext>
            </a:extLst>
          </p:cNvPr>
          <p:cNvGrpSpPr/>
          <p:nvPr/>
        </p:nvGrpSpPr>
        <p:grpSpPr>
          <a:xfrm>
            <a:off x="4802644" y="1152033"/>
            <a:ext cx="972000" cy="306621"/>
            <a:chOff x="4715161" y="1709463"/>
            <a:chExt cx="1053141" cy="408828"/>
          </a:xfrm>
          <a:solidFill>
            <a:schemeClr val="accent1"/>
          </a:solidFill>
        </p:grpSpPr>
        <p:sp>
          <p:nvSpPr>
            <p:cNvPr id="58" name="Chevron 95">
              <a:extLst>
                <a:ext uri="{FF2B5EF4-FFF2-40B4-BE49-F238E27FC236}">
                  <a16:creationId xmlns:a16="http://schemas.microsoft.com/office/drawing/2014/main" id="{1C75A04A-E84B-C0EA-7D16-BACDB98419EC}"/>
                </a:ext>
              </a:extLst>
            </p:cNvPr>
            <p:cNvSpPr/>
            <p:nvPr/>
          </p:nvSpPr>
          <p:spPr>
            <a:xfrm>
              <a:off x="4715161" y="1732767"/>
              <a:ext cx="1053141" cy="382960"/>
            </a:xfrm>
            <a:prstGeom prst="chevron">
              <a:avLst/>
            </a:prstGeom>
            <a:grpFill/>
            <a:ln>
              <a:solidFill>
                <a:srgbClr val="009252"/>
              </a:solidFill>
            </a:ln>
          </p:spPr>
          <p:txBody>
            <a:bodyPr lIns="0" tIns="0" rIns="0" bIns="0" rtlCol="0" anchor="ctr">
              <a:noAutofit/>
            </a:bodyPr>
            <a:lstStyle/>
            <a:p>
              <a:pPr marL="207169" indent="-207169" algn="ctr" defTabSz="247650">
                <a:spcBef>
                  <a:spcPts val="225"/>
                </a:spcBef>
                <a:buFont typeface="Symbol" pitchFamily="18" charset="2"/>
                <a:buChar char="-"/>
              </a:pPr>
              <a:endParaRPr lang="en-GB" sz="1050" kern="0" noProof="0" dirty="0">
                <a:solidFill>
                  <a:schemeClr val="bg1"/>
                </a:solidFill>
                <a:latin typeface="Corbel" pitchFamily="34" charset="0"/>
              </a:endParaRPr>
            </a:p>
          </p:txBody>
        </p:sp>
        <p:sp>
          <p:nvSpPr>
            <p:cNvPr id="59" name="Text Box 16">
              <a:extLst>
                <a:ext uri="{FF2B5EF4-FFF2-40B4-BE49-F238E27FC236}">
                  <a16:creationId xmlns:a16="http://schemas.microsoft.com/office/drawing/2014/main" id="{0367DA8F-3654-5DD6-95C8-F4EBAAA67507}"/>
                </a:ext>
              </a:extLst>
            </p:cNvPr>
            <p:cNvSpPr txBox="1">
              <a:spLocks noChangeArrowheads="1"/>
            </p:cNvSpPr>
            <p:nvPr/>
          </p:nvSpPr>
          <p:spPr bwMode="auto">
            <a:xfrm>
              <a:off x="4716267" y="1709463"/>
              <a:ext cx="1013249" cy="408828"/>
            </a:xfrm>
            <a:prstGeom prst="rect">
              <a:avLst/>
            </a:prstGeom>
            <a:noFill/>
            <a:ln w="12700">
              <a:noFill/>
              <a:miter lim="800000"/>
              <a:headEnd/>
              <a:tailEnd/>
            </a:ln>
          </p:spPr>
          <p:txBody>
            <a:bodyPr lIns="62308" tIns="29908" rIns="62308" bIns="29908" anchor="ctr">
              <a:spAutoFit/>
            </a:bodyPr>
            <a:lstStyle/>
            <a:p>
              <a:pPr algn="ctr">
                <a:spcBef>
                  <a:spcPct val="50000"/>
                </a:spcBef>
              </a:pPr>
              <a:r>
                <a:rPr lang="en-GB" sz="800" noProof="0" dirty="0">
                  <a:solidFill>
                    <a:schemeClr val="bg1"/>
                  </a:solidFill>
                </a:rPr>
                <a:t>transportation</a:t>
              </a:r>
              <a:br>
                <a:rPr lang="en-GB" sz="800" noProof="0" dirty="0">
                  <a:solidFill>
                    <a:schemeClr val="bg1"/>
                  </a:solidFill>
                </a:rPr>
              </a:br>
              <a:r>
                <a:rPr lang="en-GB" sz="800" noProof="0" dirty="0">
                  <a:solidFill>
                    <a:schemeClr val="bg1"/>
                  </a:solidFill>
                </a:rPr>
                <a:t>(optional)</a:t>
              </a:r>
            </a:p>
          </p:txBody>
        </p:sp>
      </p:grpSp>
      <p:grpSp>
        <p:nvGrpSpPr>
          <p:cNvPr id="60" name="Gruppieren 59">
            <a:extLst>
              <a:ext uri="{FF2B5EF4-FFF2-40B4-BE49-F238E27FC236}">
                <a16:creationId xmlns:a16="http://schemas.microsoft.com/office/drawing/2014/main" id="{AB9C6C64-A401-5D98-4A76-00BF1D481D54}"/>
              </a:ext>
            </a:extLst>
          </p:cNvPr>
          <p:cNvGrpSpPr/>
          <p:nvPr/>
        </p:nvGrpSpPr>
        <p:grpSpPr>
          <a:xfrm>
            <a:off x="5737617" y="1158625"/>
            <a:ext cx="972000" cy="293819"/>
            <a:chOff x="5851685" y="1710816"/>
            <a:chExt cx="1053141" cy="391759"/>
          </a:xfrm>
          <a:solidFill>
            <a:schemeClr val="accent1"/>
          </a:solidFill>
        </p:grpSpPr>
        <p:sp>
          <p:nvSpPr>
            <p:cNvPr id="61" name="Chevron 101">
              <a:extLst>
                <a:ext uri="{FF2B5EF4-FFF2-40B4-BE49-F238E27FC236}">
                  <a16:creationId xmlns:a16="http://schemas.microsoft.com/office/drawing/2014/main" id="{E48775D8-F321-7421-792D-32539B39D44A}"/>
                </a:ext>
              </a:extLst>
            </p:cNvPr>
            <p:cNvSpPr/>
            <p:nvPr/>
          </p:nvSpPr>
          <p:spPr>
            <a:xfrm>
              <a:off x="5851685" y="1719615"/>
              <a:ext cx="1053141" cy="382960"/>
            </a:xfrm>
            <a:prstGeom prst="chevron">
              <a:avLst/>
            </a:prstGeom>
            <a:grpFill/>
            <a:ln>
              <a:solidFill>
                <a:srgbClr val="009252"/>
              </a:solidFill>
            </a:ln>
          </p:spPr>
          <p:txBody>
            <a:bodyPr lIns="0" tIns="0" rIns="0" bIns="0" rtlCol="0" anchor="ctr">
              <a:noAutofit/>
            </a:bodyPr>
            <a:lstStyle/>
            <a:p>
              <a:pPr marL="207169" indent="-207169" algn="ctr" defTabSz="247650">
                <a:spcBef>
                  <a:spcPts val="225"/>
                </a:spcBef>
                <a:buFont typeface="Symbol" pitchFamily="18" charset="2"/>
                <a:buChar char="-"/>
              </a:pPr>
              <a:endParaRPr lang="en-GB" sz="1050" kern="0" noProof="0" dirty="0">
                <a:solidFill>
                  <a:schemeClr val="bg1"/>
                </a:solidFill>
                <a:latin typeface="Corbel" pitchFamily="34" charset="0"/>
              </a:endParaRPr>
            </a:p>
          </p:txBody>
        </p:sp>
        <p:sp>
          <p:nvSpPr>
            <p:cNvPr id="62" name="Text Box 17">
              <a:extLst>
                <a:ext uri="{FF2B5EF4-FFF2-40B4-BE49-F238E27FC236}">
                  <a16:creationId xmlns:a16="http://schemas.microsoft.com/office/drawing/2014/main" id="{FE3FC069-8217-793B-31ED-8CC93279E092}"/>
                </a:ext>
              </a:extLst>
            </p:cNvPr>
            <p:cNvSpPr txBox="1">
              <a:spLocks noChangeArrowheads="1"/>
            </p:cNvSpPr>
            <p:nvPr/>
          </p:nvSpPr>
          <p:spPr bwMode="auto">
            <a:xfrm>
              <a:off x="5875548" y="1710816"/>
              <a:ext cx="1013249" cy="384207"/>
            </a:xfrm>
            <a:prstGeom prst="rect">
              <a:avLst/>
            </a:prstGeom>
            <a:noFill/>
            <a:ln w="12700">
              <a:noFill/>
              <a:miter lim="800000"/>
              <a:headEnd/>
              <a:tailEnd/>
            </a:ln>
          </p:spPr>
          <p:txBody>
            <a:bodyPr lIns="62308" tIns="29908" rIns="62308" bIns="29908" anchor="ctr">
              <a:spAutoFit/>
            </a:bodyPr>
            <a:lstStyle/>
            <a:p>
              <a:pPr algn="ctr">
                <a:spcBef>
                  <a:spcPct val="50000"/>
                </a:spcBef>
              </a:pPr>
              <a:r>
                <a:rPr lang="en-GB" sz="800" kern="0" dirty="0">
                  <a:solidFill>
                    <a:schemeClr val="bg1"/>
                  </a:solidFill>
                  <a:latin typeface="Corbel" pitchFamily="34" charset="0"/>
                </a:rPr>
                <a:t>storage</a:t>
              </a:r>
              <a:r>
                <a:rPr lang="en-GB" sz="680" noProof="0" dirty="0">
                  <a:solidFill>
                    <a:schemeClr val="bg1"/>
                  </a:solidFill>
                </a:rPr>
                <a:t> </a:t>
              </a:r>
              <a:br>
                <a:rPr lang="en-GB" sz="680" noProof="0" dirty="0">
                  <a:solidFill>
                    <a:schemeClr val="bg1"/>
                  </a:solidFill>
                </a:rPr>
              </a:br>
              <a:r>
                <a:rPr lang="en-GB" sz="680" noProof="0" dirty="0">
                  <a:solidFill>
                    <a:schemeClr val="bg1"/>
                  </a:solidFill>
                </a:rPr>
                <a:t>(optional)</a:t>
              </a:r>
            </a:p>
          </p:txBody>
        </p:sp>
      </p:grpSp>
      <p:grpSp>
        <p:nvGrpSpPr>
          <p:cNvPr id="63" name="Gruppieren 62">
            <a:extLst>
              <a:ext uri="{FF2B5EF4-FFF2-40B4-BE49-F238E27FC236}">
                <a16:creationId xmlns:a16="http://schemas.microsoft.com/office/drawing/2014/main" id="{1E9DA9DD-33D3-C1A0-E0B6-1F99A9C8268F}"/>
              </a:ext>
            </a:extLst>
          </p:cNvPr>
          <p:cNvGrpSpPr/>
          <p:nvPr/>
        </p:nvGrpSpPr>
        <p:grpSpPr>
          <a:xfrm>
            <a:off x="6672590" y="1165225"/>
            <a:ext cx="972000" cy="287220"/>
            <a:chOff x="6988209" y="1719615"/>
            <a:chExt cx="1053141" cy="382960"/>
          </a:xfrm>
          <a:solidFill>
            <a:schemeClr val="accent1"/>
          </a:solidFill>
        </p:grpSpPr>
        <p:sp>
          <p:nvSpPr>
            <p:cNvPr id="64" name="Chevron 102">
              <a:extLst>
                <a:ext uri="{FF2B5EF4-FFF2-40B4-BE49-F238E27FC236}">
                  <a16:creationId xmlns:a16="http://schemas.microsoft.com/office/drawing/2014/main" id="{972DFCC9-F370-D3EB-5579-E4012AC16F8A}"/>
                </a:ext>
              </a:extLst>
            </p:cNvPr>
            <p:cNvSpPr/>
            <p:nvPr/>
          </p:nvSpPr>
          <p:spPr>
            <a:xfrm>
              <a:off x="6988209" y="1719615"/>
              <a:ext cx="1053141" cy="382960"/>
            </a:xfrm>
            <a:prstGeom prst="chevron">
              <a:avLst/>
            </a:prstGeom>
            <a:grpFill/>
            <a:ln>
              <a:noFill/>
            </a:ln>
          </p:spPr>
          <p:txBody>
            <a:bodyPr lIns="0" tIns="0" rIns="0" bIns="0" rtlCol="0" anchor="ctr">
              <a:noAutofit/>
            </a:bodyPr>
            <a:lstStyle/>
            <a:p>
              <a:pPr marL="207169" indent="-207169" algn="ctr" defTabSz="247650">
                <a:spcBef>
                  <a:spcPts val="225"/>
                </a:spcBef>
                <a:buFont typeface="Symbol" pitchFamily="18" charset="2"/>
                <a:buChar char="-"/>
              </a:pPr>
              <a:endParaRPr lang="en-GB" sz="1050" kern="0" noProof="0" dirty="0">
                <a:solidFill>
                  <a:schemeClr val="bg1"/>
                </a:solidFill>
                <a:latin typeface="Corbel" pitchFamily="34" charset="0"/>
              </a:endParaRPr>
            </a:p>
          </p:txBody>
        </p:sp>
        <p:sp>
          <p:nvSpPr>
            <p:cNvPr id="65" name="Text Box 19">
              <a:extLst>
                <a:ext uri="{FF2B5EF4-FFF2-40B4-BE49-F238E27FC236}">
                  <a16:creationId xmlns:a16="http://schemas.microsoft.com/office/drawing/2014/main" id="{509D166B-9D75-4F30-1655-D8C31E911D13}"/>
                </a:ext>
              </a:extLst>
            </p:cNvPr>
            <p:cNvSpPr txBox="1">
              <a:spLocks noChangeArrowheads="1"/>
            </p:cNvSpPr>
            <p:nvPr/>
          </p:nvSpPr>
          <p:spPr bwMode="auto">
            <a:xfrm>
              <a:off x="7075881" y="1780576"/>
              <a:ext cx="945699" cy="244681"/>
            </a:xfrm>
            <a:prstGeom prst="rect">
              <a:avLst/>
            </a:prstGeom>
            <a:noFill/>
            <a:ln w="12700">
              <a:noFill/>
              <a:miter lim="800000"/>
              <a:headEnd/>
              <a:tailEnd/>
            </a:ln>
          </p:spPr>
          <p:txBody>
            <a:bodyPr lIns="62308" tIns="29908" rIns="62308" bIns="29908" anchor="ctr">
              <a:spAutoFit/>
            </a:bodyPr>
            <a:lstStyle/>
            <a:p>
              <a:pPr algn="ctr">
                <a:spcBef>
                  <a:spcPct val="50000"/>
                </a:spcBef>
              </a:pPr>
              <a:r>
                <a:rPr lang="en-GB" sz="800" noProof="0" dirty="0">
                  <a:solidFill>
                    <a:schemeClr val="bg1"/>
                  </a:solidFill>
                </a:rPr>
                <a:t>transportation</a:t>
              </a:r>
              <a:endParaRPr lang="en-GB" sz="800" b="1" noProof="0" dirty="0">
                <a:solidFill>
                  <a:schemeClr val="bg1"/>
                </a:solidFill>
              </a:endParaRPr>
            </a:p>
          </p:txBody>
        </p:sp>
      </p:grpSp>
      <p:grpSp>
        <p:nvGrpSpPr>
          <p:cNvPr id="66" name="Gruppieren 65">
            <a:extLst>
              <a:ext uri="{FF2B5EF4-FFF2-40B4-BE49-F238E27FC236}">
                <a16:creationId xmlns:a16="http://schemas.microsoft.com/office/drawing/2014/main" id="{950D4765-87D4-47BE-9571-37AFE02942C9}"/>
              </a:ext>
            </a:extLst>
          </p:cNvPr>
          <p:cNvGrpSpPr/>
          <p:nvPr/>
        </p:nvGrpSpPr>
        <p:grpSpPr>
          <a:xfrm>
            <a:off x="2932697" y="1165450"/>
            <a:ext cx="972000" cy="287220"/>
            <a:chOff x="3578636" y="1719615"/>
            <a:chExt cx="1088205" cy="382960"/>
          </a:xfrm>
          <a:solidFill>
            <a:schemeClr val="accent1"/>
          </a:solidFill>
        </p:grpSpPr>
        <p:sp>
          <p:nvSpPr>
            <p:cNvPr id="67" name="Chevron 94">
              <a:extLst>
                <a:ext uri="{FF2B5EF4-FFF2-40B4-BE49-F238E27FC236}">
                  <a16:creationId xmlns:a16="http://schemas.microsoft.com/office/drawing/2014/main" id="{8AE0623B-8559-30DB-D97A-AA4FD5C7BCCC}"/>
                </a:ext>
              </a:extLst>
            </p:cNvPr>
            <p:cNvSpPr/>
            <p:nvPr/>
          </p:nvSpPr>
          <p:spPr>
            <a:xfrm>
              <a:off x="3578636" y="1719615"/>
              <a:ext cx="1053141" cy="382960"/>
            </a:xfrm>
            <a:prstGeom prst="chevron">
              <a:avLst/>
            </a:prstGeom>
            <a:solidFill>
              <a:schemeClr val="accent1"/>
            </a:solidFill>
            <a:ln>
              <a:solidFill>
                <a:srgbClr val="009252"/>
              </a:solidFill>
            </a:ln>
          </p:spPr>
          <p:txBody>
            <a:bodyPr lIns="0" tIns="0" rIns="0" bIns="0" rtlCol="0" anchor="ctr">
              <a:noAutofit/>
            </a:bodyPr>
            <a:lstStyle/>
            <a:p>
              <a:pPr marL="207169" indent="-207169" algn="ctr" defTabSz="247650">
                <a:spcBef>
                  <a:spcPts val="225"/>
                </a:spcBef>
                <a:buFont typeface="Symbol" pitchFamily="18" charset="2"/>
                <a:buChar char="-"/>
              </a:pPr>
              <a:endParaRPr lang="en-GB" sz="1050" kern="0" noProof="0" dirty="0">
                <a:solidFill>
                  <a:schemeClr val="bg1"/>
                </a:solidFill>
                <a:latin typeface="Corbel" pitchFamily="34" charset="0"/>
              </a:endParaRPr>
            </a:p>
          </p:txBody>
        </p:sp>
        <p:sp>
          <p:nvSpPr>
            <p:cNvPr id="68" name="Text Box 15">
              <a:extLst>
                <a:ext uri="{FF2B5EF4-FFF2-40B4-BE49-F238E27FC236}">
                  <a16:creationId xmlns:a16="http://schemas.microsoft.com/office/drawing/2014/main" id="{964ED6D5-73E2-C130-14DC-0EEF244E485C}"/>
                </a:ext>
              </a:extLst>
            </p:cNvPr>
            <p:cNvSpPr txBox="1">
              <a:spLocks noChangeArrowheads="1"/>
            </p:cNvSpPr>
            <p:nvPr/>
          </p:nvSpPr>
          <p:spPr bwMode="auto">
            <a:xfrm>
              <a:off x="3653592" y="1780579"/>
              <a:ext cx="1013249" cy="244681"/>
            </a:xfrm>
            <a:prstGeom prst="rect">
              <a:avLst/>
            </a:prstGeom>
            <a:noFill/>
            <a:ln w="12700">
              <a:noFill/>
              <a:miter lim="800000"/>
              <a:headEnd/>
              <a:tailEnd/>
            </a:ln>
          </p:spPr>
          <p:txBody>
            <a:bodyPr lIns="62308" tIns="29908" rIns="62308" bIns="29908" anchor="ctr">
              <a:spAutoFit/>
            </a:bodyPr>
            <a:lstStyle/>
            <a:p>
              <a:pPr algn="ctr">
                <a:spcBef>
                  <a:spcPct val="50000"/>
                </a:spcBef>
              </a:pPr>
              <a:r>
                <a:rPr lang="en-GB" sz="800" kern="0" dirty="0">
                  <a:solidFill>
                    <a:schemeClr val="bg1"/>
                  </a:solidFill>
                  <a:latin typeface="Corbel" pitchFamily="34" charset="0"/>
                </a:rPr>
                <a:t>collection</a:t>
              </a:r>
            </a:p>
          </p:txBody>
        </p:sp>
      </p:grpSp>
      <p:grpSp>
        <p:nvGrpSpPr>
          <p:cNvPr id="69" name="Gruppieren 68">
            <a:extLst>
              <a:ext uri="{FF2B5EF4-FFF2-40B4-BE49-F238E27FC236}">
                <a16:creationId xmlns:a16="http://schemas.microsoft.com/office/drawing/2014/main" id="{03893EB4-89CB-A4A3-6FF5-74DD123B69E8}"/>
              </a:ext>
            </a:extLst>
          </p:cNvPr>
          <p:cNvGrpSpPr/>
          <p:nvPr/>
        </p:nvGrpSpPr>
        <p:grpSpPr>
          <a:xfrm>
            <a:off x="7607562" y="1176188"/>
            <a:ext cx="972000" cy="287220"/>
            <a:chOff x="8127149" y="1721932"/>
            <a:chExt cx="1053141" cy="382960"/>
          </a:xfrm>
          <a:solidFill>
            <a:schemeClr val="accent1"/>
          </a:solidFill>
        </p:grpSpPr>
        <p:sp>
          <p:nvSpPr>
            <p:cNvPr id="70" name="Chevron 102">
              <a:extLst>
                <a:ext uri="{FF2B5EF4-FFF2-40B4-BE49-F238E27FC236}">
                  <a16:creationId xmlns:a16="http://schemas.microsoft.com/office/drawing/2014/main" id="{BC96BD88-07D0-C37F-62FA-E8AE66C3DB05}"/>
                </a:ext>
              </a:extLst>
            </p:cNvPr>
            <p:cNvSpPr/>
            <p:nvPr/>
          </p:nvSpPr>
          <p:spPr>
            <a:xfrm>
              <a:off x="8127149" y="1721932"/>
              <a:ext cx="1053141" cy="382960"/>
            </a:xfrm>
            <a:prstGeom prst="chevron">
              <a:avLst/>
            </a:prstGeom>
            <a:grpFill/>
            <a:ln>
              <a:noFill/>
            </a:ln>
          </p:spPr>
          <p:txBody>
            <a:bodyPr lIns="0" tIns="0" rIns="0" bIns="0" rtlCol="0" anchor="ctr">
              <a:noAutofit/>
            </a:bodyPr>
            <a:lstStyle/>
            <a:p>
              <a:pPr algn="ctr" defTabSz="247650">
                <a:spcBef>
                  <a:spcPts val="225"/>
                </a:spcBef>
              </a:pPr>
              <a:endParaRPr lang="en-GB" sz="675" noProof="0" dirty="0">
                <a:solidFill>
                  <a:schemeClr val="bg1"/>
                </a:solidFill>
              </a:endParaRPr>
            </a:p>
          </p:txBody>
        </p:sp>
        <p:sp>
          <p:nvSpPr>
            <p:cNvPr id="71" name="Text Box 19">
              <a:extLst>
                <a:ext uri="{FF2B5EF4-FFF2-40B4-BE49-F238E27FC236}">
                  <a16:creationId xmlns:a16="http://schemas.microsoft.com/office/drawing/2014/main" id="{9FD6C7A4-30A4-42E4-F741-6A61802EE23B}"/>
                </a:ext>
              </a:extLst>
            </p:cNvPr>
            <p:cNvSpPr txBox="1">
              <a:spLocks noChangeArrowheads="1"/>
            </p:cNvSpPr>
            <p:nvPr/>
          </p:nvSpPr>
          <p:spPr bwMode="auto">
            <a:xfrm>
              <a:off x="8220609" y="1788756"/>
              <a:ext cx="945699" cy="244681"/>
            </a:xfrm>
            <a:prstGeom prst="rect">
              <a:avLst/>
            </a:prstGeom>
            <a:noFill/>
            <a:ln w="12700">
              <a:noFill/>
              <a:miter lim="800000"/>
              <a:headEnd/>
              <a:tailEnd/>
            </a:ln>
          </p:spPr>
          <p:txBody>
            <a:bodyPr lIns="62308" tIns="29908" rIns="62308" bIns="29908" anchor="ctr">
              <a:spAutoFit/>
            </a:bodyPr>
            <a:lstStyle/>
            <a:p>
              <a:pPr algn="ctr">
                <a:spcBef>
                  <a:spcPct val="50000"/>
                </a:spcBef>
              </a:pPr>
              <a:r>
                <a:rPr lang="en-GB" sz="800" kern="0" dirty="0">
                  <a:solidFill>
                    <a:schemeClr val="bg1"/>
                  </a:solidFill>
                  <a:latin typeface="Corbel" pitchFamily="34" charset="0"/>
                </a:rPr>
                <a:t>recycling</a:t>
              </a:r>
            </a:p>
          </p:txBody>
        </p:sp>
      </p:grpSp>
      <p:sp>
        <p:nvSpPr>
          <p:cNvPr id="7" name="Rechteck 6">
            <a:extLst>
              <a:ext uri="{FF2B5EF4-FFF2-40B4-BE49-F238E27FC236}">
                <a16:creationId xmlns:a16="http://schemas.microsoft.com/office/drawing/2014/main" id="{1DC59625-FF0C-2162-2968-AF0C2431D455}"/>
              </a:ext>
            </a:extLst>
          </p:cNvPr>
          <p:cNvSpPr/>
          <p:nvPr/>
        </p:nvSpPr>
        <p:spPr>
          <a:xfrm>
            <a:off x="3246121" y="2125322"/>
            <a:ext cx="459000" cy="459000"/>
          </a:xfrm>
          <a:prstGeom prst="rect">
            <a:avLst/>
          </a:prstGeom>
          <a:noFill/>
          <a:ln>
            <a:noFill/>
          </a:ln>
        </p:spPr>
        <p:txBody>
          <a:bodyPr lIns="0" tIns="0" rIns="0" bIns="0" rtlCol="0" anchor="ctr">
            <a:noAutofit/>
          </a:bodyPr>
          <a:lstStyle/>
          <a:p>
            <a:pPr marL="207169" indent="-207169" algn="ctr" defTabSz="247650">
              <a:spcBef>
                <a:spcPts val="225"/>
              </a:spcBef>
              <a:buFont typeface="Symbol" pitchFamily="18" charset="2"/>
              <a:buChar char="-"/>
            </a:pPr>
            <a:endParaRPr lang="en-GB" sz="1350" kern="0" noProof="0" dirty="0">
              <a:solidFill>
                <a:srgbClr val="41474C"/>
              </a:solidFill>
              <a:latin typeface="Corbel" pitchFamily="34" charset="0"/>
            </a:endParaRPr>
          </a:p>
        </p:txBody>
      </p:sp>
      <p:sp>
        <p:nvSpPr>
          <p:cNvPr id="76" name="Rechteck 75">
            <a:extLst>
              <a:ext uri="{FF2B5EF4-FFF2-40B4-BE49-F238E27FC236}">
                <a16:creationId xmlns:a16="http://schemas.microsoft.com/office/drawing/2014/main" id="{5000C804-BEEE-41E1-CBDC-B252C34AF7C9}"/>
              </a:ext>
            </a:extLst>
          </p:cNvPr>
          <p:cNvSpPr/>
          <p:nvPr/>
        </p:nvSpPr>
        <p:spPr>
          <a:xfrm>
            <a:off x="3290400" y="3030305"/>
            <a:ext cx="432000" cy="304056"/>
          </a:xfrm>
          <a:prstGeom prst="rect">
            <a:avLst/>
          </a:prstGeom>
          <a:solidFill>
            <a:schemeClr val="accent3">
              <a:lumMod val="60000"/>
              <a:lumOff val="40000"/>
            </a:schemeClr>
          </a:solidFill>
          <a:ln>
            <a:noFill/>
          </a:ln>
        </p:spPr>
        <p:txBody>
          <a:bodyPr lIns="0" tIns="0" rIns="0" bIns="0" rtlCol="0" anchor="ctr">
            <a:noAutofit/>
          </a:bodyPr>
          <a:lstStyle/>
          <a:p>
            <a:pPr marL="207169" indent="-207169" algn="ctr" defTabSz="247650">
              <a:spcBef>
                <a:spcPts val="225"/>
              </a:spcBef>
              <a:buFont typeface="Symbol" pitchFamily="18" charset="2"/>
              <a:buChar char="-"/>
            </a:pPr>
            <a:endParaRPr lang="en-GB" sz="1350" kern="0" noProof="0" dirty="0">
              <a:solidFill>
                <a:srgbClr val="41474C"/>
              </a:solidFill>
              <a:latin typeface="Corbel" pitchFamily="34" charset="0"/>
            </a:endParaRPr>
          </a:p>
        </p:txBody>
      </p:sp>
      <p:sp>
        <p:nvSpPr>
          <p:cNvPr id="78" name="Line 64">
            <a:extLst>
              <a:ext uri="{FF2B5EF4-FFF2-40B4-BE49-F238E27FC236}">
                <a16:creationId xmlns:a16="http://schemas.microsoft.com/office/drawing/2014/main" id="{6D836E5E-807E-3BA4-4E33-16CAD1ECDE4B}"/>
              </a:ext>
            </a:extLst>
          </p:cNvPr>
          <p:cNvSpPr>
            <a:spLocks noChangeShapeType="1"/>
          </p:cNvSpPr>
          <p:nvPr/>
        </p:nvSpPr>
        <p:spPr bwMode="auto">
          <a:xfrm>
            <a:off x="4325250" y="2433393"/>
            <a:ext cx="0" cy="796500"/>
          </a:xfrm>
          <a:prstGeom prst="line">
            <a:avLst/>
          </a:prstGeom>
          <a:noFill/>
          <a:ln w="25400">
            <a:solidFill>
              <a:schemeClr val="accent5"/>
            </a:solidFill>
            <a:round/>
            <a:headEnd type="triangle" w="med" len="med"/>
            <a:tailEnd type="none" w="med" len="med"/>
          </a:ln>
        </p:spPr>
        <p:txBody>
          <a:bodyPr wrap="none" lIns="62308" tIns="29908" rIns="62308" bIns="29908">
            <a:spAutoFit/>
          </a:bodyPr>
          <a:lstStyle/>
          <a:p>
            <a:endParaRPr lang="en-GB" sz="761" noProof="0" dirty="0"/>
          </a:p>
        </p:txBody>
      </p:sp>
      <p:sp>
        <p:nvSpPr>
          <p:cNvPr id="101" name="Line 65">
            <a:extLst>
              <a:ext uri="{FF2B5EF4-FFF2-40B4-BE49-F238E27FC236}">
                <a16:creationId xmlns:a16="http://schemas.microsoft.com/office/drawing/2014/main" id="{38CDC36D-8415-0956-21AE-26216EDA9A09}"/>
              </a:ext>
            </a:extLst>
          </p:cNvPr>
          <p:cNvSpPr>
            <a:spLocks noChangeShapeType="1"/>
          </p:cNvSpPr>
          <p:nvPr/>
        </p:nvSpPr>
        <p:spPr bwMode="auto">
          <a:xfrm>
            <a:off x="7567004" y="2122213"/>
            <a:ext cx="270000" cy="0"/>
          </a:xfrm>
          <a:prstGeom prst="line">
            <a:avLst/>
          </a:prstGeom>
          <a:noFill/>
          <a:ln w="25400">
            <a:solidFill>
              <a:schemeClr val="accent5"/>
            </a:solidFill>
            <a:round/>
            <a:headEnd type="none" w="med" len="med"/>
            <a:tailEnd type="triangle" w="med" len="med"/>
          </a:ln>
        </p:spPr>
        <p:txBody>
          <a:bodyPr wrap="square" lIns="62308" tIns="29908" rIns="62308" bIns="29908">
            <a:noAutofit/>
          </a:bodyPr>
          <a:lstStyle/>
          <a:p>
            <a:endParaRPr lang="en-GB" sz="761" noProof="0" dirty="0">
              <a:ln>
                <a:solidFill>
                  <a:schemeClr val="tx1"/>
                </a:solidFill>
                <a:prstDash val="solid"/>
              </a:ln>
            </a:endParaRPr>
          </a:p>
        </p:txBody>
      </p:sp>
      <p:sp>
        <p:nvSpPr>
          <p:cNvPr id="104" name="TextBox 8">
            <a:extLst>
              <a:ext uri="{FF2B5EF4-FFF2-40B4-BE49-F238E27FC236}">
                <a16:creationId xmlns:a16="http://schemas.microsoft.com/office/drawing/2014/main" id="{850BC91D-9D3B-56AC-C755-5AA3BB2F29B1}"/>
              </a:ext>
            </a:extLst>
          </p:cNvPr>
          <p:cNvSpPr txBox="1"/>
          <p:nvPr/>
        </p:nvSpPr>
        <p:spPr>
          <a:xfrm rot="16200000">
            <a:off x="167375" y="2644869"/>
            <a:ext cx="1094460" cy="164732"/>
          </a:xfrm>
          <a:prstGeom prst="rect">
            <a:avLst/>
          </a:prstGeom>
          <a:noFill/>
        </p:spPr>
        <p:txBody>
          <a:bodyPr wrap="square" lIns="0" tIns="0" rIns="0" bIns="0" rtlCol="0">
            <a:noAutofit/>
          </a:bodyPr>
          <a:lstStyle/>
          <a:p>
            <a:pPr algn="ctr" defTabSz="247650">
              <a:spcBef>
                <a:spcPts val="225"/>
              </a:spcBef>
            </a:pPr>
            <a:r>
              <a:rPr lang="en-GB" sz="788" b="1" kern="0" noProof="0" dirty="0">
                <a:solidFill>
                  <a:schemeClr val="accent1"/>
                </a:solidFill>
                <a:latin typeface="Corbel" pitchFamily="34" charset="0"/>
              </a:rPr>
              <a:t>Household packaging</a:t>
            </a:r>
          </a:p>
          <a:p>
            <a:pPr algn="ctr" defTabSz="247650">
              <a:spcBef>
                <a:spcPts val="225"/>
              </a:spcBef>
            </a:pPr>
            <a:endParaRPr lang="en-GB" sz="788" b="1" kern="0" noProof="0" dirty="0">
              <a:solidFill>
                <a:schemeClr val="accent1"/>
              </a:solidFill>
              <a:latin typeface="Corbel" pitchFamily="34" charset="0"/>
            </a:endParaRPr>
          </a:p>
        </p:txBody>
      </p:sp>
      <p:sp>
        <p:nvSpPr>
          <p:cNvPr id="110" name="Text Box 70">
            <a:extLst>
              <a:ext uri="{FF2B5EF4-FFF2-40B4-BE49-F238E27FC236}">
                <a16:creationId xmlns:a16="http://schemas.microsoft.com/office/drawing/2014/main" id="{6DA5D70B-7664-79EE-16FE-338B7EE8099F}"/>
              </a:ext>
            </a:extLst>
          </p:cNvPr>
          <p:cNvSpPr txBox="1">
            <a:spLocks noChangeArrowheads="1"/>
          </p:cNvSpPr>
          <p:nvPr/>
        </p:nvSpPr>
        <p:spPr bwMode="auto">
          <a:xfrm>
            <a:off x="1416114" y="2112400"/>
            <a:ext cx="1114568" cy="372024"/>
          </a:xfrm>
          <a:prstGeom prst="rect">
            <a:avLst/>
          </a:prstGeom>
          <a:noFill/>
          <a:ln w="12700">
            <a:noFill/>
            <a:miter lim="800000"/>
            <a:headEnd/>
            <a:tailEnd/>
          </a:ln>
        </p:spPr>
        <p:txBody>
          <a:bodyPr lIns="62308" tIns="29908" rIns="62308" bIns="29908">
            <a:spAutoFit/>
          </a:bodyPr>
          <a:lstStyle/>
          <a:p>
            <a:pPr defTabSz="685800" fontAlgn="base">
              <a:spcBef>
                <a:spcPct val="50000"/>
              </a:spcBef>
              <a:spcAft>
                <a:spcPct val="0"/>
              </a:spcAft>
              <a:buClr>
                <a:srgbClr val="41474C"/>
              </a:buClr>
            </a:pPr>
            <a:r>
              <a:rPr kumimoji="1" lang="en-GB" sz="675" noProof="0" dirty="0">
                <a:solidFill>
                  <a:srgbClr val="41474C"/>
                </a:solidFill>
                <a:latin typeface="Calibri" panose="020F0502020204030204" pitchFamily="34" charset="0"/>
                <a:cs typeface="Arial" charset="0"/>
              </a:rPr>
              <a:t>Bin collection from </a:t>
            </a:r>
            <a:br>
              <a:rPr kumimoji="1" lang="en-GB" sz="675" noProof="0" dirty="0">
                <a:solidFill>
                  <a:srgbClr val="41474C"/>
                </a:solidFill>
                <a:latin typeface="Calibri" panose="020F0502020204030204" pitchFamily="34" charset="0"/>
                <a:cs typeface="Arial" charset="0"/>
              </a:rPr>
            </a:br>
            <a:r>
              <a:rPr kumimoji="1" lang="en-GB" sz="675" noProof="0" dirty="0">
                <a:solidFill>
                  <a:srgbClr val="41474C"/>
                </a:solidFill>
                <a:latin typeface="Calibri" panose="020F0502020204030204" pitchFamily="34" charset="0"/>
                <a:cs typeface="Arial" charset="0"/>
              </a:rPr>
              <a:t>public collection </a:t>
            </a:r>
            <a:br>
              <a:rPr kumimoji="1" lang="en-GB" sz="675" noProof="0" dirty="0">
                <a:solidFill>
                  <a:srgbClr val="41474C"/>
                </a:solidFill>
                <a:latin typeface="Calibri" panose="020F0502020204030204" pitchFamily="34" charset="0"/>
                <a:cs typeface="Arial" charset="0"/>
              </a:rPr>
            </a:br>
            <a:r>
              <a:rPr kumimoji="1" lang="en-GB" sz="675" noProof="0" dirty="0">
                <a:solidFill>
                  <a:srgbClr val="41474C"/>
                </a:solidFill>
                <a:latin typeface="Calibri" panose="020F0502020204030204" pitchFamily="34" charset="0"/>
                <a:cs typeface="Arial" charset="0"/>
              </a:rPr>
              <a:t>points</a:t>
            </a:r>
          </a:p>
        </p:txBody>
      </p:sp>
      <p:sp>
        <p:nvSpPr>
          <p:cNvPr id="111" name="Text Box 74">
            <a:extLst>
              <a:ext uri="{FF2B5EF4-FFF2-40B4-BE49-F238E27FC236}">
                <a16:creationId xmlns:a16="http://schemas.microsoft.com/office/drawing/2014/main" id="{DCC35A56-FA72-9CBB-6022-F025083E5A55}"/>
              </a:ext>
            </a:extLst>
          </p:cNvPr>
          <p:cNvSpPr txBox="1">
            <a:spLocks noChangeArrowheads="1"/>
          </p:cNvSpPr>
          <p:nvPr/>
        </p:nvSpPr>
        <p:spPr bwMode="auto">
          <a:xfrm>
            <a:off x="1416114" y="2631195"/>
            <a:ext cx="1063913" cy="372024"/>
          </a:xfrm>
          <a:prstGeom prst="rect">
            <a:avLst/>
          </a:prstGeom>
          <a:noFill/>
          <a:ln w="12700">
            <a:noFill/>
            <a:miter lim="800000"/>
            <a:headEnd/>
            <a:tailEnd/>
          </a:ln>
        </p:spPr>
        <p:txBody>
          <a:bodyPr lIns="62308" tIns="29908" rIns="62308" bIns="29908">
            <a:spAutoFit/>
          </a:bodyPr>
          <a:lstStyle/>
          <a:p>
            <a:pPr defTabSz="685800" fontAlgn="base">
              <a:spcBef>
                <a:spcPct val="50000"/>
              </a:spcBef>
              <a:spcAft>
                <a:spcPct val="0"/>
              </a:spcAft>
              <a:buClr>
                <a:srgbClr val="41474C"/>
              </a:buClr>
            </a:pPr>
            <a:r>
              <a:rPr kumimoji="1" lang="en-GB" sz="675" noProof="0" dirty="0">
                <a:solidFill>
                  <a:srgbClr val="41474C"/>
                </a:solidFill>
                <a:latin typeface="Calibri" panose="020F0502020204030204" pitchFamily="34" charset="0"/>
                <a:cs typeface="Arial" charset="0"/>
              </a:rPr>
              <a:t>Bin collection </a:t>
            </a:r>
            <a:br>
              <a:rPr kumimoji="1" lang="en-GB" sz="675" noProof="0" dirty="0">
                <a:solidFill>
                  <a:srgbClr val="41474C"/>
                </a:solidFill>
                <a:latin typeface="Calibri" panose="020F0502020204030204" pitchFamily="34" charset="0"/>
                <a:cs typeface="Arial" charset="0"/>
              </a:rPr>
            </a:br>
            <a:r>
              <a:rPr kumimoji="1" lang="en-GB" sz="675" noProof="0" dirty="0">
                <a:solidFill>
                  <a:srgbClr val="41474C"/>
                </a:solidFill>
                <a:latin typeface="Calibri" panose="020F0502020204030204" pitchFamily="34" charset="0"/>
                <a:cs typeface="Arial" charset="0"/>
              </a:rPr>
              <a:t>from small </a:t>
            </a:r>
            <a:br>
              <a:rPr kumimoji="1" lang="en-GB" sz="675" noProof="0" dirty="0">
                <a:solidFill>
                  <a:srgbClr val="41474C"/>
                </a:solidFill>
                <a:latin typeface="Calibri" panose="020F0502020204030204" pitchFamily="34" charset="0"/>
                <a:cs typeface="Arial" charset="0"/>
              </a:rPr>
            </a:br>
            <a:r>
              <a:rPr kumimoji="1" lang="en-GB" sz="675" noProof="0" dirty="0">
                <a:solidFill>
                  <a:srgbClr val="41474C"/>
                </a:solidFill>
                <a:latin typeface="Calibri" panose="020F0502020204030204" pitchFamily="34" charset="0"/>
                <a:cs typeface="Arial" charset="0"/>
              </a:rPr>
              <a:t>businesses</a:t>
            </a:r>
          </a:p>
        </p:txBody>
      </p:sp>
      <p:grpSp>
        <p:nvGrpSpPr>
          <p:cNvPr id="113" name="Gruppieren 112">
            <a:extLst>
              <a:ext uri="{FF2B5EF4-FFF2-40B4-BE49-F238E27FC236}">
                <a16:creationId xmlns:a16="http://schemas.microsoft.com/office/drawing/2014/main" id="{96D49174-FE5B-4EE2-28DE-5EC0F2988FB7}"/>
              </a:ext>
            </a:extLst>
          </p:cNvPr>
          <p:cNvGrpSpPr/>
          <p:nvPr/>
        </p:nvGrpSpPr>
        <p:grpSpPr>
          <a:xfrm>
            <a:off x="4246009" y="1675954"/>
            <a:ext cx="1186589" cy="745106"/>
            <a:chOff x="4861572" y="2223413"/>
            <a:chExt cx="1784713" cy="1120693"/>
          </a:xfrm>
        </p:grpSpPr>
        <p:sp>
          <p:nvSpPr>
            <p:cNvPr id="114" name="Line 36">
              <a:extLst>
                <a:ext uri="{FF2B5EF4-FFF2-40B4-BE49-F238E27FC236}">
                  <a16:creationId xmlns:a16="http://schemas.microsoft.com/office/drawing/2014/main" id="{368E3BA0-94CC-DA9F-0C5B-FC9DE5BBA14B}"/>
                </a:ext>
              </a:extLst>
            </p:cNvPr>
            <p:cNvSpPr>
              <a:spLocks noChangeShapeType="1"/>
            </p:cNvSpPr>
            <p:nvPr/>
          </p:nvSpPr>
          <p:spPr bwMode="auto">
            <a:xfrm rot="16200000" flipV="1">
              <a:off x="4674694" y="2842319"/>
              <a:ext cx="609150" cy="0"/>
            </a:xfrm>
            <a:prstGeom prst="line">
              <a:avLst/>
            </a:prstGeom>
            <a:noFill/>
            <a:ln w="22225">
              <a:solidFill>
                <a:schemeClr val="accent5"/>
              </a:solidFill>
              <a:round/>
              <a:headEnd type="none" w="med" len="med"/>
              <a:tailEnd type="none" w="med" len="med"/>
            </a:ln>
          </p:spPr>
          <p:txBody>
            <a:bodyPr lIns="62308" tIns="29908" rIns="62308" bIns="29908">
              <a:spAutoFit/>
            </a:bodyPr>
            <a:lstStyle/>
            <a:p>
              <a:endParaRPr lang="en-GB" sz="675" noProof="0" dirty="0"/>
            </a:p>
          </p:txBody>
        </p:sp>
        <p:sp>
          <p:nvSpPr>
            <p:cNvPr id="115" name="Text Box 50">
              <a:extLst>
                <a:ext uri="{FF2B5EF4-FFF2-40B4-BE49-F238E27FC236}">
                  <a16:creationId xmlns:a16="http://schemas.microsoft.com/office/drawing/2014/main" id="{E3765795-E293-79D3-EEEA-3425E2AD34AE}"/>
                </a:ext>
              </a:extLst>
            </p:cNvPr>
            <p:cNvSpPr txBox="1">
              <a:spLocks noChangeArrowheads="1"/>
            </p:cNvSpPr>
            <p:nvPr/>
          </p:nvSpPr>
          <p:spPr bwMode="auto">
            <a:xfrm>
              <a:off x="5368356" y="2223413"/>
              <a:ext cx="1277929" cy="559551"/>
            </a:xfrm>
            <a:prstGeom prst="rect">
              <a:avLst/>
            </a:prstGeom>
            <a:noFill/>
            <a:ln w="12700">
              <a:noFill/>
              <a:miter lim="800000"/>
              <a:headEnd/>
              <a:tailEnd/>
            </a:ln>
          </p:spPr>
          <p:txBody>
            <a:bodyPr wrap="square" lIns="62308" tIns="29908" rIns="62308" bIns="29908">
              <a:spAutoFit/>
            </a:bodyPr>
            <a:lstStyle/>
            <a:p>
              <a:pPr algn="ctr" defTabSz="685800" fontAlgn="base">
                <a:spcBef>
                  <a:spcPct val="50000"/>
                </a:spcBef>
                <a:spcAft>
                  <a:spcPct val="0"/>
                </a:spcAft>
                <a:buClr>
                  <a:srgbClr val="41474C"/>
                </a:buClr>
              </a:pPr>
              <a:r>
                <a:rPr kumimoji="1" lang="en-GB" sz="675" i="1" noProof="0" dirty="0">
                  <a:solidFill>
                    <a:srgbClr val="009252"/>
                  </a:solidFill>
                  <a:latin typeface="Calibri" panose="020F0502020204030204" pitchFamily="34" charset="0"/>
                  <a:cs typeface="Arial" charset="0"/>
                </a:rPr>
                <a:t>Collected material </a:t>
              </a:r>
              <a:br>
                <a:rPr kumimoji="1" lang="en-GB" sz="675" i="1" noProof="0" dirty="0">
                  <a:solidFill>
                    <a:srgbClr val="009252"/>
                  </a:solidFill>
                  <a:latin typeface="Calibri" panose="020F0502020204030204" pitchFamily="34" charset="0"/>
                  <a:cs typeface="Arial" charset="0"/>
                </a:rPr>
              </a:br>
              <a:r>
                <a:rPr kumimoji="1" lang="en-GB" sz="675" i="1" noProof="0" dirty="0">
                  <a:solidFill>
                    <a:srgbClr val="009252"/>
                  </a:solidFill>
                  <a:latin typeface="Calibri" panose="020F0502020204030204" pitchFamily="34" charset="0"/>
                  <a:cs typeface="Arial" charset="0"/>
                </a:rPr>
                <a:t>to co-using household systems</a:t>
              </a:r>
            </a:p>
          </p:txBody>
        </p:sp>
        <p:sp>
          <p:nvSpPr>
            <p:cNvPr id="116" name="Line 36">
              <a:extLst>
                <a:ext uri="{FF2B5EF4-FFF2-40B4-BE49-F238E27FC236}">
                  <a16:creationId xmlns:a16="http://schemas.microsoft.com/office/drawing/2014/main" id="{0B110973-A84B-32D3-85FA-6F553D259B88}"/>
                </a:ext>
              </a:extLst>
            </p:cNvPr>
            <p:cNvSpPr>
              <a:spLocks noChangeShapeType="1"/>
            </p:cNvSpPr>
            <p:nvPr/>
          </p:nvSpPr>
          <p:spPr bwMode="auto">
            <a:xfrm flipV="1">
              <a:off x="4979280" y="2549850"/>
              <a:ext cx="446709" cy="0"/>
            </a:xfrm>
            <a:prstGeom prst="line">
              <a:avLst/>
            </a:prstGeom>
            <a:noFill/>
            <a:ln w="22225">
              <a:solidFill>
                <a:schemeClr val="accent5"/>
              </a:solidFill>
              <a:round/>
              <a:headEnd/>
              <a:tailEnd type="triangle" w="med" len="med"/>
            </a:ln>
          </p:spPr>
          <p:txBody>
            <a:bodyPr lIns="62308" tIns="29908" rIns="62308" bIns="29908">
              <a:spAutoFit/>
            </a:bodyPr>
            <a:lstStyle/>
            <a:p>
              <a:endParaRPr lang="en-GB" sz="675" noProof="0" dirty="0"/>
            </a:p>
          </p:txBody>
        </p:sp>
        <p:sp>
          <p:nvSpPr>
            <p:cNvPr id="117" name="Ellipse 116">
              <a:extLst>
                <a:ext uri="{FF2B5EF4-FFF2-40B4-BE49-F238E27FC236}">
                  <a16:creationId xmlns:a16="http://schemas.microsoft.com/office/drawing/2014/main" id="{6840D4D1-3BE8-2B4A-6B93-3697FD1A687C}"/>
                </a:ext>
              </a:extLst>
            </p:cNvPr>
            <p:cNvSpPr/>
            <p:nvPr/>
          </p:nvSpPr>
          <p:spPr>
            <a:xfrm>
              <a:off x="4861572" y="3111427"/>
              <a:ext cx="230909" cy="232679"/>
            </a:xfrm>
            <a:prstGeom prst="ellipse">
              <a:avLst/>
            </a:prstGeom>
            <a:solidFill>
              <a:srgbClr val="009252"/>
            </a:solidFill>
            <a:ln>
              <a:solidFill>
                <a:schemeClr val="bg1"/>
              </a:solidFill>
            </a:ln>
          </p:spPr>
          <p:txBody>
            <a:bodyPr lIns="0" tIns="0" rIns="0" bIns="0" rtlCol="0" anchor="ctr">
              <a:noAutofit/>
            </a:bodyPr>
            <a:lstStyle/>
            <a:p>
              <a:pPr algn="ctr" defTabSz="247650">
                <a:spcBef>
                  <a:spcPts val="225"/>
                </a:spcBef>
              </a:pPr>
              <a:r>
                <a:rPr lang="en-GB" sz="600" kern="0" noProof="0" dirty="0">
                  <a:solidFill>
                    <a:schemeClr val="bg1"/>
                  </a:solidFill>
                  <a:latin typeface="Corbel" pitchFamily="34" charset="0"/>
                </a:rPr>
                <a:t>%</a:t>
              </a:r>
              <a:endParaRPr lang="en-GB" sz="825" kern="0" noProof="0" dirty="0">
                <a:solidFill>
                  <a:schemeClr val="bg1"/>
                </a:solidFill>
                <a:latin typeface="Corbel" pitchFamily="34" charset="0"/>
              </a:endParaRPr>
            </a:p>
          </p:txBody>
        </p:sp>
      </p:grpSp>
      <p:pic>
        <p:nvPicPr>
          <p:cNvPr id="31" name="Grafik 30">
            <a:extLst>
              <a:ext uri="{FF2B5EF4-FFF2-40B4-BE49-F238E27FC236}">
                <a16:creationId xmlns:a16="http://schemas.microsoft.com/office/drawing/2014/main" id="{9FAE423C-FEFE-DFEA-E246-AC948212AA9E}"/>
              </a:ext>
            </a:extLst>
          </p:cNvPr>
          <p:cNvPicPr>
            <a:picLocks noChangeAspect="1"/>
          </p:cNvPicPr>
          <p:nvPr/>
        </p:nvPicPr>
        <p:blipFill>
          <a:blip r:embed="rId2"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002769" y="3074546"/>
            <a:ext cx="270000" cy="270000"/>
          </a:xfrm>
          <a:prstGeom prst="rect">
            <a:avLst/>
          </a:prstGeom>
        </p:spPr>
      </p:pic>
      <p:grpSp>
        <p:nvGrpSpPr>
          <p:cNvPr id="129" name="Gruppieren 128">
            <a:extLst>
              <a:ext uri="{FF2B5EF4-FFF2-40B4-BE49-F238E27FC236}">
                <a16:creationId xmlns:a16="http://schemas.microsoft.com/office/drawing/2014/main" id="{0FFA8F3E-9B3B-567F-8962-7ED0EF9A50CB}"/>
              </a:ext>
            </a:extLst>
          </p:cNvPr>
          <p:cNvGrpSpPr/>
          <p:nvPr/>
        </p:nvGrpSpPr>
        <p:grpSpPr>
          <a:xfrm>
            <a:off x="3867671" y="1168665"/>
            <a:ext cx="972000" cy="287220"/>
            <a:chOff x="3578636" y="1719615"/>
            <a:chExt cx="1088205" cy="382960"/>
          </a:xfrm>
          <a:solidFill>
            <a:schemeClr val="accent1"/>
          </a:solidFill>
        </p:grpSpPr>
        <p:sp>
          <p:nvSpPr>
            <p:cNvPr id="130" name="Chevron 94">
              <a:extLst>
                <a:ext uri="{FF2B5EF4-FFF2-40B4-BE49-F238E27FC236}">
                  <a16:creationId xmlns:a16="http://schemas.microsoft.com/office/drawing/2014/main" id="{BAB94517-C087-A3CF-8EF5-009BD2726458}"/>
                </a:ext>
              </a:extLst>
            </p:cNvPr>
            <p:cNvSpPr/>
            <p:nvPr/>
          </p:nvSpPr>
          <p:spPr>
            <a:xfrm>
              <a:off x="3578636" y="1719615"/>
              <a:ext cx="1053141" cy="382960"/>
            </a:xfrm>
            <a:prstGeom prst="chevron">
              <a:avLst/>
            </a:prstGeom>
            <a:solidFill>
              <a:schemeClr val="accent1"/>
            </a:solidFill>
            <a:ln>
              <a:solidFill>
                <a:srgbClr val="009252"/>
              </a:solidFill>
            </a:ln>
          </p:spPr>
          <p:txBody>
            <a:bodyPr lIns="0" tIns="0" rIns="0" bIns="0" rtlCol="0" anchor="ctr">
              <a:noAutofit/>
            </a:bodyPr>
            <a:lstStyle/>
            <a:p>
              <a:pPr marL="207169" indent="-207169" algn="ctr" defTabSz="247650">
                <a:spcBef>
                  <a:spcPts val="225"/>
                </a:spcBef>
                <a:buFont typeface="Symbol" pitchFamily="18" charset="2"/>
                <a:buChar char="-"/>
              </a:pPr>
              <a:endParaRPr lang="en-GB" sz="1050" kern="0" noProof="0" dirty="0">
                <a:solidFill>
                  <a:schemeClr val="bg1"/>
                </a:solidFill>
                <a:latin typeface="Corbel" pitchFamily="34" charset="0"/>
              </a:endParaRPr>
            </a:p>
          </p:txBody>
        </p:sp>
        <p:sp>
          <p:nvSpPr>
            <p:cNvPr id="131" name="Text Box 15">
              <a:extLst>
                <a:ext uri="{FF2B5EF4-FFF2-40B4-BE49-F238E27FC236}">
                  <a16:creationId xmlns:a16="http://schemas.microsoft.com/office/drawing/2014/main" id="{B1EDB7B7-F43B-8636-4288-18FDFFF00236}"/>
                </a:ext>
              </a:extLst>
            </p:cNvPr>
            <p:cNvSpPr txBox="1">
              <a:spLocks noChangeArrowheads="1"/>
            </p:cNvSpPr>
            <p:nvPr/>
          </p:nvSpPr>
          <p:spPr bwMode="auto">
            <a:xfrm>
              <a:off x="3653592" y="1780577"/>
              <a:ext cx="1013249" cy="244681"/>
            </a:xfrm>
            <a:prstGeom prst="rect">
              <a:avLst/>
            </a:prstGeom>
            <a:noFill/>
            <a:ln w="12700">
              <a:noFill/>
              <a:miter lim="800000"/>
              <a:headEnd/>
              <a:tailEnd/>
            </a:ln>
          </p:spPr>
          <p:txBody>
            <a:bodyPr lIns="62308" tIns="29908" rIns="62308" bIns="29908" anchor="ctr">
              <a:spAutoFit/>
            </a:bodyPr>
            <a:lstStyle/>
            <a:p>
              <a:pPr algn="ctr">
                <a:spcBef>
                  <a:spcPct val="50000"/>
                </a:spcBef>
              </a:pPr>
              <a:r>
                <a:rPr lang="en-GB" sz="800" noProof="0" dirty="0">
                  <a:solidFill>
                    <a:schemeClr val="bg1"/>
                  </a:solidFill>
                </a:rPr>
                <a:t>transfer</a:t>
              </a:r>
            </a:p>
          </p:txBody>
        </p:sp>
      </p:grpSp>
      <p:grpSp>
        <p:nvGrpSpPr>
          <p:cNvPr id="145" name="Grafik 30">
            <a:extLst>
              <a:ext uri="{FF2B5EF4-FFF2-40B4-BE49-F238E27FC236}">
                <a16:creationId xmlns:a16="http://schemas.microsoft.com/office/drawing/2014/main" id="{4995E0DE-755B-78C4-A71C-2107FCB2BD6A}"/>
              </a:ext>
            </a:extLst>
          </p:cNvPr>
          <p:cNvGrpSpPr/>
          <p:nvPr/>
        </p:nvGrpSpPr>
        <p:grpSpPr>
          <a:xfrm>
            <a:off x="3321130" y="3086113"/>
            <a:ext cx="367234" cy="223936"/>
            <a:chOff x="3744051" y="3270351"/>
            <a:chExt cx="539124" cy="328753"/>
          </a:xfrm>
          <a:solidFill>
            <a:schemeClr val="accent1"/>
          </a:solidFill>
        </p:grpSpPr>
        <p:grpSp>
          <p:nvGrpSpPr>
            <p:cNvPr id="146" name="Grafik 30">
              <a:extLst>
                <a:ext uri="{FF2B5EF4-FFF2-40B4-BE49-F238E27FC236}">
                  <a16:creationId xmlns:a16="http://schemas.microsoft.com/office/drawing/2014/main" id="{E7AB93EA-17CA-1CDE-20DF-0F025E58CD89}"/>
                </a:ext>
              </a:extLst>
            </p:cNvPr>
            <p:cNvGrpSpPr/>
            <p:nvPr/>
          </p:nvGrpSpPr>
          <p:grpSpPr>
            <a:xfrm>
              <a:off x="3744051" y="3270351"/>
              <a:ext cx="539124" cy="328753"/>
              <a:chOff x="3744051" y="3270351"/>
              <a:chExt cx="539124" cy="328753"/>
            </a:xfrm>
            <a:grpFill/>
          </p:grpSpPr>
          <p:grpSp>
            <p:nvGrpSpPr>
              <p:cNvPr id="147" name="Grafik 30">
                <a:extLst>
                  <a:ext uri="{FF2B5EF4-FFF2-40B4-BE49-F238E27FC236}">
                    <a16:creationId xmlns:a16="http://schemas.microsoft.com/office/drawing/2014/main" id="{CE560EE5-4CF4-F259-7842-40E601ACA812}"/>
                  </a:ext>
                </a:extLst>
              </p:cNvPr>
              <p:cNvGrpSpPr/>
              <p:nvPr/>
            </p:nvGrpSpPr>
            <p:grpSpPr>
              <a:xfrm>
                <a:off x="3744051" y="3270351"/>
                <a:ext cx="539124" cy="328753"/>
                <a:chOff x="3744051" y="3270351"/>
                <a:chExt cx="539124" cy="328753"/>
              </a:xfrm>
              <a:grpFill/>
            </p:grpSpPr>
            <p:sp>
              <p:nvSpPr>
                <p:cNvPr id="148" name="Freihandform: Form 147">
                  <a:extLst>
                    <a:ext uri="{FF2B5EF4-FFF2-40B4-BE49-F238E27FC236}">
                      <a16:creationId xmlns:a16="http://schemas.microsoft.com/office/drawing/2014/main" id="{4683D32F-20D8-94F6-BDB1-9D0AE3194A0D}"/>
                    </a:ext>
                  </a:extLst>
                </p:cNvPr>
                <p:cNvSpPr/>
                <p:nvPr/>
              </p:nvSpPr>
              <p:spPr>
                <a:xfrm>
                  <a:off x="4152929" y="3513541"/>
                  <a:ext cx="54380" cy="54380"/>
                </a:xfrm>
                <a:custGeom>
                  <a:avLst/>
                  <a:gdLst>
                    <a:gd name="connsiteX0" fmla="*/ 27190 w 54380"/>
                    <a:gd name="connsiteY0" fmla="*/ 0 h 54380"/>
                    <a:gd name="connsiteX1" fmla="*/ 0 w 54380"/>
                    <a:gd name="connsiteY1" fmla="*/ 27190 h 54380"/>
                    <a:gd name="connsiteX2" fmla="*/ 27190 w 54380"/>
                    <a:gd name="connsiteY2" fmla="*/ 54380 h 54380"/>
                    <a:gd name="connsiteX3" fmla="*/ 54380 w 54380"/>
                    <a:gd name="connsiteY3" fmla="*/ 27190 h 54380"/>
                    <a:gd name="connsiteX4" fmla="*/ 27190 w 54380"/>
                    <a:gd name="connsiteY4" fmla="*/ 0 h 54380"/>
                    <a:gd name="connsiteX5" fmla="*/ 27190 w 54380"/>
                    <a:gd name="connsiteY5" fmla="*/ 37268 h 54380"/>
                    <a:gd name="connsiteX6" fmla="*/ 17113 w 54380"/>
                    <a:gd name="connsiteY6" fmla="*/ 27190 h 54380"/>
                    <a:gd name="connsiteX7" fmla="*/ 27190 w 54380"/>
                    <a:gd name="connsiteY7" fmla="*/ 17113 h 54380"/>
                    <a:gd name="connsiteX8" fmla="*/ 37268 w 54380"/>
                    <a:gd name="connsiteY8" fmla="*/ 27190 h 54380"/>
                    <a:gd name="connsiteX9" fmla="*/ 27190 w 54380"/>
                    <a:gd name="connsiteY9" fmla="*/ 37268 h 54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380" h="54380">
                      <a:moveTo>
                        <a:pt x="27190" y="0"/>
                      </a:moveTo>
                      <a:cubicBezTo>
                        <a:pt x="12169" y="0"/>
                        <a:pt x="0" y="12169"/>
                        <a:pt x="0" y="27190"/>
                      </a:cubicBezTo>
                      <a:cubicBezTo>
                        <a:pt x="0" y="42211"/>
                        <a:pt x="12169" y="54380"/>
                        <a:pt x="27190" y="54380"/>
                      </a:cubicBezTo>
                      <a:cubicBezTo>
                        <a:pt x="42211" y="54380"/>
                        <a:pt x="54380" y="42211"/>
                        <a:pt x="54380" y="27190"/>
                      </a:cubicBezTo>
                      <a:cubicBezTo>
                        <a:pt x="54380" y="12169"/>
                        <a:pt x="42211" y="0"/>
                        <a:pt x="27190" y="0"/>
                      </a:cubicBezTo>
                      <a:close/>
                      <a:moveTo>
                        <a:pt x="27190" y="37268"/>
                      </a:moveTo>
                      <a:cubicBezTo>
                        <a:pt x="21676" y="37268"/>
                        <a:pt x="17113" y="32704"/>
                        <a:pt x="17113" y="27190"/>
                      </a:cubicBezTo>
                      <a:cubicBezTo>
                        <a:pt x="17113" y="21676"/>
                        <a:pt x="21676" y="17113"/>
                        <a:pt x="27190" y="17113"/>
                      </a:cubicBezTo>
                      <a:cubicBezTo>
                        <a:pt x="32704" y="17113"/>
                        <a:pt x="37268" y="21676"/>
                        <a:pt x="37268" y="27190"/>
                      </a:cubicBezTo>
                      <a:cubicBezTo>
                        <a:pt x="37268" y="32704"/>
                        <a:pt x="32704" y="37268"/>
                        <a:pt x="27190" y="37268"/>
                      </a:cubicBezTo>
                      <a:close/>
                    </a:path>
                  </a:pathLst>
                </a:custGeom>
                <a:grpFill/>
                <a:ln w="1878" cap="flat">
                  <a:noFill/>
                  <a:prstDash val="solid"/>
                  <a:miter/>
                </a:ln>
              </p:spPr>
              <p:txBody>
                <a:bodyPr rtlCol="0" anchor="ctr"/>
                <a:lstStyle/>
                <a:p>
                  <a:endParaRPr lang="en-GB" noProof="0" dirty="0"/>
                </a:p>
              </p:txBody>
            </p:sp>
            <p:sp>
              <p:nvSpPr>
                <p:cNvPr id="149" name="Freihandform: Form 148">
                  <a:extLst>
                    <a:ext uri="{FF2B5EF4-FFF2-40B4-BE49-F238E27FC236}">
                      <a16:creationId xmlns:a16="http://schemas.microsoft.com/office/drawing/2014/main" id="{F2D1DAAD-483C-2E42-814B-F6707708732C}"/>
                    </a:ext>
                  </a:extLst>
                </p:cNvPr>
                <p:cNvSpPr/>
                <p:nvPr/>
              </p:nvSpPr>
              <p:spPr>
                <a:xfrm>
                  <a:off x="3850225" y="3513541"/>
                  <a:ext cx="54380" cy="54380"/>
                </a:xfrm>
                <a:custGeom>
                  <a:avLst/>
                  <a:gdLst>
                    <a:gd name="connsiteX0" fmla="*/ 27190 w 54380"/>
                    <a:gd name="connsiteY0" fmla="*/ 0 h 54380"/>
                    <a:gd name="connsiteX1" fmla="*/ 0 w 54380"/>
                    <a:gd name="connsiteY1" fmla="*/ 27190 h 54380"/>
                    <a:gd name="connsiteX2" fmla="*/ 27190 w 54380"/>
                    <a:gd name="connsiteY2" fmla="*/ 54380 h 54380"/>
                    <a:gd name="connsiteX3" fmla="*/ 54380 w 54380"/>
                    <a:gd name="connsiteY3" fmla="*/ 27190 h 54380"/>
                    <a:gd name="connsiteX4" fmla="*/ 27190 w 54380"/>
                    <a:gd name="connsiteY4" fmla="*/ 0 h 54380"/>
                    <a:gd name="connsiteX5" fmla="*/ 27190 w 54380"/>
                    <a:gd name="connsiteY5" fmla="*/ 37268 h 54380"/>
                    <a:gd name="connsiteX6" fmla="*/ 17113 w 54380"/>
                    <a:gd name="connsiteY6" fmla="*/ 27190 h 54380"/>
                    <a:gd name="connsiteX7" fmla="*/ 27190 w 54380"/>
                    <a:gd name="connsiteY7" fmla="*/ 17113 h 54380"/>
                    <a:gd name="connsiteX8" fmla="*/ 37268 w 54380"/>
                    <a:gd name="connsiteY8" fmla="*/ 27190 h 54380"/>
                    <a:gd name="connsiteX9" fmla="*/ 27190 w 54380"/>
                    <a:gd name="connsiteY9" fmla="*/ 37268 h 54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380" h="54380">
                      <a:moveTo>
                        <a:pt x="27190" y="0"/>
                      </a:moveTo>
                      <a:cubicBezTo>
                        <a:pt x="12169" y="0"/>
                        <a:pt x="0" y="12169"/>
                        <a:pt x="0" y="27190"/>
                      </a:cubicBezTo>
                      <a:cubicBezTo>
                        <a:pt x="0" y="42211"/>
                        <a:pt x="12169" y="54380"/>
                        <a:pt x="27190" y="54380"/>
                      </a:cubicBezTo>
                      <a:cubicBezTo>
                        <a:pt x="42211" y="54380"/>
                        <a:pt x="54380" y="42211"/>
                        <a:pt x="54380" y="27190"/>
                      </a:cubicBezTo>
                      <a:cubicBezTo>
                        <a:pt x="54380" y="12169"/>
                        <a:pt x="42211" y="0"/>
                        <a:pt x="27190" y="0"/>
                      </a:cubicBezTo>
                      <a:close/>
                      <a:moveTo>
                        <a:pt x="27190" y="37268"/>
                      </a:moveTo>
                      <a:cubicBezTo>
                        <a:pt x="21676" y="37268"/>
                        <a:pt x="17113" y="32704"/>
                        <a:pt x="17113" y="27190"/>
                      </a:cubicBezTo>
                      <a:cubicBezTo>
                        <a:pt x="17113" y="21676"/>
                        <a:pt x="21676" y="17113"/>
                        <a:pt x="27190" y="17113"/>
                      </a:cubicBezTo>
                      <a:cubicBezTo>
                        <a:pt x="32704" y="17113"/>
                        <a:pt x="37268" y="21676"/>
                        <a:pt x="37268" y="27190"/>
                      </a:cubicBezTo>
                      <a:cubicBezTo>
                        <a:pt x="37268" y="32704"/>
                        <a:pt x="32704" y="37268"/>
                        <a:pt x="27190" y="37268"/>
                      </a:cubicBezTo>
                      <a:close/>
                    </a:path>
                  </a:pathLst>
                </a:custGeom>
                <a:grpFill/>
                <a:ln w="1878" cap="flat">
                  <a:noFill/>
                  <a:prstDash val="solid"/>
                  <a:miter/>
                </a:ln>
              </p:spPr>
              <p:txBody>
                <a:bodyPr rtlCol="0" anchor="ctr"/>
                <a:lstStyle/>
                <a:p>
                  <a:endParaRPr lang="en-GB" noProof="0" dirty="0"/>
                </a:p>
              </p:txBody>
            </p:sp>
            <p:sp>
              <p:nvSpPr>
                <p:cNvPr id="150" name="Freihandform: Form 149">
                  <a:extLst>
                    <a:ext uri="{FF2B5EF4-FFF2-40B4-BE49-F238E27FC236}">
                      <a16:creationId xmlns:a16="http://schemas.microsoft.com/office/drawing/2014/main" id="{EF6BFDF9-E9D7-8C6F-B089-217AD51EC6E3}"/>
                    </a:ext>
                  </a:extLst>
                </p:cNvPr>
                <p:cNvSpPr/>
                <p:nvPr/>
              </p:nvSpPr>
              <p:spPr>
                <a:xfrm>
                  <a:off x="3770366" y="3324541"/>
                  <a:ext cx="512809" cy="274563"/>
                </a:xfrm>
                <a:custGeom>
                  <a:avLst/>
                  <a:gdLst>
                    <a:gd name="connsiteX0" fmla="*/ 506535 w 512809"/>
                    <a:gd name="connsiteY0" fmla="*/ 176070 h 274563"/>
                    <a:gd name="connsiteX1" fmla="*/ 506725 w 512809"/>
                    <a:gd name="connsiteY1" fmla="*/ 175500 h 274563"/>
                    <a:gd name="connsiteX2" fmla="*/ 506725 w 512809"/>
                    <a:gd name="connsiteY2" fmla="*/ 104577 h 274563"/>
                    <a:gd name="connsiteX3" fmla="*/ 505585 w 512809"/>
                    <a:gd name="connsiteY3" fmla="*/ 100394 h 274563"/>
                    <a:gd name="connsiteX4" fmla="*/ 456718 w 512809"/>
                    <a:gd name="connsiteY4" fmla="*/ 11979 h 274563"/>
                    <a:gd name="connsiteX5" fmla="*/ 454056 w 512809"/>
                    <a:gd name="connsiteY5" fmla="*/ 8937 h 274563"/>
                    <a:gd name="connsiteX6" fmla="*/ 442458 w 512809"/>
                    <a:gd name="connsiteY6" fmla="*/ 1331 h 274563"/>
                    <a:gd name="connsiteX7" fmla="*/ 437704 w 512809"/>
                    <a:gd name="connsiteY7" fmla="*/ 0 h 274563"/>
                    <a:gd name="connsiteX8" fmla="*/ 437704 w 512809"/>
                    <a:gd name="connsiteY8" fmla="*/ 0 h 274563"/>
                    <a:gd name="connsiteX9" fmla="*/ 370204 w 512809"/>
                    <a:gd name="connsiteY9" fmla="*/ 0 h 274563"/>
                    <a:gd name="connsiteX10" fmla="*/ 361648 w 512809"/>
                    <a:gd name="connsiteY10" fmla="*/ 8366 h 274563"/>
                    <a:gd name="connsiteX11" fmla="*/ 360697 w 512809"/>
                    <a:gd name="connsiteY11" fmla="*/ 170746 h 274563"/>
                    <a:gd name="connsiteX12" fmla="*/ 144317 w 512809"/>
                    <a:gd name="connsiteY12" fmla="*/ 170746 h 274563"/>
                    <a:gd name="connsiteX13" fmla="*/ 107049 w 512809"/>
                    <a:gd name="connsiteY13" fmla="*/ 157246 h 274563"/>
                    <a:gd name="connsiteX14" fmla="*/ 69782 w 512809"/>
                    <a:gd name="connsiteY14" fmla="*/ 170746 h 274563"/>
                    <a:gd name="connsiteX15" fmla="*/ 12930 w 512809"/>
                    <a:gd name="connsiteY15" fmla="*/ 170746 h 274563"/>
                    <a:gd name="connsiteX16" fmla="*/ 0 w 512809"/>
                    <a:gd name="connsiteY16" fmla="*/ 185958 h 274563"/>
                    <a:gd name="connsiteX17" fmla="*/ 0 w 512809"/>
                    <a:gd name="connsiteY17" fmla="*/ 209155 h 274563"/>
                    <a:gd name="connsiteX18" fmla="*/ 12930 w 512809"/>
                    <a:gd name="connsiteY18" fmla="*/ 224366 h 274563"/>
                    <a:gd name="connsiteX19" fmla="*/ 49056 w 512809"/>
                    <a:gd name="connsiteY19" fmla="*/ 224366 h 274563"/>
                    <a:gd name="connsiteX20" fmla="*/ 107049 w 512809"/>
                    <a:gd name="connsiteY20" fmla="*/ 274563 h 274563"/>
                    <a:gd name="connsiteX21" fmla="*/ 165042 w 512809"/>
                    <a:gd name="connsiteY21" fmla="*/ 224366 h 274563"/>
                    <a:gd name="connsiteX22" fmla="*/ 351951 w 512809"/>
                    <a:gd name="connsiteY22" fmla="*/ 224366 h 274563"/>
                    <a:gd name="connsiteX23" fmla="*/ 409944 w 512809"/>
                    <a:gd name="connsiteY23" fmla="*/ 274563 h 274563"/>
                    <a:gd name="connsiteX24" fmla="*/ 467937 w 512809"/>
                    <a:gd name="connsiteY24" fmla="*/ 223986 h 274563"/>
                    <a:gd name="connsiteX25" fmla="*/ 470599 w 512809"/>
                    <a:gd name="connsiteY25" fmla="*/ 224556 h 274563"/>
                    <a:gd name="connsiteX26" fmla="*/ 505965 w 512809"/>
                    <a:gd name="connsiteY26" fmla="*/ 224556 h 274563"/>
                    <a:gd name="connsiteX27" fmla="*/ 512810 w 512809"/>
                    <a:gd name="connsiteY27" fmla="*/ 217711 h 274563"/>
                    <a:gd name="connsiteX28" fmla="*/ 512810 w 512809"/>
                    <a:gd name="connsiteY28" fmla="*/ 182725 h 274563"/>
                    <a:gd name="connsiteX29" fmla="*/ 506535 w 512809"/>
                    <a:gd name="connsiteY29" fmla="*/ 176070 h 274563"/>
                    <a:gd name="connsiteX30" fmla="*/ 49056 w 512809"/>
                    <a:gd name="connsiteY30" fmla="*/ 207634 h 274563"/>
                    <a:gd name="connsiteX31" fmla="*/ 16923 w 512809"/>
                    <a:gd name="connsiteY31" fmla="*/ 207634 h 274563"/>
                    <a:gd name="connsiteX32" fmla="*/ 16923 w 512809"/>
                    <a:gd name="connsiteY32" fmla="*/ 187859 h 274563"/>
                    <a:gd name="connsiteX33" fmla="*/ 55711 w 512809"/>
                    <a:gd name="connsiteY33" fmla="*/ 187859 h 274563"/>
                    <a:gd name="connsiteX34" fmla="*/ 49056 w 512809"/>
                    <a:gd name="connsiteY34" fmla="*/ 207634 h 274563"/>
                    <a:gd name="connsiteX35" fmla="*/ 107049 w 512809"/>
                    <a:gd name="connsiteY35" fmla="*/ 257641 h 274563"/>
                    <a:gd name="connsiteX36" fmla="*/ 65408 w 512809"/>
                    <a:gd name="connsiteY36" fmla="*/ 216000 h 274563"/>
                    <a:gd name="connsiteX37" fmla="*/ 107049 w 512809"/>
                    <a:gd name="connsiteY37" fmla="*/ 174359 h 274563"/>
                    <a:gd name="connsiteX38" fmla="*/ 148690 w 512809"/>
                    <a:gd name="connsiteY38" fmla="*/ 216000 h 274563"/>
                    <a:gd name="connsiteX39" fmla="*/ 107049 w 512809"/>
                    <a:gd name="connsiteY39" fmla="*/ 257641 h 274563"/>
                    <a:gd name="connsiteX40" fmla="*/ 351761 w 512809"/>
                    <a:gd name="connsiteY40" fmla="*/ 207634 h 274563"/>
                    <a:gd name="connsiteX41" fmla="*/ 164852 w 512809"/>
                    <a:gd name="connsiteY41" fmla="*/ 207634 h 274563"/>
                    <a:gd name="connsiteX42" fmla="*/ 158197 w 512809"/>
                    <a:gd name="connsiteY42" fmla="*/ 187859 h 274563"/>
                    <a:gd name="connsiteX43" fmla="*/ 358225 w 512809"/>
                    <a:gd name="connsiteY43" fmla="*/ 187859 h 274563"/>
                    <a:gd name="connsiteX44" fmla="*/ 351761 w 512809"/>
                    <a:gd name="connsiteY44" fmla="*/ 207634 h 274563"/>
                    <a:gd name="connsiteX45" fmla="*/ 378570 w 512809"/>
                    <a:gd name="connsiteY45" fmla="*/ 17113 h 274563"/>
                    <a:gd name="connsiteX46" fmla="*/ 435232 w 512809"/>
                    <a:gd name="connsiteY46" fmla="*/ 17113 h 274563"/>
                    <a:gd name="connsiteX47" fmla="*/ 442838 w 512809"/>
                    <a:gd name="connsiteY47" fmla="*/ 22246 h 274563"/>
                    <a:gd name="connsiteX48" fmla="*/ 449113 w 512809"/>
                    <a:gd name="connsiteY48" fmla="*/ 33465 h 274563"/>
                    <a:gd name="connsiteX49" fmla="*/ 378380 w 512809"/>
                    <a:gd name="connsiteY49" fmla="*/ 33465 h 274563"/>
                    <a:gd name="connsiteX50" fmla="*/ 378570 w 512809"/>
                    <a:gd name="connsiteY50" fmla="*/ 17113 h 274563"/>
                    <a:gd name="connsiteX51" fmla="*/ 378190 w 512809"/>
                    <a:gd name="connsiteY51" fmla="*/ 50197 h 274563"/>
                    <a:gd name="connsiteX52" fmla="*/ 458430 w 512809"/>
                    <a:gd name="connsiteY52" fmla="*/ 50197 h 274563"/>
                    <a:gd name="connsiteX53" fmla="*/ 489613 w 512809"/>
                    <a:gd name="connsiteY53" fmla="*/ 106859 h 274563"/>
                    <a:gd name="connsiteX54" fmla="*/ 489613 w 512809"/>
                    <a:gd name="connsiteY54" fmla="*/ 123021 h 274563"/>
                    <a:gd name="connsiteX55" fmla="*/ 471169 w 512809"/>
                    <a:gd name="connsiteY55" fmla="*/ 123021 h 274563"/>
                    <a:gd name="connsiteX56" fmla="*/ 465845 w 512809"/>
                    <a:gd name="connsiteY56" fmla="*/ 120739 h 274563"/>
                    <a:gd name="connsiteX57" fmla="*/ 450254 w 512809"/>
                    <a:gd name="connsiteY57" fmla="*/ 104577 h 274563"/>
                    <a:gd name="connsiteX58" fmla="*/ 432761 w 512809"/>
                    <a:gd name="connsiteY58" fmla="*/ 97162 h 274563"/>
                    <a:gd name="connsiteX59" fmla="*/ 377810 w 512809"/>
                    <a:gd name="connsiteY59" fmla="*/ 97162 h 274563"/>
                    <a:gd name="connsiteX60" fmla="*/ 378190 w 512809"/>
                    <a:gd name="connsiteY60" fmla="*/ 50197 h 274563"/>
                    <a:gd name="connsiteX61" fmla="*/ 409754 w 512809"/>
                    <a:gd name="connsiteY61" fmla="*/ 257641 h 274563"/>
                    <a:gd name="connsiteX62" fmla="*/ 368113 w 512809"/>
                    <a:gd name="connsiteY62" fmla="*/ 216000 h 274563"/>
                    <a:gd name="connsiteX63" fmla="*/ 409754 w 512809"/>
                    <a:gd name="connsiteY63" fmla="*/ 174359 h 274563"/>
                    <a:gd name="connsiteX64" fmla="*/ 451394 w 512809"/>
                    <a:gd name="connsiteY64" fmla="*/ 216000 h 274563"/>
                    <a:gd name="connsiteX65" fmla="*/ 409754 w 512809"/>
                    <a:gd name="connsiteY65" fmla="*/ 257641 h 274563"/>
                    <a:gd name="connsiteX66" fmla="*/ 463563 w 512809"/>
                    <a:gd name="connsiteY66" fmla="*/ 182725 h 274563"/>
                    <a:gd name="connsiteX67" fmla="*/ 463563 w 512809"/>
                    <a:gd name="connsiteY67" fmla="*/ 192803 h 274563"/>
                    <a:gd name="connsiteX68" fmla="*/ 409754 w 512809"/>
                    <a:gd name="connsiteY68" fmla="*/ 157437 h 274563"/>
                    <a:gd name="connsiteX69" fmla="*/ 377620 w 512809"/>
                    <a:gd name="connsiteY69" fmla="*/ 167134 h 274563"/>
                    <a:gd name="connsiteX70" fmla="*/ 377810 w 512809"/>
                    <a:gd name="connsiteY70" fmla="*/ 114085 h 274563"/>
                    <a:gd name="connsiteX71" fmla="*/ 432761 w 512809"/>
                    <a:gd name="connsiteY71" fmla="*/ 114085 h 274563"/>
                    <a:gd name="connsiteX72" fmla="*/ 438275 w 512809"/>
                    <a:gd name="connsiteY72" fmla="*/ 116366 h 274563"/>
                    <a:gd name="connsiteX73" fmla="*/ 453866 w 512809"/>
                    <a:gd name="connsiteY73" fmla="*/ 132528 h 274563"/>
                    <a:gd name="connsiteX74" fmla="*/ 471359 w 512809"/>
                    <a:gd name="connsiteY74" fmla="*/ 139944 h 274563"/>
                    <a:gd name="connsiteX75" fmla="*/ 489803 w 512809"/>
                    <a:gd name="connsiteY75" fmla="*/ 139944 h 274563"/>
                    <a:gd name="connsiteX76" fmla="*/ 489803 w 512809"/>
                    <a:gd name="connsiteY76" fmla="*/ 175500 h 274563"/>
                    <a:gd name="connsiteX77" fmla="*/ 489803 w 512809"/>
                    <a:gd name="connsiteY77" fmla="*/ 175880 h 274563"/>
                    <a:gd name="connsiteX78" fmla="*/ 470408 w 512809"/>
                    <a:gd name="connsiteY78" fmla="*/ 175880 h 274563"/>
                    <a:gd name="connsiteX79" fmla="*/ 463563 w 512809"/>
                    <a:gd name="connsiteY79" fmla="*/ 182725 h 274563"/>
                    <a:gd name="connsiteX80" fmla="*/ 498930 w 512809"/>
                    <a:gd name="connsiteY80" fmla="*/ 211056 h 274563"/>
                    <a:gd name="connsiteX81" fmla="*/ 477063 w 512809"/>
                    <a:gd name="connsiteY81" fmla="*/ 211056 h 274563"/>
                    <a:gd name="connsiteX82" fmla="*/ 477063 w 512809"/>
                    <a:gd name="connsiteY82" fmla="*/ 189570 h 274563"/>
                    <a:gd name="connsiteX83" fmla="*/ 498930 w 512809"/>
                    <a:gd name="connsiteY83" fmla="*/ 189570 h 274563"/>
                    <a:gd name="connsiteX84" fmla="*/ 498930 w 512809"/>
                    <a:gd name="connsiteY84" fmla="*/ 211056 h 274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512809" h="274563">
                      <a:moveTo>
                        <a:pt x="506535" y="176070"/>
                      </a:moveTo>
                      <a:cubicBezTo>
                        <a:pt x="506535" y="175880"/>
                        <a:pt x="506725" y="175690"/>
                        <a:pt x="506725" y="175500"/>
                      </a:cubicBezTo>
                      <a:lnTo>
                        <a:pt x="506725" y="104577"/>
                      </a:lnTo>
                      <a:cubicBezTo>
                        <a:pt x="506725" y="103056"/>
                        <a:pt x="506345" y="101725"/>
                        <a:pt x="505585" y="100394"/>
                      </a:cubicBezTo>
                      <a:lnTo>
                        <a:pt x="456718" y="11979"/>
                      </a:lnTo>
                      <a:cubicBezTo>
                        <a:pt x="456148" y="10838"/>
                        <a:pt x="455197" y="9697"/>
                        <a:pt x="454056" y="8937"/>
                      </a:cubicBezTo>
                      <a:lnTo>
                        <a:pt x="442458" y="1331"/>
                      </a:lnTo>
                      <a:cubicBezTo>
                        <a:pt x="441127" y="380"/>
                        <a:pt x="439416" y="0"/>
                        <a:pt x="437704" y="0"/>
                      </a:cubicBezTo>
                      <a:lnTo>
                        <a:pt x="437704" y="0"/>
                      </a:lnTo>
                      <a:lnTo>
                        <a:pt x="370204" y="0"/>
                      </a:lnTo>
                      <a:cubicBezTo>
                        <a:pt x="365641" y="0"/>
                        <a:pt x="361838" y="3803"/>
                        <a:pt x="361648" y="8366"/>
                      </a:cubicBezTo>
                      <a:cubicBezTo>
                        <a:pt x="360317" y="123401"/>
                        <a:pt x="360507" y="159148"/>
                        <a:pt x="360697" y="170746"/>
                      </a:cubicBezTo>
                      <a:lnTo>
                        <a:pt x="144317" y="170746"/>
                      </a:lnTo>
                      <a:cubicBezTo>
                        <a:pt x="134239" y="162380"/>
                        <a:pt x="121120" y="157246"/>
                        <a:pt x="107049" y="157246"/>
                      </a:cubicBezTo>
                      <a:cubicBezTo>
                        <a:pt x="92979" y="157246"/>
                        <a:pt x="79859" y="162380"/>
                        <a:pt x="69782" y="170746"/>
                      </a:cubicBezTo>
                      <a:lnTo>
                        <a:pt x="12930" y="170746"/>
                      </a:lnTo>
                      <a:cubicBezTo>
                        <a:pt x="4373" y="170746"/>
                        <a:pt x="0" y="178352"/>
                        <a:pt x="0" y="185958"/>
                      </a:cubicBezTo>
                      <a:lnTo>
                        <a:pt x="0" y="209155"/>
                      </a:lnTo>
                      <a:cubicBezTo>
                        <a:pt x="0" y="220183"/>
                        <a:pt x="7986" y="224366"/>
                        <a:pt x="12930" y="224366"/>
                      </a:cubicBezTo>
                      <a:lnTo>
                        <a:pt x="49056" y="224366"/>
                      </a:lnTo>
                      <a:cubicBezTo>
                        <a:pt x="53239" y="252697"/>
                        <a:pt x="77577" y="274563"/>
                        <a:pt x="107049" y="274563"/>
                      </a:cubicBezTo>
                      <a:cubicBezTo>
                        <a:pt x="136521" y="274563"/>
                        <a:pt x="160859" y="252697"/>
                        <a:pt x="165042" y="224366"/>
                      </a:cubicBezTo>
                      <a:lnTo>
                        <a:pt x="351951" y="224366"/>
                      </a:lnTo>
                      <a:cubicBezTo>
                        <a:pt x="356134" y="252697"/>
                        <a:pt x="380472" y="274563"/>
                        <a:pt x="409944" y="274563"/>
                      </a:cubicBezTo>
                      <a:cubicBezTo>
                        <a:pt x="439606" y="274563"/>
                        <a:pt x="464134" y="252507"/>
                        <a:pt x="467937" y="223986"/>
                      </a:cubicBezTo>
                      <a:cubicBezTo>
                        <a:pt x="468697" y="224366"/>
                        <a:pt x="469648" y="224556"/>
                        <a:pt x="470599" y="224556"/>
                      </a:cubicBezTo>
                      <a:lnTo>
                        <a:pt x="505965" y="224556"/>
                      </a:lnTo>
                      <a:cubicBezTo>
                        <a:pt x="509768" y="224556"/>
                        <a:pt x="512810" y="221514"/>
                        <a:pt x="512810" y="217711"/>
                      </a:cubicBezTo>
                      <a:lnTo>
                        <a:pt x="512810" y="182725"/>
                      </a:lnTo>
                      <a:cubicBezTo>
                        <a:pt x="512620" y="179303"/>
                        <a:pt x="509958" y="176451"/>
                        <a:pt x="506535" y="176070"/>
                      </a:cubicBezTo>
                      <a:close/>
                      <a:moveTo>
                        <a:pt x="49056" y="207634"/>
                      </a:moveTo>
                      <a:lnTo>
                        <a:pt x="16923" y="207634"/>
                      </a:lnTo>
                      <a:lnTo>
                        <a:pt x="16923" y="187859"/>
                      </a:lnTo>
                      <a:lnTo>
                        <a:pt x="55711" y="187859"/>
                      </a:lnTo>
                      <a:cubicBezTo>
                        <a:pt x="52289" y="193754"/>
                        <a:pt x="50197" y="200599"/>
                        <a:pt x="49056" y="207634"/>
                      </a:cubicBezTo>
                      <a:close/>
                      <a:moveTo>
                        <a:pt x="107049" y="257641"/>
                      </a:moveTo>
                      <a:cubicBezTo>
                        <a:pt x="84042" y="257641"/>
                        <a:pt x="65408" y="239007"/>
                        <a:pt x="65408" y="216000"/>
                      </a:cubicBezTo>
                      <a:cubicBezTo>
                        <a:pt x="65408" y="192993"/>
                        <a:pt x="84042" y="174359"/>
                        <a:pt x="107049" y="174359"/>
                      </a:cubicBezTo>
                      <a:cubicBezTo>
                        <a:pt x="130056" y="174359"/>
                        <a:pt x="148690" y="192993"/>
                        <a:pt x="148690" y="216000"/>
                      </a:cubicBezTo>
                      <a:cubicBezTo>
                        <a:pt x="148690" y="239007"/>
                        <a:pt x="130056" y="257641"/>
                        <a:pt x="107049" y="257641"/>
                      </a:cubicBezTo>
                      <a:close/>
                      <a:moveTo>
                        <a:pt x="351761" y="207634"/>
                      </a:moveTo>
                      <a:lnTo>
                        <a:pt x="164852" y="207634"/>
                      </a:lnTo>
                      <a:cubicBezTo>
                        <a:pt x="163901" y="200599"/>
                        <a:pt x="161620" y="193944"/>
                        <a:pt x="158197" y="187859"/>
                      </a:cubicBezTo>
                      <a:lnTo>
                        <a:pt x="358225" y="187859"/>
                      </a:lnTo>
                      <a:cubicBezTo>
                        <a:pt x="354993" y="193754"/>
                        <a:pt x="352901" y="200599"/>
                        <a:pt x="351761" y="207634"/>
                      </a:cubicBezTo>
                      <a:close/>
                      <a:moveTo>
                        <a:pt x="378570" y="17113"/>
                      </a:moveTo>
                      <a:lnTo>
                        <a:pt x="435232" y="17113"/>
                      </a:lnTo>
                      <a:lnTo>
                        <a:pt x="442838" y="22246"/>
                      </a:lnTo>
                      <a:lnTo>
                        <a:pt x="449113" y="33465"/>
                      </a:lnTo>
                      <a:lnTo>
                        <a:pt x="378380" y="33465"/>
                      </a:lnTo>
                      <a:cubicBezTo>
                        <a:pt x="378380" y="27761"/>
                        <a:pt x="378570" y="22246"/>
                        <a:pt x="378570" y="17113"/>
                      </a:cubicBezTo>
                      <a:close/>
                      <a:moveTo>
                        <a:pt x="378190" y="50197"/>
                      </a:moveTo>
                      <a:lnTo>
                        <a:pt x="458430" y="50197"/>
                      </a:lnTo>
                      <a:lnTo>
                        <a:pt x="489613" y="106859"/>
                      </a:lnTo>
                      <a:lnTo>
                        <a:pt x="489613" y="123021"/>
                      </a:lnTo>
                      <a:lnTo>
                        <a:pt x="471169" y="123021"/>
                      </a:lnTo>
                      <a:cubicBezTo>
                        <a:pt x="468317" y="123021"/>
                        <a:pt x="465845" y="120739"/>
                        <a:pt x="465845" y="120739"/>
                      </a:cubicBezTo>
                      <a:lnTo>
                        <a:pt x="450254" y="104577"/>
                      </a:lnTo>
                      <a:cubicBezTo>
                        <a:pt x="443218" y="97352"/>
                        <a:pt x="433711" y="97162"/>
                        <a:pt x="432761" y="97162"/>
                      </a:cubicBezTo>
                      <a:lnTo>
                        <a:pt x="377810" y="97162"/>
                      </a:lnTo>
                      <a:cubicBezTo>
                        <a:pt x="378000" y="81951"/>
                        <a:pt x="378000" y="65979"/>
                        <a:pt x="378190" y="50197"/>
                      </a:cubicBezTo>
                      <a:close/>
                      <a:moveTo>
                        <a:pt x="409754" y="257641"/>
                      </a:moveTo>
                      <a:cubicBezTo>
                        <a:pt x="386747" y="257641"/>
                        <a:pt x="368113" y="239007"/>
                        <a:pt x="368113" y="216000"/>
                      </a:cubicBezTo>
                      <a:cubicBezTo>
                        <a:pt x="368113" y="192993"/>
                        <a:pt x="386747" y="174359"/>
                        <a:pt x="409754" y="174359"/>
                      </a:cubicBezTo>
                      <a:cubicBezTo>
                        <a:pt x="432761" y="174359"/>
                        <a:pt x="451394" y="192993"/>
                        <a:pt x="451394" y="216000"/>
                      </a:cubicBezTo>
                      <a:cubicBezTo>
                        <a:pt x="451394" y="239007"/>
                        <a:pt x="432761" y="257641"/>
                        <a:pt x="409754" y="257641"/>
                      </a:cubicBezTo>
                      <a:close/>
                      <a:moveTo>
                        <a:pt x="463563" y="182725"/>
                      </a:moveTo>
                      <a:lnTo>
                        <a:pt x="463563" y="192803"/>
                      </a:lnTo>
                      <a:cubicBezTo>
                        <a:pt x="454627" y="172077"/>
                        <a:pt x="433901" y="157437"/>
                        <a:pt x="409754" y="157437"/>
                      </a:cubicBezTo>
                      <a:cubicBezTo>
                        <a:pt x="397775" y="157437"/>
                        <a:pt x="386747" y="161049"/>
                        <a:pt x="377620" y="167134"/>
                      </a:cubicBezTo>
                      <a:cubicBezTo>
                        <a:pt x="377620" y="157246"/>
                        <a:pt x="377620" y="137662"/>
                        <a:pt x="377810" y="114085"/>
                      </a:cubicBezTo>
                      <a:lnTo>
                        <a:pt x="432761" y="114085"/>
                      </a:lnTo>
                      <a:cubicBezTo>
                        <a:pt x="432761" y="114085"/>
                        <a:pt x="436183" y="114275"/>
                        <a:pt x="438275" y="116366"/>
                      </a:cubicBezTo>
                      <a:lnTo>
                        <a:pt x="453866" y="132528"/>
                      </a:lnTo>
                      <a:cubicBezTo>
                        <a:pt x="454627" y="133289"/>
                        <a:pt x="461282" y="139944"/>
                        <a:pt x="471359" y="139944"/>
                      </a:cubicBezTo>
                      <a:lnTo>
                        <a:pt x="489803" y="139944"/>
                      </a:lnTo>
                      <a:lnTo>
                        <a:pt x="489803" y="175500"/>
                      </a:lnTo>
                      <a:cubicBezTo>
                        <a:pt x="489803" y="175690"/>
                        <a:pt x="489803" y="175690"/>
                        <a:pt x="489803" y="175880"/>
                      </a:cubicBezTo>
                      <a:lnTo>
                        <a:pt x="470408" y="175880"/>
                      </a:lnTo>
                      <a:cubicBezTo>
                        <a:pt x="466606" y="175880"/>
                        <a:pt x="463563" y="178923"/>
                        <a:pt x="463563" y="182725"/>
                      </a:cubicBezTo>
                      <a:close/>
                      <a:moveTo>
                        <a:pt x="498930" y="211056"/>
                      </a:moveTo>
                      <a:lnTo>
                        <a:pt x="477063" y="211056"/>
                      </a:lnTo>
                      <a:lnTo>
                        <a:pt x="477063" y="189570"/>
                      </a:lnTo>
                      <a:lnTo>
                        <a:pt x="498930" y="189570"/>
                      </a:lnTo>
                      <a:lnTo>
                        <a:pt x="498930" y="211056"/>
                      </a:lnTo>
                      <a:close/>
                    </a:path>
                  </a:pathLst>
                </a:custGeom>
                <a:grpFill/>
                <a:ln w="1878" cap="flat">
                  <a:noFill/>
                  <a:prstDash val="solid"/>
                  <a:miter/>
                </a:ln>
              </p:spPr>
              <p:txBody>
                <a:bodyPr rtlCol="0" anchor="ctr"/>
                <a:lstStyle/>
                <a:p>
                  <a:endParaRPr lang="en-GB" noProof="0" dirty="0"/>
                </a:p>
              </p:txBody>
            </p:sp>
            <p:sp>
              <p:nvSpPr>
                <p:cNvPr id="151" name="Freihandform: Form 150">
                  <a:extLst>
                    <a:ext uri="{FF2B5EF4-FFF2-40B4-BE49-F238E27FC236}">
                      <a16:creationId xmlns:a16="http://schemas.microsoft.com/office/drawing/2014/main" id="{B216D16B-332C-95D3-517F-A7A4A6DEA6E8}"/>
                    </a:ext>
                  </a:extLst>
                </p:cNvPr>
                <p:cNvSpPr>
                  <a:spLocks noChangeAspect="1"/>
                </p:cNvSpPr>
                <p:nvPr/>
              </p:nvSpPr>
              <p:spPr>
                <a:xfrm>
                  <a:off x="3744051" y="3270351"/>
                  <a:ext cx="360000" cy="199448"/>
                </a:xfrm>
                <a:custGeom>
                  <a:avLst/>
                  <a:gdLst>
                    <a:gd name="connsiteX0" fmla="*/ 55027 w 372371"/>
                    <a:gd name="connsiteY0" fmla="*/ 206303 h 206302"/>
                    <a:gd name="connsiteX1" fmla="*/ 331682 w 372371"/>
                    <a:gd name="connsiteY1" fmla="*/ 206303 h 206302"/>
                    <a:gd name="connsiteX2" fmla="*/ 339668 w 372371"/>
                    <a:gd name="connsiteY2" fmla="*/ 200789 h 206302"/>
                    <a:gd name="connsiteX3" fmla="*/ 371421 w 372371"/>
                    <a:gd name="connsiteY3" fmla="*/ 116937 h 206302"/>
                    <a:gd name="connsiteX4" fmla="*/ 371992 w 372371"/>
                    <a:gd name="connsiteY4" fmla="*/ 113894 h 206302"/>
                    <a:gd name="connsiteX5" fmla="*/ 372372 w 372371"/>
                    <a:gd name="connsiteY5" fmla="*/ 8556 h 206302"/>
                    <a:gd name="connsiteX6" fmla="*/ 369900 w 372371"/>
                    <a:gd name="connsiteY6" fmla="*/ 2472 h 206302"/>
                    <a:gd name="connsiteX7" fmla="*/ 363815 w 372371"/>
                    <a:gd name="connsiteY7" fmla="*/ 0 h 206302"/>
                    <a:gd name="connsiteX8" fmla="*/ 44189 w 372371"/>
                    <a:gd name="connsiteY8" fmla="*/ 0 h 206302"/>
                    <a:gd name="connsiteX9" fmla="*/ 36203 w 372371"/>
                    <a:gd name="connsiteY9" fmla="*/ 5704 h 206302"/>
                    <a:gd name="connsiteX10" fmla="*/ 456 w 372371"/>
                    <a:gd name="connsiteY10" fmla="*/ 106099 h 206302"/>
                    <a:gd name="connsiteX11" fmla="*/ 1027 w 372371"/>
                    <a:gd name="connsiteY11" fmla="*/ 112944 h 206302"/>
                    <a:gd name="connsiteX12" fmla="*/ 47801 w 372371"/>
                    <a:gd name="connsiteY12" fmla="*/ 201739 h 206302"/>
                    <a:gd name="connsiteX13" fmla="*/ 55027 w 372371"/>
                    <a:gd name="connsiteY13" fmla="*/ 206303 h 206302"/>
                    <a:gd name="connsiteX14" fmla="*/ 285097 w 372371"/>
                    <a:gd name="connsiteY14" fmla="*/ 17303 h 206302"/>
                    <a:gd name="connsiteX15" fmla="*/ 355449 w 372371"/>
                    <a:gd name="connsiteY15" fmla="*/ 17303 h 206302"/>
                    <a:gd name="connsiteX16" fmla="*/ 355069 w 372371"/>
                    <a:gd name="connsiteY16" fmla="*/ 103437 h 206302"/>
                    <a:gd name="connsiteX17" fmla="*/ 285097 w 372371"/>
                    <a:gd name="connsiteY17" fmla="*/ 103437 h 206302"/>
                    <a:gd name="connsiteX18" fmla="*/ 285097 w 372371"/>
                    <a:gd name="connsiteY18" fmla="*/ 17303 h 206302"/>
                    <a:gd name="connsiteX19" fmla="*/ 198393 w 372371"/>
                    <a:gd name="connsiteY19" fmla="*/ 17303 h 206302"/>
                    <a:gd name="connsiteX20" fmla="*/ 268175 w 372371"/>
                    <a:gd name="connsiteY20" fmla="*/ 17303 h 206302"/>
                    <a:gd name="connsiteX21" fmla="*/ 268175 w 372371"/>
                    <a:gd name="connsiteY21" fmla="*/ 103437 h 206302"/>
                    <a:gd name="connsiteX22" fmla="*/ 198393 w 372371"/>
                    <a:gd name="connsiteY22" fmla="*/ 103437 h 206302"/>
                    <a:gd name="connsiteX23" fmla="*/ 198393 w 372371"/>
                    <a:gd name="connsiteY23" fmla="*/ 17303 h 206302"/>
                    <a:gd name="connsiteX24" fmla="*/ 111308 w 372371"/>
                    <a:gd name="connsiteY24" fmla="*/ 17303 h 206302"/>
                    <a:gd name="connsiteX25" fmla="*/ 181470 w 372371"/>
                    <a:gd name="connsiteY25" fmla="*/ 17303 h 206302"/>
                    <a:gd name="connsiteX26" fmla="*/ 181470 w 372371"/>
                    <a:gd name="connsiteY26" fmla="*/ 103437 h 206302"/>
                    <a:gd name="connsiteX27" fmla="*/ 111308 w 372371"/>
                    <a:gd name="connsiteY27" fmla="*/ 103437 h 206302"/>
                    <a:gd name="connsiteX28" fmla="*/ 111308 w 372371"/>
                    <a:gd name="connsiteY28" fmla="*/ 17303 h 206302"/>
                    <a:gd name="connsiteX29" fmla="*/ 50083 w 372371"/>
                    <a:gd name="connsiteY29" fmla="*/ 17303 h 206302"/>
                    <a:gd name="connsiteX30" fmla="*/ 94196 w 372371"/>
                    <a:gd name="connsiteY30" fmla="*/ 17303 h 206302"/>
                    <a:gd name="connsiteX31" fmla="*/ 94196 w 372371"/>
                    <a:gd name="connsiteY31" fmla="*/ 103437 h 206302"/>
                    <a:gd name="connsiteX32" fmla="*/ 19280 w 372371"/>
                    <a:gd name="connsiteY32" fmla="*/ 103437 h 206302"/>
                    <a:gd name="connsiteX33" fmla="*/ 50083 w 372371"/>
                    <a:gd name="connsiteY33" fmla="*/ 17303 h 206302"/>
                    <a:gd name="connsiteX34" fmla="*/ 23844 w 372371"/>
                    <a:gd name="connsiteY34" fmla="*/ 120359 h 206302"/>
                    <a:gd name="connsiteX35" fmla="*/ 352027 w 372371"/>
                    <a:gd name="connsiteY35" fmla="*/ 120359 h 206302"/>
                    <a:gd name="connsiteX36" fmla="*/ 347083 w 372371"/>
                    <a:gd name="connsiteY36" fmla="*/ 133669 h 206302"/>
                    <a:gd name="connsiteX37" fmla="*/ 30879 w 372371"/>
                    <a:gd name="connsiteY37" fmla="*/ 133669 h 206302"/>
                    <a:gd name="connsiteX38" fmla="*/ 23844 w 372371"/>
                    <a:gd name="connsiteY38" fmla="*/ 120359 h 206302"/>
                    <a:gd name="connsiteX39" fmla="*/ 340618 w 372371"/>
                    <a:gd name="connsiteY39" fmla="*/ 150592 h 206302"/>
                    <a:gd name="connsiteX40" fmla="*/ 325977 w 372371"/>
                    <a:gd name="connsiteY40" fmla="*/ 189380 h 206302"/>
                    <a:gd name="connsiteX41" fmla="*/ 60161 w 372371"/>
                    <a:gd name="connsiteY41" fmla="*/ 189380 h 206302"/>
                    <a:gd name="connsiteX42" fmla="*/ 39815 w 372371"/>
                    <a:gd name="connsiteY42" fmla="*/ 150592 h 206302"/>
                    <a:gd name="connsiteX43" fmla="*/ 340618 w 372371"/>
                    <a:gd name="connsiteY43" fmla="*/ 150592 h 206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72371" h="206302">
                      <a:moveTo>
                        <a:pt x="55027" y="206303"/>
                      </a:moveTo>
                      <a:lnTo>
                        <a:pt x="331682" y="206303"/>
                      </a:lnTo>
                      <a:cubicBezTo>
                        <a:pt x="335294" y="206303"/>
                        <a:pt x="338337" y="204211"/>
                        <a:pt x="339668" y="200789"/>
                      </a:cubicBezTo>
                      <a:lnTo>
                        <a:pt x="371421" y="116937"/>
                      </a:lnTo>
                      <a:cubicBezTo>
                        <a:pt x="371801" y="115986"/>
                        <a:pt x="371992" y="115035"/>
                        <a:pt x="371992" y="113894"/>
                      </a:cubicBezTo>
                      <a:lnTo>
                        <a:pt x="372372" y="8556"/>
                      </a:lnTo>
                      <a:cubicBezTo>
                        <a:pt x="372372" y="6275"/>
                        <a:pt x="371421" y="4183"/>
                        <a:pt x="369900" y="2472"/>
                      </a:cubicBezTo>
                      <a:cubicBezTo>
                        <a:pt x="368379" y="951"/>
                        <a:pt x="366097" y="0"/>
                        <a:pt x="363815" y="0"/>
                      </a:cubicBezTo>
                      <a:lnTo>
                        <a:pt x="44189" y="0"/>
                      </a:lnTo>
                      <a:cubicBezTo>
                        <a:pt x="40576" y="0"/>
                        <a:pt x="37344" y="2282"/>
                        <a:pt x="36203" y="5704"/>
                      </a:cubicBezTo>
                      <a:lnTo>
                        <a:pt x="456" y="106099"/>
                      </a:lnTo>
                      <a:cubicBezTo>
                        <a:pt x="-304" y="108380"/>
                        <a:pt x="-114" y="110852"/>
                        <a:pt x="1027" y="112944"/>
                      </a:cubicBezTo>
                      <a:lnTo>
                        <a:pt x="47801" y="201739"/>
                      </a:lnTo>
                      <a:cubicBezTo>
                        <a:pt x="48942" y="204592"/>
                        <a:pt x="51985" y="206303"/>
                        <a:pt x="55027" y="206303"/>
                      </a:cubicBezTo>
                      <a:close/>
                      <a:moveTo>
                        <a:pt x="285097" y="17303"/>
                      </a:moveTo>
                      <a:lnTo>
                        <a:pt x="355449" y="17303"/>
                      </a:lnTo>
                      <a:lnTo>
                        <a:pt x="355069" y="103437"/>
                      </a:lnTo>
                      <a:lnTo>
                        <a:pt x="285097" y="103437"/>
                      </a:lnTo>
                      <a:lnTo>
                        <a:pt x="285097" y="17303"/>
                      </a:lnTo>
                      <a:close/>
                      <a:moveTo>
                        <a:pt x="198393" y="17303"/>
                      </a:moveTo>
                      <a:lnTo>
                        <a:pt x="268175" y="17303"/>
                      </a:lnTo>
                      <a:lnTo>
                        <a:pt x="268175" y="103437"/>
                      </a:lnTo>
                      <a:lnTo>
                        <a:pt x="198393" y="103437"/>
                      </a:lnTo>
                      <a:lnTo>
                        <a:pt x="198393" y="17303"/>
                      </a:lnTo>
                      <a:close/>
                      <a:moveTo>
                        <a:pt x="111308" y="17303"/>
                      </a:moveTo>
                      <a:lnTo>
                        <a:pt x="181470" y="17303"/>
                      </a:lnTo>
                      <a:lnTo>
                        <a:pt x="181470" y="103437"/>
                      </a:lnTo>
                      <a:lnTo>
                        <a:pt x="111308" y="103437"/>
                      </a:lnTo>
                      <a:lnTo>
                        <a:pt x="111308" y="17303"/>
                      </a:lnTo>
                      <a:close/>
                      <a:moveTo>
                        <a:pt x="50083" y="17303"/>
                      </a:moveTo>
                      <a:lnTo>
                        <a:pt x="94196" y="17303"/>
                      </a:lnTo>
                      <a:lnTo>
                        <a:pt x="94196" y="103437"/>
                      </a:lnTo>
                      <a:lnTo>
                        <a:pt x="19280" y="103437"/>
                      </a:lnTo>
                      <a:lnTo>
                        <a:pt x="50083" y="17303"/>
                      </a:lnTo>
                      <a:close/>
                      <a:moveTo>
                        <a:pt x="23844" y="120359"/>
                      </a:moveTo>
                      <a:lnTo>
                        <a:pt x="352027" y="120359"/>
                      </a:lnTo>
                      <a:lnTo>
                        <a:pt x="347083" y="133669"/>
                      </a:lnTo>
                      <a:lnTo>
                        <a:pt x="30879" y="133669"/>
                      </a:lnTo>
                      <a:lnTo>
                        <a:pt x="23844" y="120359"/>
                      </a:lnTo>
                      <a:close/>
                      <a:moveTo>
                        <a:pt x="340618" y="150592"/>
                      </a:moveTo>
                      <a:lnTo>
                        <a:pt x="325977" y="189380"/>
                      </a:lnTo>
                      <a:lnTo>
                        <a:pt x="60161" y="189380"/>
                      </a:lnTo>
                      <a:lnTo>
                        <a:pt x="39815" y="150592"/>
                      </a:lnTo>
                      <a:lnTo>
                        <a:pt x="340618" y="150592"/>
                      </a:lnTo>
                      <a:close/>
                    </a:path>
                  </a:pathLst>
                </a:custGeom>
                <a:grpFill/>
                <a:ln w="1878" cap="flat">
                  <a:noFill/>
                  <a:prstDash val="solid"/>
                  <a:miter/>
                </a:ln>
              </p:spPr>
              <p:txBody>
                <a:bodyPr rtlCol="0" anchor="ctr"/>
                <a:lstStyle/>
                <a:p>
                  <a:endParaRPr lang="en-GB" noProof="0" dirty="0"/>
                </a:p>
              </p:txBody>
            </p:sp>
          </p:grpSp>
        </p:grpSp>
      </p:grpSp>
      <p:grpSp>
        <p:nvGrpSpPr>
          <p:cNvPr id="201" name="Grafik 9">
            <a:extLst>
              <a:ext uri="{FF2B5EF4-FFF2-40B4-BE49-F238E27FC236}">
                <a16:creationId xmlns:a16="http://schemas.microsoft.com/office/drawing/2014/main" id="{8230EDC7-45E9-9025-B7B3-D640972D1A86}"/>
              </a:ext>
            </a:extLst>
          </p:cNvPr>
          <p:cNvGrpSpPr>
            <a:grpSpLocks noChangeAspect="1"/>
          </p:cNvGrpSpPr>
          <p:nvPr/>
        </p:nvGrpSpPr>
        <p:grpSpPr>
          <a:xfrm>
            <a:off x="993769" y="2165421"/>
            <a:ext cx="288000" cy="260491"/>
            <a:chOff x="4674715" y="3790008"/>
            <a:chExt cx="491706" cy="444739"/>
          </a:xfrm>
          <a:solidFill>
            <a:schemeClr val="accent1"/>
          </a:solidFill>
        </p:grpSpPr>
        <p:grpSp>
          <p:nvGrpSpPr>
            <p:cNvPr id="202" name="Grafik 9">
              <a:extLst>
                <a:ext uri="{FF2B5EF4-FFF2-40B4-BE49-F238E27FC236}">
                  <a16:creationId xmlns:a16="http://schemas.microsoft.com/office/drawing/2014/main" id="{27702F11-1412-EC4C-3DD4-4C6062FBB4FB}"/>
                </a:ext>
              </a:extLst>
            </p:cNvPr>
            <p:cNvGrpSpPr/>
            <p:nvPr/>
          </p:nvGrpSpPr>
          <p:grpSpPr>
            <a:xfrm>
              <a:off x="4674715" y="3790008"/>
              <a:ext cx="491706" cy="444739"/>
              <a:chOff x="4674715" y="3790008"/>
              <a:chExt cx="491706" cy="444739"/>
            </a:xfrm>
            <a:grpFill/>
          </p:grpSpPr>
          <p:grpSp>
            <p:nvGrpSpPr>
              <p:cNvPr id="203" name="Grafik 9">
                <a:extLst>
                  <a:ext uri="{FF2B5EF4-FFF2-40B4-BE49-F238E27FC236}">
                    <a16:creationId xmlns:a16="http://schemas.microsoft.com/office/drawing/2014/main" id="{6DDC5EB0-2D86-A7F7-8399-6D4FE911DD20}"/>
                  </a:ext>
                </a:extLst>
              </p:cNvPr>
              <p:cNvGrpSpPr/>
              <p:nvPr/>
            </p:nvGrpSpPr>
            <p:grpSpPr>
              <a:xfrm>
                <a:off x="4674715" y="3790008"/>
                <a:ext cx="491706" cy="444739"/>
                <a:chOff x="4674715" y="3790008"/>
                <a:chExt cx="491706" cy="444739"/>
              </a:xfrm>
              <a:grpFill/>
            </p:grpSpPr>
            <p:sp>
              <p:nvSpPr>
                <p:cNvPr id="204" name="Freihandform: Form 203">
                  <a:extLst>
                    <a:ext uri="{FF2B5EF4-FFF2-40B4-BE49-F238E27FC236}">
                      <a16:creationId xmlns:a16="http://schemas.microsoft.com/office/drawing/2014/main" id="{5BC71171-3F71-8117-4116-C0A1A7DD948D}"/>
                    </a:ext>
                  </a:extLst>
                </p:cNvPr>
                <p:cNvSpPr/>
                <p:nvPr/>
              </p:nvSpPr>
              <p:spPr>
                <a:xfrm>
                  <a:off x="4674715" y="3790008"/>
                  <a:ext cx="491706" cy="444739"/>
                </a:xfrm>
                <a:custGeom>
                  <a:avLst/>
                  <a:gdLst>
                    <a:gd name="connsiteX0" fmla="*/ 483148 w 491704"/>
                    <a:gd name="connsiteY0" fmla="*/ 427627 h 444739"/>
                    <a:gd name="connsiteX1" fmla="*/ 443979 w 491704"/>
                    <a:gd name="connsiteY1" fmla="*/ 427627 h 444739"/>
                    <a:gd name="connsiteX2" fmla="*/ 443979 w 491704"/>
                    <a:gd name="connsiteY2" fmla="*/ 427627 h 444739"/>
                    <a:gd name="connsiteX3" fmla="*/ 443979 w 491704"/>
                    <a:gd name="connsiteY3" fmla="*/ 17113 h 444739"/>
                    <a:gd name="connsiteX4" fmla="*/ 457859 w 491704"/>
                    <a:gd name="connsiteY4" fmla="*/ 17113 h 444739"/>
                    <a:gd name="connsiteX5" fmla="*/ 466416 w 491704"/>
                    <a:gd name="connsiteY5" fmla="*/ 8556 h 444739"/>
                    <a:gd name="connsiteX6" fmla="*/ 457859 w 491704"/>
                    <a:gd name="connsiteY6" fmla="*/ 0 h 444739"/>
                    <a:gd name="connsiteX7" fmla="*/ 32894 w 491704"/>
                    <a:gd name="connsiteY7" fmla="*/ 0 h 444739"/>
                    <a:gd name="connsiteX8" fmla="*/ 24338 w 491704"/>
                    <a:gd name="connsiteY8" fmla="*/ 8556 h 444739"/>
                    <a:gd name="connsiteX9" fmla="*/ 32894 w 491704"/>
                    <a:gd name="connsiteY9" fmla="*/ 17113 h 444739"/>
                    <a:gd name="connsiteX10" fmla="*/ 48676 w 491704"/>
                    <a:gd name="connsiteY10" fmla="*/ 17113 h 444739"/>
                    <a:gd name="connsiteX11" fmla="*/ 48676 w 491704"/>
                    <a:gd name="connsiteY11" fmla="*/ 427627 h 444739"/>
                    <a:gd name="connsiteX12" fmla="*/ 8556 w 491704"/>
                    <a:gd name="connsiteY12" fmla="*/ 427627 h 444739"/>
                    <a:gd name="connsiteX13" fmla="*/ 0 w 491704"/>
                    <a:gd name="connsiteY13" fmla="*/ 436183 h 444739"/>
                    <a:gd name="connsiteX14" fmla="*/ 8556 w 491704"/>
                    <a:gd name="connsiteY14" fmla="*/ 444739 h 444739"/>
                    <a:gd name="connsiteX15" fmla="*/ 483148 w 491704"/>
                    <a:gd name="connsiteY15" fmla="*/ 444739 h 444739"/>
                    <a:gd name="connsiteX16" fmla="*/ 491704 w 491704"/>
                    <a:gd name="connsiteY16" fmla="*/ 436183 h 444739"/>
                    <a:gd name="connsiteX17" fmla="*/ 483148 w 491704"/>
                    <a:gd name="connsiteY17" fmla="*/ 427627 h 444739"/>
                    <a:gd name="connsiteX18" fmla="*/ 237296 w 491704"/>
                    <a:gd name="connsiteY18" fmla="*/ 427627 h 444739"/>
                    <a:gd name="connsiteX19" fmla="*/ 206113 w 491704"/>
                    <a:gd name="connsiteY19" fmla="*/ 427627 h 444739"/>
                    <a:gd name="connsiteX20" fmla="*/ 206113 w 491704"/>
                    <a:gd name="connsiteY20" fmla="*/ 308979 h 444739"/>
                    <a:gd name="connsiteX21" fmla="*/ 237296 w 491704"/>
                    <a:gd name="connsiteY21" fmla="*/ 308979 h 444739"/>
                    <a:gd name="connsiteX22" fmla="*/ 237296 w 491704"/>
                    <a:gd name="connsiteY22" fmla="*/ 427627 h 444739"/>
                    <a:gd name="connsiteX23" fmla="*/ 285592 w 491704"/>
                    <a:gd name="connsiteY23" fmla="*/ 427627 h 444739"/>
                    <a:gd name="connsiteX24" fmla="*/ 254408 w 491704"/>
                    <a:gd name="connsiteY24" fmla="*/ 427627 h 444739"/>
                    <a:gd name="connsiteX25" fmla="*/ 254408 w 491704"/>
                    <a:gd name="connsiteY25" fmla="*/ 308979 h 444739"/>
                    <a:gd name="connsiteX26" fmla="*/ 285592 w 491704"/>
                    <a:gd name="connsiteY26" fmla="*/ 308979 h 444739"/>
                    <a:gd name="connsiteX27" fmla="*/ 285592 w 491704"/>
                    <a:gd name="connsiteY27" fmla="*/ 427627 h 444739"/>
                    <a:gd name="connsiteX28" fmla="*/ 302894 w 491704"/>
                    <a:gd name="connsiteY28" fmla="*/ 427627 h 444739"/>
                    <a:gd name="connsiteX29" fmla="*/ 302894 w 491704"/>
                    <a:gd name="connsiteY29" fmla="*/ 300423 h 444739"/>
                    <a:gd name="connsiteX30" fmla="*/ 294338 w 491704"/>
                    <a:gd name="connsiteY30" fmla="*/ 291866 h 444739"/>
                    <a:gd name="connsiteX31" fmla="*/ 197556 w 491704"/>
                    <a:gd name="connsiteY31" fmla="*/ 291866 h 444739"/>
                    <a:gd name="connsiteX32" fmla="*/ 189000 w 491704"/>
                    <a:gd name="connsiteY32" fmla="*/ 300423 h 444739"/>
                    <a:gd name="connsiteX33" fmla="*/ 189000 w 491704"/>
                    <a:gd name="connsiteY33" fmla="*/ 427627 h 444739"/>
                    <a:gd name="connsiteX34" fmla="*/ 65979 w 491704"/>
                    <a:gd name="connsiteY34" fmla="*/ 427627 h 444739"/>
                    <a:gd name="connsiteX35" fmla="*/ 65979 w 491704"/>
                    <a:gd name="connsiteY35" fmla="*/ 17113 h 444739"/>
                    <a:gd name="connsiteX36" fmla="*/ 426866 w 491704"/>
                    <a:gd name="connsiteY36" fmla="*/ 17113 h 444739"/>
                    <a:gd name="connsiteX37" fmla="*/ 426866 w 491704"/>
                    <a:gd name="connsiteY37" fmla="*/ 427627 h 444739"/>
                    <a:gd name="connsiteX38" fmla="*/ 426866 w 491704"/>
                    <a:gd name="connsiteY38" fmla="*/ 427627 h 444739"/>
                    <a:gd name="connsiteX39" fmla="*/ 302894 w 491704"/>
                    <a:gd name="connsiteY39" fmla="*/ 427627 h 44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91704" h="444739">
                      <a:moveTo>
                        <a:pt x="483148" y="427627"/>
                      </a:moveTo>
                      <a:lnTo>
                        <a:pt x="443979" y="427627"/>
                      </a:lnTo>
                      <a:cubicBezTo>
                        <a:pt x="443979" y="427627"/>
                        <a:pt x="443979" y="427627"/>
                        <a:pt x="443979" y="427627"/>
                      </a:cubicBezTo>
                      <a:lnTo>
                        <a:pt x="443979" y="17113"/>
                      </a:lnTo>
                      <a:lnTo>
                        <a:pt x="457859" y="17113"/>
                      </a:lnTo>
                      <a:cubicBezTo>
                        <a:pt x="462613" y="17113"/>
                        <a:pt x="466416" y="13310"/>
                        <a:pt x="466416" y="8556"/>
                      </a:cubicBezTo>
                      <a:cubicBezTo>
                        <a:pt x="466416" y="3803"/>
                        <a:pt x="462613" y="0"/>
                        <a:pt x="457859" y="0"/>
                      </a:cubicBezTo>
                      <a:lnTo>
                        <a:pt x="32894" y="0"/>
                      </a:lnTo>
                      <a:cubicBezTo>
                        <a:pt x="28141" y="0"/>
                        <a:pt x="24338" y="3803"/>
                        <a:pt x="24338" y="8556"/>
                      </a:cubicBezTo>
                      <a:cubicBezTo>
                        <a:pt x="24338" y="13310"/>
                        <a:pt x="28141" y="17113"/>
                        <a:pt x="32894" y="17113"/>
                      </a:cubicBezTo>
                      <a:lnTo>
                        <a:pt x="48676" y="17113"/>
                      </a:lnTo>
                      <a:lnTo>
                        <a:pt x="48676" y="427627"/>
                      </a:lnTo>
                      <a:lnTo>
                        <a:pt x="8556" y="427627"/>
                      </a:lnTo>
                      <a:cubicBezTo>
                        <a:pt x="3803" y="427627"/>
                        <a:pt x="0" y="431430"/>
                        <a:pt x="0" y="436183"/>
                      </a:cubicBezTo>
                      <a:cubicBezTo>
                        <a:pt x="0" y="440937"/>
                        <a:pt x="3803" y="444739"/>
                        <a:pt x="8556" y="444739"/>
                      </a:cubicBezTo>
                      <a:lnTo>
                        <a:pt x="483148" y="444739"/>
                      </a:lnTo>
                      <a:cubicBezTo>
                        <a:pt x="487901" y="444739"/>
                        <a:pt x="491704" y="440937"/>
                        <a:pt x="491704" y="436183"/>
                      </a:cubicBezTo>
                      <a:cubicBezTo>
                        <a:pt x="491704" y="431430"/>
                        <a:pt x="487901" y="427627"/>
                        <a:pt x="483148" y="427627"/>
                      </a:cubicBezTo>
                      <a:close/>
                      <a:moveTo>
                        <a:pt x="237296" y="427627"/>
                      </a:moveTo>
                      <a:lnTo>
                        <a:pt x="206113" y="427627"/>
                      </a:lnTo>
                      <a:lnTo>
                        <a:pt x="206113" y="308979"/>
                      </a:lnTo>
                      <a:lnTo>
                        <a:pt x="237296" y="308979"/>
                      </a:lnTo>
                      <a:lnTo>
                        <a:pt x="237296" y="427627"/>
                      </a:lnTo>
                      <a:close/>
                      <a:moveTo>
                        <a:pt x="285592" y="427627"/>
                      </a:moveTo>
                      <a:lnTo>
                        <a:pt x="254408" y="427627"/>
                      </a:lnTo>
                      <a:lnTo>
                        <a:pt x="254408" y="308979"/>
                      </a:lnTo>
                      <a:lnTo>
                        <a:pt x="285592" y="308979"/>
                      </a:lnTo>
                      <a:lnTo>
                        <a:pt x="285592" y="427627"/>
                      </a:lnTo>
                      <a:close/>
                      <a:moveTo>
                        <a:pt x="302894" y="427627"/>
                      </a:moveTo>
                      <a:lnTo>
                        <a:pt x="302894" y="300423"/>
                      </a:lnTo>
                      <a:cubicBezTo>
                        <a:pt x="302894" y="295669"/>
                        <a:pt x="299092" y="291866"/>
                        <a:pt x="294338" y="291866"/>
                      </a:cubicBezTo>
                      <a:lnTo>
                        <a:pt x="197556" y="291866"/>
                      </a:lnTo>
                      <a:cubicBezTo>
                        <a:pt x="192803" y="291866"/>
                        <a:pt x="189000" y="295669"/>
                        <a:pt x="189000" y="300423"/>
                      </a:cubicBezTo>
                      <a:lnTo>
                        <a:pt x="189000" y="427627"/>
                      </a:lnTo>
                      <a:lnTo>
                        <a:pt x="65979" y="427627"/>
                      </a:lnTo>
                      <a:lnTo>
                        <a:pt x="65979" y="17113"/>
                      </a:lnTo>
                      <a:lnTo>
                        <a:pt x="426866" y="17113"/>
                      </a:lnTo>
                      <a:lnTo>
                        <a:pt x="426866" y="427627"/>
                      </a:lnTo>
                      <a:cubicBezTo>
                        <a:pt x="426866" y="427627"/>
                        <a:pt x="426866" y="427627"/>
                        <a:pt x="426866" y="427627"/>
                      </a:cubicBezTo>
                      <a:lnTo>
                        <a:pt x="302894" y="427627"/>
                      </a:lnTo>
                      <a:close/>
                    </a:path>
                  </a:pathLst>
                </a:custGeom>
                <a:grpFill/>
                <a:ln w="1878" cap="flat">
                  <a:noFill/>
                  <a:prstDash val="solid"/>
                  <a:miter/>
                </a:ln>
              </p:spPr>
              <p:txBody>
                <a:bodyPr rtlCol="0" anchor="ctr"/>
                <a:lstStyle/>
                <a:p>
                  <a:endParaRPr lang="en-GB" noProof="0" dirty="0"/>
                </a:p>
              </p:txBody>
            </p:sp>
            <p:sp>
              <p:nvSpPr>
                <p:cNvPr id="205" name="Freihandform: Form 204">
                  <a:extLst>
                    <a:ext uri="{FF2B5EF4-FFF2-40B4-BE49-F238E27FC236}">
                      <a16:creationId xmlns:a16="http://schemas.microsoft.com/office/drawing/2014/main" id="{C5A09057-FCCE-F115-5553-164DDF913297}"/>
                    </a:ext>
                  </a:extLst>
                </p:cNvPr>
                <p:cNvSpPr/>
                <p:nvPr/>
              </p:nvSpPr>
              <p:spPr>
                <a:xfrm>
                  <a:off x="4997766" y="4081684"/>
                  <a:ext cx="69598" cy="71683"/>
                </a:xfrm>
                <a:custGeom>
                  <a:avLst/>
                  <a:gdLst>
                    <a:gd name="connsiteX0" fmla="*/ 61035 w 69598"/>
                    <a:gd name="connsiteY0" fmla="*/ 0 h 71683"/>
                    <a:gd name="connsiteX1" fmla="*/ 8556 w 69598"/>
                    <a:gd name="connsiteY1" fmla="*/ 0 h 71683"/>
                    <a:gd name="connsiteX2" fmla="*/ 0 w 69598"/>
                    <a:gd name="connsiteY2" fmla="*/ 8556 h 71683"/>
                    <a:gd name="connsiteX3" fmla="*/ 0 w 69598"/>
                    <a:gd name="connsiteY3" fmla="*/ 63127 h 71683"/>
                    <a:gd name="connsiteX4" fmla="*/ 8556 w 69598"/>
                    <a:gd name="connsiteY4" fmla="*/ 71683 h 71683"/>
                    <a:gd name="connsiteX5" fmla="*/ 61035 w 69598"/>
                    <a:gd name="connsiteY5" fmla="*/ 71683 h 71683"/>
                    <a:gd name="connsiteX6" fmla="*/ 69592 w 69598"/>
                    <a:gd name="connsiteY6" fmla="*/ 63127 h 71683"/>
                    <a:gd name="connsiteX7" fmla="*/ 69592 w 69598"/>
                    <a:gd name="connsiteY7" fmla="*/ 8556 h 71683"/>
                    <a:gd name="connsiteX8" fmla="*/ 61035 w 69598"/>
                    <a:gd name="connsiteY8" fmla="*/ 0 h 71683"/>
                    <a:gd name="connsiteX9" fmla="*/ 52479 w 69598"/>
                    <a:gd name="connsiteY9" fmla="*/ 54570 h 71683"/>
                    <a:gd name="connsiteX10" fmla="*/ 17113 w 69598"/>
                    <a:gd name="connsiteY10" fmla="*/ 54570 h 71683"/>
                    <a:gd name="connsiteX11" fmla="*/ 17113 w 69598"/>
                    <a:gd name="connsiteY11" fmla="*/ 17303 h 71683"/>
                    <a:gd name="connsiteX12" fmla="*/ 52479 w 69598"/>
                    <a:gd name="connsiteY12" fmla="*/ 17303 h 71683"/>
                    <a:gd name="connsiteX13" fmla="*/ 52479 w 69598"/>
                    <a:gd name="connsiteY13" fmla="*/ 54570 h 7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598" h="71683">
                      <a:moveTo>
                        <a:pt x="61035" y="0"/>
                      </a:moveTo>
                      <a:lnTo>
                        <a:pt x="8556" y="0"/>
                      </a:lnTo>
                      <a:cubicBezTo>
                        <a:pt x="3803" y="0"/>
                        <a:pt x="0" y="3803"/>
                        <a:pt x="0" y="8556"/>
                      </a:cubicBezTo>
                      <a:lnTo>
                        <a:pt x="0" y="63127"/>
                      </a:lnTo>
                      <a:cubicBezTo>
                        <a:pt x="0" y="67880"/>
                        <a:pt x="3803" y="71683"/>
                        <a:pt x="8556" y="71683"/>
                      </a:cubicBezTo>
                      <a:lnTo>
                        <a:pt x="61035" y="71683"/>
                      </a:lnTo>
                      <a:cubicBezTo>
                        <a:pt x="65789" y="71683"/>
                        <a:pt x="69592" y="67880"/>
                        <a:pt x="69592" y="63127"/>
                      </a:cubicBezTo>
                      <a:lnTo>
                        <a:pt x="69592" y="8556"/>
                      </a:lnTo>
                      <a:cubicBezTo>
                        <a:pt x="69782" y="3993"/>
                        <a:pt x="65789" y="0"/>
                        <a:pt x="61035" y="0"/>
                      </a:cubicBezTo>
                      <a:close/>
                      <a:moveTo>
                        <a:pt x="52479" y="54570"/>
                      </a:moveTo>
                      <a:lnTo>
                        <a:pt x="17113" y="54570"/>
                      </a:lnTo>
                      <a:lnTo>
                        <a:pt x="17113" y="17303"/>
                      </a:lnTo>
                      <a:lnTo>
                        <a:pt x="52479" y="17303"/>
                      </a:lnTo>
                      <a:lnTo>
                        <a:pt x="52479" y="54570"/>
                      </a:lnTo>
                      <a:close/>
                    </a:path>
                  </a:pathLst>
                </a:custGeom>
                <a:grpFill/>
                <a:ln w="1878" cap="flat">
                  <a:noFill/>
                  <a:prstDash val="solid"/>
                  <a:miter/>
                </a:ln>
              </p:spPr>
              <p:txBody>
                <a:bodyPr rtlCol="0" anchor="ctr"/>
                <a:lstStyle/>
                <a:p>
                  <a:endParaRPr lang="en-GB" noProof="0" dirty="0"/>
                </a:p>
              </p:txBody>
            </p:sp>
            <p:sp>
              <p:nvSpPr>
                <p:cNvPr id="206" name="Freihandform: Form 205">
                  <a:extLst>
                    <a:ext uri="{FF2B5EF4-FFF2-40B4-BE49-F238E27FC236}">
                      <a16:creationId xmlns:a16="http://schemas.microsoft.com/office/drawing/2014/main" id="{D681D5CC-F3DD-BFD4-B2B0-A05F7CE0C5A4}"/>
                    </a:ext>
                  </a:extLst>
                </p:cNvPr>
                <p:cNvSpPr/>
                <p:nvPr/>
              </p:nvSpPr>
              <p:spPr>
                <a:xfrm>
                  <a:off x="4771689" y="4081684"/>
                  <a:ext cx="69598" cy="71683"/>
                </a:xfrm>
                <a:custGeom>
                  <a:avLst/>
                  <a:gdLst>
                    <a:gd name="connsiteX0" fmla="*/ 61225 w 69598"/>
                    <a:gd name="connsiteY0" fmla="*/ 0 h 71683"/>
                    <a:gd name="connsiteX1" fmla="*/ 8556 w 69598"/>
                    <a:gd name="connsiteY1" fmla="*/ 0 h 71683"/>
                    <a:gd name="connsiteX2" fmla="*/ 0 w 69598"/>
                    <a:gd name="connsiteY2" fmla="*/ 8556 h 71683"/>
                    <a:gd name="connsiteX3" fmla="*/ 0 w 69598"/>
                    <a:gd name="connsiteY3" fmla="*/ 63127 h 71683"/>
                    <a:gd name="connsiteX4" fmla="*/ 8556 w 69598"/>
                    <a:gd name="connsiteY4" fmla="*/ 71683 h 71683"/>
                    <a:gd name="connsiteX5" fmla="*/ 61035 w 69598"/>
                    <a:gd name="connsiteY5" fmla="*/ 71683 h 71683"/>
                    <a:gd name="connsiteX6" fmla="*/ 69592 w 69598"/>
                    <a:gd name="connsiteY6" fmla="*/ 63127 h 71683"/>
                    <a:gd name="connsiteX7" fmla="*/ 69592 w 69598"/>
                    <a:gd name="connsiteY7" fmla="*/ 8556 h 71683"/>
                    <a:gd name="connsiteX8" fmla="*/ 61225 w 69598"/>
                    <a:gd name="connsiteY8" fmla="*/ 0 h 71683"/>
                    <a:gd name="connsiteX9" fmla="*/ 52479 w 69598"/>
                    <a:gd name="connsiteY9" fmla="*/ 54570 h 71683"/>
                    <a:gd name="connsiteX10" fmla="*/ 17303 w 69598"/>
                    <a:gd name="connsiteY10" fmla="*/ 54570 h 71683"/>
                    <a:gd name="connsiteX11" fmla="*/ 17303 w 69598"/>
                    <a:gd name="connsiteY11" fmla="*/ 17303 h 71683"/>
                    <a:gd name="connsiteX12" fmla="*/ 52479 w 69598"/>
                    <a:gd name="connsiteY12" fmla="*/ 17303 h 71683"/>
                    <a:gd name="connsiteX13" fmla="*/ 52479 w 69598"/>
                    <a:gd name="connsiteY13" fmla="*/ 54570 h 7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598" h="71683">
                      <a:moveTo>
                        <a:pt x="61225" y="0"/>
                      </a:moveTo>
                      <a:lnTo>
                        <a:pt x="8556" y="0"/>
                      </a:lnTo>
                      <a:cubicBezTo>
                        <a:pt x="3803" y="0"/>
                        <a:pt x="0" y="3803"/>
                        <a:pt x="0" y="8556"/>
                      </a:cubicBezTo>
                      <a:lnTo>
                        <a:pt x="0" y="63127"/>
                      </a:lnTo>
                      <a:cubicBezTo>
                        <a:pt x="0" y="67880"/>
                        <a:pt x="3803" y="71683"/>
                        <a:pt x="8556" y="71683"/>
                      </a:cubicBezTo>
                      <a:lnTo>
                        <a:pt x="61035" y="71683"/>
                      </a:lnTo>
                      <a:cubicBezTo>
                        <a:pt x="65789" y="71683"/>
                        <a:pt x="69592" y="67880"/>
                        <a:pt x="69592" y="63127"/>
                      </a:cubicBezTo>
                      <a:lnTo>
                        <a:pt x="69592" y="8556"/>
                      </a:lnTo>
                      <a:cubicBezTo>
                        <a:pt x="69782" y="3993"/>
                        <a:pt x="65979" y="0"/>
                        <a:pt x="61225" y="0"/>
                      </a:cubicBezTo>
                      <a:close/>
                      <a:moveTo>
                        <a:pt x="52479" y="54570"/>
                      </a:moveTo>
                      <a:lnTo>
                        <a:pt x="17303" y="54570"/>
                      </a:lnTo>
                      <a:lnTo>
                        <a:pt x="17303" y="17303"/>
                      </a:lnTo>
                      <a:lnTo>
                        <a:pt x="52479" y="17303"/>
                      </a:lnTo>
                      <a:lnTo>
                        <a:pt x="52479" y="54570"/>
                      </a:lnTo>
                      <a:close/>
                    </a:path>
                  </a:pathLst>
                </a:custGeom>
                <a:grpFill/>
                <a:ln w="1878" cap="flat">
                  <a:noFill/>
                  <a:prstDash val="solid"/>
                  <a:miter/>
                </a:ln>
              </p:spPr>
              <p:txBody>
                <a:bodyPr rtlCol="0" anchor="ctr"/>
                <a:lstStyle/>
                <a:p>
                  <a:endParaRPr lang="en-GB" noProof="0" dirty="0"/>
                </a:p>
              </p:txBody>
            </p:sp>
            <p:sp>
              <p:nvSpPr>
                <p:cNvPr id="207" name="Freihandform: Form 206">
                  <a:extLst>
                    <a:ext uri="{FF2B5EF4-FFF2-40B4-BE49-F238E27FC236}">
                      <a16:creationId xmlns:a16="http://schemas.microsoft.com/office/drawing/2014/main" id="{2955054D-DEA0-87F7-D154-CF7C18048715}"/>
                    </a:ext>
                  </a:extLst>
                </p:cNvPr>
                <p:cNvSpPr/>
                <p:nvPr/>
              </p:nvSpPr>
              <p:spPr>
                <a:xfrm>
                  <a:off x="4771689" y="3966269"/>
                  <a:ext cx="122640" cy="71683"/>
                </a:xfrm>
                <a:custGeom>
                  <a:avLst/>
                  <a:gdLst>
                    <a:gd name="connsiteX0" fmla="*/ 8556 w 122640"/>
                    <a:gd name="connsiteY0" fmla="*/ 71683 h 71683"/>
                    <a:gd name="connsiteX1" fmla="*/ 114085 w 122640"/>
                    <a:gd name="connsiteY1" fmla="*/ 71683 h 71683"/>
                    <a:gd name="connsiteX2" fmla="*/ 122641 w 122640"/>
                    <a:gd name="connsiteY2" fmla="*/ 63127 h 71683"/>
                    <a:gd name="connsiteX3" fmla="*/ 122641 w 122640"/>
                    <a:gd name="connsiteY3" fmla="*/ 8556 h 71683"/>
                    <a:gd name="connsiteX4" fmla="*/ 114085 w 122640"/>
                    <a:gd name="connsiteY4" fmla="*/ 0 h 71683"/>
                    <a:gd name="connsiteX5" fmla="*/ 8556 w 122640"/>
                    <a:gd name="connsiteY5" fmla="*/ 0 h 71683"/>
                    <a:gd name="connsiteX6" fmla="*/ 0 w 122640"/>
                    <a:gd name="connsiteY6" fmla="*/ 8556 h 71683"/>
                    <a:gd name="connsiteX7" fmla="*/ 0 w 122640"/>
                    <a:gd name="connsiteY7" fmla="*/ 63127 h 71683"/>
                    <a:gd name="connsiteX8" fmla="*/ 8556 w 122640"/>
                    <a:gd name="connsiteY8" fmla="*/ 71683 h 71683"/>
                    <a:gd name="connsiteX9" fmla="*/ 105528 w 122640"/>
                    <a:gd name="connsiteY9" fmla="*/ 54570 h 71683"/>
                    <a:gd name="connsiteX10" fmla="*/ 69972 w 122640"/>
                    <a:gd name="connsiteY10" fmla="*/ 54570 h 71683"/>
                    <a:gd name="connsiteX11" fmla="*/ 69972 w 122640"/>
                    <a:gd name="connsiteY11" fmla="*/ 17303 h 71683"/>
                    <a:gd name="connsiteX12" fmla="*/ 105528 w 122640"/>
                    <a:gd name="connsiteY12" fmla="*/ 17303 h 71683"/>
                    <a:gd name="connsiteX13" fmla="*/ 105528 w 122640"/>
                    <a:gd name="connsiteY13" fmla="*/ 54570 h 71683"/>
                    <a:gd name="connsiteX14" fmla="*/ 17303 w 122640"/>
                    <a:gd name="connsiteY14" fmla="*/ 17113 h 71683"/>
                    <a:gd name="connsiteX15" fmla="*/ 52859 w 122640"/>
                    <a:gd name="connsiteY15" fmla="*/ 17113 h 71683"/>
                    <a:gd name="connsiteX16" fmla="*/ 52859 w 122640"/>
                    <a:gd name="connsiteY16" fmla="*/ 54380 h 71683"/>
                    <a:gd name="connsiteX17" fmla="*/ 17303 w 122640"/>
                    <a:gd name="connsiteY17" fmla="*/ 54380 h 71683"/>
                    <a:gd name="connsiteX18" fmla="*/ 17303 w 122640"/>
                    <a:gd name="connsiteY18" fmla="*/ 17113 h 7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2640" h="71683">
                      <a:moveTo>
                        <a:pt x="8556" y="71683"/>
                      </a:moveTo>
                      <a:lnTo>
                        <a:pt x="114085" y="71683"/>
                      </a:lnTo>
                      <a:cubicBezTo>
                        <a:pt x="118838" y="71683"/>
                        <a:pt x="122641" y="67880"/>
                        <a:pt x="122641" y="63127"/>
                      </a:cubicBezTo>
                      <a:lnTo>
                        <a:pt x="122641" y="8556"/>
                      </a:lnTo>
                      <a:cubicBezTo>
                        <a:pt x="122641" y="3803"/>
                        <a:pt x="118838" y="0"/>
                        <a:pt x="114085" y="0"/>
                      </a:cubicBezTo>
                      <a:lnTo>
                        <a:pt x="8556" y="0"/>
                      </a:lnTo>
                      <a:cubicBezTo>
                        <a:pt x="3803" y="0"/>
                        <a:pt x="0" y="3803"/>
                        <a:pt x="0" y="8556"/>
                      </a:cubicBezTo>
                      <a:lnTo>
                        <a:pt x="0" y="63127"/>
                      </a:lnTo>
                      <a:cubicBezTo>
                        <a:pt x="0" y="67880"/>
                        <a:pt x="3803" y="71683"/>
                        <a:pt x="8556" y="71683"/>
                      </a:cubicBezTo>
                      <a:close/>
                      <a:moveTo>
                        <a:pt x="105528" y="54570"/>
                      </a:moveTo>
                      <a:lnTo>
                        <a:pt x="69972" y="54570"/>
                      </a:lnTo>
                      <a:lnTo>
                        <a:pt x="69972" y="17303"/>
                      </a:lnTo>
                      <a:lnTo>
                        <a:pt x="105528" y="17303"/>
                      </a:lnTo>
                      <a:lnTo>
                        <a:pt x="105528" y="54570"/>
                      </a:lnTo>
                      <a:close/>
                      <a:moveTo>
                        <a:pt x="17303" y="17113"/>
                      </a:moveTo>
                      <a:lnTo>
                        <a:pt x="52859" y="17113"/>
                      </a:lnTo>
                      <a:lnTo>
                        <a:pt x="52859" y="54380"/>
                      </a:lnTo>
                      <a:lnTo>
                        <a:pt x="17303" y="54380"/>
                      </a:lnTo>
                      <a:lnTo>
                        <a:pt x="17303" y="17113"/>
                      </a:lnTo>
                      <a:close/>
                    </a:path>
                  </a:pathLst>
                </a:custGeom>
                <a:grpFill/>
                <a:ln w="1878" cap="flat">
                  <a:noFill/>
                  <a:prstDash val="solid"/>
                  <a:miter/>
                </a:ln>
              </p:spPr>
              <p:txBody>
                <a:bodyPr rtlCol="0" anchor="ctr"/>
                <a:lstStyle/>
                <a:p>
                  <a:endParaRPr lang="en-GB" noProof="0" dirty="0"/>
                </a:p>
              </p:txBody>
            </p:sp>
            <p:sp>
              <p:nvSpPr>
                <p:cNvPr id="208" name="Freihandform: Form 207">
                  <a:extLst>
                    <a:ext uri="{FF2B5EF4-FFF2-40B4-BE49-F238E27FC236}">
                      <a16:creationId xmlns:a16="http://schemas.microsoft.com/office/drawing/2014/main" id="{B9189EAF-5D8E-D47A-844C-B723F5883B5D}"/>
                    </a:ext>
                  </a:extLst>
                </p:cNvPr>
                <p:cNvSpPr/>
                <p:nvPr/>
              </p:nvSpPr>
              <p:spPr>
                <a:xfrm>
                  <a:off x="4944901" y="3966269"/>
                  <a:ext cx="122647" cy="71683"/>
                </a:xfrm>
                <a:custGeom>
                  <a:avLst/>
                  <a:gdLst>
                    <a:gd name="connsiteX0" fmla="*/ 8563 w 122647"/>
                    <a:gd name="connsiteY0" fmla="*/ 71683 h 71683"/>
                    <a:gd name="connsiteX1" fmla="*/ 114091 w 122647"/>
                    <a:gd name="connsiteY1" fmla="*/ 71683 h 71683"/>
                    <a:gd name="connsiteX2" fmla="*/ 122647 w 122647"/>
                    <a:gd name="connsiteY2" fmla="*/ 63127 h 71683"/>
                    <a:gd name="connsiteX3" fmla="*/ 122647 w 122647"/>
                    <a:gd name="connsiteY3" fmla="*/ 8556 h 71683"/>
                    <a:gd name="connsiteX4" fmla="*/ 114091 w 122647"/>
                    <a:gd name="connsiteY4" fmla="*/ 0 h 71683"/>
                    <a:gd name="connsiteX5" fmla="*/ 8563 w 122647"/>
                    <a:gd name="connsiteY5" fmla="*/ 0 h 71683"/>
                    <a:gd name="connsiteX6" fmla="*/ 7 w 122647"/>
                    <a:gd name="connsiteY6" fmla="*/ 8556 h 71683"/>
                    <a:gd name="connsiteX7" fmla="*/ 7 w 122647"/>
                    <a:gd name="connsiteY7" fmla="*/ 63127 h 71683"/>
                    <a:gd name="connsiteX8" fmla="*/ 8563 w 122647"/>
                    <a:gd name="connsiteY8" fmla="*/ 71683 h 71683"/>
                    <a:gd name="connsiteX9" fmla="*/ 105345 w 122647"/>
                    <a:gd name="connsiteY9" fmla="*/ 54570 h 71683"/>
                    <a:gd name="connsiteX10" fmla="*/ 69788 w 122647"/>
                    <a:gd name="connsiteY10" fmla="*/ 54570 h 71683"/>
                    <a:gd name="connsiteX11" fmla="*/ 69788 w 122647"/>
                    <a:gd name="connsiteY11" fmla="*/ 17303 h 71683"/>
                    <a:gd name="connsiteX12" fmla="*/ 105345 w 122647"/>
                    <a:gd name="connsiteY12" fmla="*/ 17303 h 71683"/>
                    <a:gd name="connsiteX13" fmla="*/ 105345 w 122647"/>
                    <a:gd name="connsiteY13" fmla="*/ 54570 h 71683"/>
                    <a:gd name="connsiteX14" fmla="*/ 17119 w 122647"/>
                    <a:gd name="connsiteY14" fmla="*/ 17113 h 71683"/>
                    <a:gd name="connsiteX15" fmla="*/ 52676 w 122647"/>
                    <a:gd name="connsiteY15" fmla="*/ 17113 h 71683"/>
                    <a:gd name="connsiteX16" fmla="*/ 52676 w 122647"/>
                    <a:gd name="connsiteY16" fmla="*/ 54380 h 71683"/>
                    <a:gd name="connsiteX17" fmla="*/ 17119 w 122647"/>
                    <a:gd name="connsiteY17" fmla="*/ 54380 h 71683"/>
                    <a:gd name="connsiteX18" fmla="*/ 17119 w 122647"/>
                    <a:gd name="connsiteY18" fmla="*/ 17113 h 7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2647" h="71683">
                      <a:moveTo>
                        <a:pt x="8563" y="71683"/>
                      </a:moveTo>
                      <a:lnTo>
                        <a:pt x="114091" y="71683"/>
                      </a:lnTo>
                      <a:cubicBezTo>
                        <a:pt x="118845" y="71683"/>
                        <a:pt x="122647" y="67880"/>
                        <a:pt x="122647" y="63127"/>
                      </a:cubicBezTo>
                      <a:lnTo>
                        <a:pt x="122647" y="8556"/>
                      </a:lnTo>
                      <a:cubicBezTo>
                        <a:pt x="122647" y="3803"/>
                        <a:pt x="118845" y="0"/>
                        <a:pt x="114091" y="0"/>
                      </a:cubicBezTo>
                      <a:lnTo>
                        <a:pt x="8563" y="0"/>
                      </a:lnTo>
                      <a:cubicBezTo>
                        <a:pt x="3809" y="0"/>
                        <a:pt x="7" y="3803"/>
                        <a:pt x="7" y="8556"/>
                      </a:cubicBezTo>
                      <a:lnTo>
                        <a:pt x="7" y="63127"/>
                      </a:lnTo>
                      <a:cubicBezTo>
                        <a:pt x="-184" y="67880"/>
                        <a:pt x="3809" y="71683"/>
                        <a:pt x="8563" y="71683"/>
                      </a:cubicBezTo>
                      <a:close/>
                      <a:moveTo>
                        <a:pt x="105345" y="54570"/>
                      </a:moveTo>
                      <a:lnTo>
                        <a:pt x="69788" y="54570"/>
                      </a:lnTo>
                      <a:lnTo>
                        <a:pt x="69788" y="17303"/>
                      </a:lnTo>
                      <a:lnTo>
                        <a:pt x="105345" y="17303"/>
                      </a:lnTo>
                      <a:lnTo>
                        <a:pt x="105345" y="54570"/>
                      </a:lnTo>
                      <a:close/>
                      <a:moveTo>
                        <a:pt x="17119" y="17113"/>
                      </a:moveTo>
                      <a:lnTo>
                        <a:pt x="52676" y="17113"/>
                      </a:lnTo>
                      <a:lnTo>
                        <a:pt x="52676" y="54380"/>
                      </a:lnTo>
                      <a:lnTo>
                        <a:pt x="17119" y="54380"/>
                      </a:lnTo>
                      <a:lnTo>
                        <a:pt x="17119" y="17113"/>
                      </a:lnTo>
                      <a:close/>
                    </a:path>
                  </a:pathLst>
                </a:custGeom>
                <a:grpFill/>
                <a:ln w="1878" cap="flat">
                  <a:noFill/>
                  <a:prstDash val="solid"/>
                  <a:miter/>
                </a:ln>
              </p:spPr>
              <p:txBody>
                <a:bodyPr rtlCol="0" anchor="ctr"/>
                <a:lstStyle/>
                <a:p>
                  <a:endParaRPr lang="en-GB" noProof="0" dirty="0"/>
                </a:p>
              </p:txBody>
            </p:sp>
            <p:sp>
              <p:nvSpPr>
                <p:cNvPr id="209" name="Freihandform: Form 208">
                  <a:extLst>
                    <a:ext uri="{FF2B5EF4-FFF2-40B4-BE49-F238E27FC236}">
                      <a16:creationId xmlns:a16="http://schemas.microsoft.com/office/drawing/2014/main" id="{624B5911-7509-7140-A7F1-1DE1A090DD00}"/>
                    </a:ext>
                  </a:extLst>
                </p:cNvPr>
                <p:cNvSpPr/>
                <p:nvPr/>
              </p:nvSpPr>
              <p:spPr>
                <a:xfrm>
                  <a:off x="4944901" y="3850853"/>
                  <a:ext cx="122647" cy="71683"/>
                </a:xfrm>
                <a:custGeom>
                  <a:avLst/>
                  <a:gdLst>
                    <a:gd name="connsiteX0" fmla="*/ 8563 w 122647"/>
                    <a:gd name="connsiteY0" fmla="*/ 71683 h 71683"/>
                    <a:gd name="connsiteX1" fmla="*/ 114091 w 122647"/>
                    <a:gd name="connsiteY1" fmla="*/ 71683 h 71683"/>
                    <a:gd name="connsiteX2" fmla="*/ 122647 w 122647"/>
                    <a:gd name="connsiteY2" fmla="*/ 63127 h 71683"/>
                    <a:gd name="connsiteX3" fmla="*/ 122647 w 122647"/>
                    <a:gd name="connsiteY3" fmla="*/ 8556 h 71683"/>
                    <a:gd name="connsiteX4" fmla="*/ 114091 w 122647"/>
                    <a:gd name="connsiteY4" fmla="*/ 0 h 71683"/>
                    <a:gd name="connsiteX5" fmla="*/ 8563 w 122647"/>
                    <a:gd name="connsiteY5" fmla="*/ 0 h 71683"/>
                    <a:gd name="connsiteX6" fmla="*/ 7 w 122647"/>
                    <a:gd name="connsiteY6" fmla="*/ 8556 h 71683"/>
                    <a:gd name="connsiteX7" fmla="*/ 7 w 122647"/>
                    <a:gd name="connsiteY7" fmla="*/ 63127 h 71683"/>
                    <a:gd name="connsiteX8" fmla="*/ 8563 w 122647"/>
                    <a:gd name="connsiteY8" fmla="*/ 71683 h 71683"/>
                    <a:gd name="connsiteX9" fmla="*/ 105345 w 122647"/>
                    <a:gd name="connsiteY9" fmla="*/ 54380 h 71683"/>
                    <a:gd name="connsiteX10" fmla="*/ 69788 w 122647"/>
                    <a:gd name="connsiteY10" fmla="*/ 54380 h 71683"/>
                    <a:gd name="connsiteX11" fmla="*/ 69788 w 122647"/>
                    <a:gd name="connsiteY11" fmla="*/ 17113 h 71683"/>
                    <a:gd name="connsiteX12" fmla="*/ 105345 w 122647"/>
                    <a:gd name="connsiteY12" fmla="*/ 17113 h 71683"/>
                    <a:gd name="connsiteX13" fmla="*/ 105345 w 122647"/>
                    <a:gd name="connsiteY13" fmla="*/ 54380 h 71683"/>
                    <a:gd name="connsiteX14" fmla="*/ 17119 w 122647"/>
                    <a:gd name="connsiteY14" fmla="*/ 17113 h 71683"/>
                    <a:gd name="connsiteX15" fmla="*/ 52676 w 122647"/>
                    <a:gd name="connsiteY15" fmla="*/ 17113 h 71683"/>
                    <a:gd name="connsiteX16" fmla="*/ 52676 w 122647"/>
                    <a:gd name="connsiteY16" fmla="*/ 54380 h 71683"/>
                    <a:gd name="connsiteX17" fmla="*/ 17119 w 122647"/>
                    <a:gd name="connsiteY17" fmla="*/ 54380 h 71683"/>
                    <a:gd name="connsiteX18" fmla="*/ 17119 w 122647"/>
                    <a:gd name="connsiteY18" fmla="*/ 17113 h 7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2647" h="71683">
                      <a:moveTo>
                        <a:pt x="8563" y="71683"/>
                      </a:moveTo>
                      <a:lnTo>
                        <a:pt x="114091" y="71683"/>
                      </a:lnTo>
                      <a:cubicBezTo>
                        <a:pt x="118845" y="71683"/>
                        <a:pt x="122647" y="67880"/>
                        <a:pt x="122647" y="63127"/>
                      </a:cubicBezTo>
                      <a:lnTo>
                        <a:pt x="122647" y="8556"/>
                      </a:lnTo>
                      <a:cubicBezTo>
                        <a:pt x="122647" y="3803"/>
                        <a:pt x="118845" y="0"/>
                        <a:pt x="114091" y="0"/>
                      </a:cubicBezTo>
                      <a:lnTo>
                        <a:pt x="8563" y="0"/>
                      </a:lnTo>
                      <a:cubicBezTo>
                        <a:pt x="3809" y="0"/>
                        <a:pt x="7" y="3803"/>
                        <a:pt x="7" y="8556"/>
                      </a:cubicBezTo>
                      <a:lnTo>
                        <a:pt x="7" y="63127"/>
                      </a:lnTo>
                      <a:cubicBezTo>
                        <a:pt x="-184" y="67880"/>
                        <a:pt x="3809" y="71683"/>
                        <a:pt x="8563" y="71683"/>
                      </a:cubicBezTo>
                      <a:close/>
                      <a:moveTo>
                        <a:pt x="105345" y="54380"/>
                      </a:moveTo>
                      <a:lnTo>
                        <a:pt x="69788" y="54380"/>
                      </a:lnTo>
                      <a:lnTo>
                        <a:pt x="69788" y="17113"/>
                      </a:lnTo>
                      <a:lnTo>
                        <a:pt x="105345" y="17113"/>
                      </a:lnTo>
                      <a:lnTo>
                        <a:pt x="105345" y="54380"/>
                      </a:lnTo>
                      <a:close/>
                      <a:moveTo>
                        <a:pt x="17119" y="17113"/>
                      </a:moveTo>
                      <a:lnTo>
                        <a:pt x="52676" y="17113"/>
                      </a:lnTo>
                      <a:lnTo>
                        <a:pt x="52676" y="54380"/>
                      </a:lnTo>
                      <a:lnTo>
                        <a:pt x="17119" y="54380"/>
                      </a:lnTo>
                      <a:lnTo>
                        <a:pt x="17119" y="17113"/>
                      </a:lnTo>
                      <a:close/>
                    </a:path>
                  </a:pathLst>
                </a:custGeom>
                <a:grpFill/>
                <a:ln w="1878" cap="flat">
                  <a:noFill/>
                  <a:prstDash val="solid"/>
                  <a:miter/>
                </a:ln>
              </p:spPr>
              <p:txBody>
                <a:bodyPr rtlCol="0" anchor="ctr"/>
                <a:lstStyle/>
                <a:p>
                  <a:endParaRPr lang="en-GB" noProof="0" dirty="0"/>
                </a:p>
              </p:txBody>
            </p:sp>
            <p:sp>
              <p:nvSpPr>
                <p:cNvPr id="210" name="Freihandform: Form 209">
                  <a:extLst>
                    <a:ext uri="{FF2B5EF4-FFF2-40B4-BE49-F238E27FC236}">
                      <a16:creationId xmlns:a16="http://schemas.microsoft.com/office/drawing/2014/main" id="{C038C907-C9DE-9C84-0392-A58776E921F3}"/>
                    </a:ext>
                  </a:extLst>
                </p:cNvPr>
                <p:cNvSpPr/>
                <p:nvPr/>
              </p:nvSpPr>
              <p:spPr>
                <a:xfrm>
                  <a:off x="4771689" y="3850853"/>
                  <a:ext cx="122640" cy="71683"/>
                </a:xfrm>
                <a:custGeom>
                  <a:avLst/>
                  <a:gdLst>
                    <a:gd name="connsiteX0" fmla="*/ 8556 w 122640"/>
                    <a:gd name="connsiteY0" fmla="*/ 71683 h 71683"/>
                    <a:gd name="connsiteX1" fmla="*/ 114085 w 122640"/>
                    <a:gd name="connsiteY1" fmla="*/ 71683 h 71683"/>
                    <a:gd name="connsiteX2" fmla="*/ 122641 w 122640"/>
                    <a:gd name="connsiteY2" fmla="*/ 63127 h 71683"/>
                    <a:gd name="connsiteX3" fmla="*/ 122641 w 122640"/>
                    <a:gd name="connsiteY3" fmla="*/ 8556 h 71683"/>
                    <a:gd name="connsiteX4" fmla="*/ 114085 w 122640"/>
                    <a:gd name="connsiteY4" fmla="*/ 0 h 71683"/>
                    <a:gd name="connsiteX5" fmla="*/ 8556 w 122640"/>
                    <a:gd name="connsiteY5" fmla="*/ 0 h 71683"/>
                    <a:gd name="connsiteX6" fmla="*/ 0 w 122640"/>
                    <a:gd name="connsiteY6" fmla="*/ 8556 h 71683"/>
                    <a:gd name="connsiteX7" fmla="*/ 0 w 122640"/>
                    <a:gd name="connsiteY7" fmla="*/ 63127 h 71683"/>
                    <a:gd name="connsiteX8" fmla="*/ 8556 w 122640"/>
                    <a:gd name="connsiteY8" fmla="*/ 71683 h 71683"/>
                    <a:gd name="connsiteX9" fmla="*/ 105528 w 122640"/>
                    <a:gd name="connsiteY9" fmla="*/ 54380 h 71683"/>
                    <a:gd name="connsiteX10" fmla="*/ 69972 w 122640"/>
                    <a:gd name="connsiteY10" fmla="*/ 54380 h 71683"/>
                    <a:gd name="connsiteX11" fmla="*/ 69972 w 122640"/>
                    <a:gd name="connsiteY11" fmla="*/ 17113 h 71683"/>
                    <a:gd name="connsiteX12" fmla="*/ 105528 w 122640"/>
                    <a:gd name="connsiteY12" fmla="*/ 17113 h 71683"/>
                    <a:gd name="connsiteX13" fmla="*/ 105528 w 122640"/>
                    <a:gd name="connsiteY13" fmla="*/ 54380 h 71683"/>
                    <a:gd name="connsiteX14" fmla="*/ 17303 w 122640"/>
                    <a:gd name="connsiteY14" fmla="*/ 17113 h 71683"/>
                    <a:gd name="connsiteX15" fmla="*/ 52859 w 122640"/>
                    <a:gd name="connsiteY15" fmla="*/ 17113 h 71683"/>
                    <a:gd name="connsiteX16" fmla="*/ 52859 w 122640"/>
                    <a:gd name="connsiteY16" fmla="*/ 54380 h 71683"/>
                    <a:gd name="connsiteX17" fmla="*/ 17303 w 122640"/>
                    <a:gd name="connsiteY17" fmla="*/ 54380 h 71683"/>
                    <a:gd name="connsiteX18" fmla="*/ 17303 w 122640"/>
                    <a:gd name="connsiteY18" fmla="*/ 17113 h 7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2640" h="71683">
                      <a:moveTo>
                        <a:pt x="8556" y="71683"/>
                      </a:moveTo>
                      <a:lnTo>
                        <a:pt x="114085" y="71683"/>
                      </a:lnTo>
                      <a:cubicBezTo>
                        <a:pt x="118838" y="71683"/>
                        <a:pt x="122641" y="67880"/>
                        <a:pt x="122641" y="63127"/>
                      </a:cubicBezTo>
                      <a:lnTo>
                        <a:pt x="122641" y="8556"/>
                      </a:lnTo>
                      <a:cubicBezTo>
                        <a:pt x="122641" y="3803"/>
                        <a:pt x="118838" y="0"/>
                        <a:pt x="114085" y="0"/>
                      </a:cubicBezTo>
                      <a:lnTo>
                        <a:pt x="8556" y="0"/>
                      </a:lnTo>
                      <a:cubicBezTo>
                        <a:pt x="3803" y="0"/>
                        <a:pt x="0" y="3803"/>
                        <a:pt x="0" y="8556"/>
                      </a:cubicBezTo>
                      <a:lnTo>
                        <a:pt x="0" y="63127"/>
                      </a:lnTo>
                      <a:cubicBezTo>
                        <a:pt x="0" y="67880"/>
                        <a:pt x="3803" y="71683"/>
                        <a:pt x="8556" y="71683"/>
                      </a:cubicBezTo>
                      <a:close/>
                      <a:moveTo>
                        <a:pt x="105528" y="54380"/>
                      </a:moveTo>
                      <a:lnTo>
                        <a:pt x="69972" y="54380"/>
                      </a:lnTo>
                      <a:lnTo>
                        <a:pt x="69972" y="17113"/>
                      </a:lnTo>
                      <a:lnTo>
                        <a:pt x="105528" y="17113"/>
                      </a:lnTo>
                      <a:lnTo>
                        <a:pt x="105528" y="54380"/>
                      </a:lnTo>
                      <a:close/>
                      <a:moveTo>
                        <a:pt x="17303" y="17113"/>
                      </a:moveTo>
                      <a:lnTo>
                        <a:pt x="52859" y="17113"/>
                      </a:lnTo>
                      <a:lnTo>
                        <a:pt x="52859" y="54380"/>
                      </a:lnTo>
                      <a:lnTo>
                        <a:pt x="17303" y="54380"/>
                      </a:lnTo>
                      <a:lnTo>
                        <a:pt x="17303" y="17113"/>
                      </a:lnTo>
                      <a:close/>
                    </a:path>
                  </a:pathLst>
                </a:custGeom>
                <a:grpFill/>
                <a:ln w="1878" cap="flat">
                  <a:noFill/>
                  <a:prstDash val="solid"/>
                  <a:miter/>
                </a:ln>
              </p:spPr>
              <p:txBody>
                <a:bodyPr rtlCol="0" anchor="ctr"/>
                <a:lstStyle/>
                <a:p>
                  <a:endParaRPr lang="en-GB" noProof="0" dirty="0"/>
                </a:p>
              </p:txBody>
            </p:sp>
          </p:grpSp>
        </p:grpSp>
      </p:grpSp>
      <p:grpSp>
        <p:nvGrpSpPr>
          <p:cNvPr id="264" name="Grafik 138">
            <a:extLst>
              <a:ext uri="{FF2B5EF4-FFF2-40B4-BE49-F238E27FC236}">
                <a16:creationId xmlns:a16="http://schemas.microsoft.com/office/drawing/2014/main" id="{11475F0C-4CC7-C710-BB20-6705C6F82BA5}"/>
              </a:ext>
            </a:extLst>
          </p:cNvPr>
          <p:cNvGrpSpPr>
            <a:grpSpLocks noChangeAspect="1"/>
          </p:cNvGrpSpPr>
          <p:nvPr/>
        </p:nvGrpSpPr>
        <p:grpSpPr>
          <a:xfrm>
            <a:off x="2356729" y="3010237"/>
            <a:ext cx="294690" cy="294690"/>
            <a:chOff x="957731" y="3520661"/>
            <a:chExt cx="540000" cy="540000"/>
          </a:xfrm>
          <a:solidFill>
            <a:schemeClr val="accent1"/>
          </a:solidFill>
        </p:grpSpPr>
        <p:grpSp>
          <p:nvGrpSpPr>
            <p:cNvPr id="265" name="Grafik 138">
              <a:extLst>
                <a:ext uri="{FF2B5EF4-FFF2-40B4-BE49-F238E27FC236}">
                  <a16:creationId xmlns:a16="http://schemas.microsoft.com/office/drawing/2014/main" id="{FCFB4D87-B95A-C5CF-466B-521DC09EB2B7}"/>
                </a:ext>
              </a:extLst>
            </p:cNvPr>
            <p:cNvGrpSpPr/>
            <p:nvPr/>
          </p:nvGrpSpPr>
          <p:grpSpPr>
            <a:xfrm>
              <a:off x="957731" y="3520661"/>
              <a:ext cx="538859" cy="539049"/>
              <a:chOff x="957731" y="3520661"/>
              <a:chExt cx="538859" cy="539049"/>
            </a:xfrm>
            <a:grpFill/>
          </p:grpSpPr>
          <p:sp>
            <p:nvSpPr>
              <p:cNvPr id="266" name="Freihandform: Form 265">
                <a:extLst>
                  <a:ext uri="{FF2B5EF4-FFF2-40B4-BE49-F238E27FC236}">
                    <a16:creationId xmlns:a16="http://schemas.microsoft.com/office/drawing/2014/main" id="{D85D790B-355E-899B-5326-1DE0318A1AD7}"/>
                  </a:ext>
                </a:extLst>
              </p:cNvPr>
              <p:cNvSpPr/>
              <p:nvPr/>
            </p:nvSpPr>
            <p:spPr>
              <a:xfrm>
                <a:off x="957731" y="3726963"/>
                <a:ext cx="538859" cy="332746"/>
              </a:xfrm>
              <a:custGeom>
                <a:avLst/>
                <a:gdLst>
                  <a:gd name="connsiteX0" fmla="*/ 56472 w 538859"/>
                  <a:gd name="connsiteY0" fmla="*/ 0 h 332746"/>
                  <a:gd name="connsiteX1" fmla="*/ 0 w 538859"/>
                  <a:gd name="connsiteY1" fmla="*/ 176641 h 332746"/>
                  <a:gd name="connsiteX2" fmla="*/ 73394 w 538859"/>
                  <a:gd name="connsiteY2" fmla="*/ 332746 h 332746"/>
                  <a:gd name="connsiteX3" fmla="*/ 488662 w 538859"/>
                  <a:gd name="connsiteY3" fmla="*/ 332746 h 332746"/>
                  <a:gd name="connsiteX4" fmla="*/ 538289 w 538859"/>
                  <a:gd name="connsiteY4" fmla="*/ 186338 h 332746"/>
                  <a:gd name="connsiteX5" fmla="*/ 538859 w 538859"/>
                  <a:gd name="connsiteY5" fmla="*/ 190 h 332746"/>
                  <a:gd name="connsiteX6" fmla="*/ 56472 w 538859"/>
                  <a:gd name="connsiteY6" fmla="*/ 190 h 332746"/>
                  <a:gd name="connsiteX7" fmla="*/ 521366 w 538859"/>
                  <a:gd name="connsiteY7" fmla="*/ 17493 h 332746"/>
                  <a:gd name="connsiteX8" fmla="*/ 520986 w 538859"/>
                  <a:gd name="connsiteY8" fmla="*/ 171507 h 332746"/>
                  <a:gd name="connsiteX9" fmla="*/ 409373 w 538859"/>
                  <a:gd name="connsiteY9" fmla="*/ 171507 h 332746"/>
                  <a:gd name="connsiteX10" fmla="*/ 409373 w 538859"/>
                  <a:gd name="connsiteY10" fmla="*/ 17493 h 332746"/>
                  <a:gd name="connsiteX11" fmla="*/ 521366 w 538859"/>
                  <a:gd name="connsiteY11" fmla="*/ 17493 h 332746"/>
                  <a:gd name="connsiteX12" fmla="*/ 25099 w 538859"/>
                  <a:gd name="connsiteY12" fmla="*/ 188810 h 332746"/>
                  <a:gd name="connsiteX13" fmla="*/ 519085 w 538859"/>
                  <a:gd name="connsiteY13" fmla="*/ 188810 h 332746"/>
                  <a:gd name="connsiteX14" fmla="*/ 508246 w 538859"/>
                  <a:gd name="connsiteY14" fmla="*/ 220754 h 332746"/>
                  <a:gd name="connsiteX15" fmla="*/ 40120 w 538859"/>
                  <a:gd name="connsiteY15" fmla="*/ 220754 h 332746"/>
                  <a:gd name="connsiteX16" fmla="*/ 25099 w 538859"/>
                  <a:gd name="connsiteY16" fmla="*/ 188810 h 332746"/>
                  <a:gd name="connsiteX17" fmla="*/ 391880 w 538859"/>
                  <a:gd name="connsiteY17" fmla="*/ 17493 h 332746"/>
                  <a:gd name="connsiteX18" fmla="*/ 391880 w 538859"/>
                  <a:gd name="connsiteY18" fmla="*/ 171507 h 332746"/>
                  <a:gd name="connsiteX19" fmla="*/ 284261 w 538859"/>
                  <a:gd name="connsiteY19" fmla="*/ 171507 h 332746"/>
                  <a:gd name="connsiteX20" fmla="*/ 284261 w 538859"/>
                  <a:gd name="connsiteY20" fmla="*/ 17493 h 332746"/>
                  <a:gd name="connsiteX21" fmla="*/ 391880 w 538859"/>
                  <a:gd name="connsiteY21" fmla="*/ 17493 h 332746"/>
                  <a:gd name="connsiteX22" fmla="*/ 266577 w 538859"/>
                  <a:gd name="connsiteY22" fmla="*/ 17493 h 332746"/>
                  <a:gd name="connsiteX23" fmla="*/ 266577 w 538859"/>
                  <a:gd name="connsiteY23" fmla="*/ 171507 h 332746"/>
                  <a:gd name="connsiteX24" fmla="*/ 158387 w 538859"/>
                  <a:gd name="connsiteY24" fmla="*/ 171507 h 332746"/>
                  <a:gd name="connsiteX25" fmla="*/ 158387 w 538859"/>
                  <a:gd name="connsiteY25" fmla="*/ 17493 h 332746"/>
                  <a:gd name="connsiteX26" fmla="*/ 266577 w 538859"/>
                  <a:gd name="connsiteY26" fmla="*/ 17493 h 332746"/>
                  <a:gd name="connsiteX27" fmla="*/ 69211 w 538859"/>
                  <a:gd name="connsiteY27" fmla="*/ 17493 h 332746"/>
                  <a:gd name="connsiteX28" fmla="*/ 140894 w 538859"/>
                  <a:gd name="connsiteY28" fmla="*/ 17493 h 332746"/>
                  <a:gd name="connsiteX29" fmla="*/ 140894 w 538859"/>
                  <a:gd name="connsiteY29" fmla="*/ 171507 h 332746"/>
                  <a:gd name="connsiteX30" fmla="*/ 19965 w 538859"/>
                  <a:gd name="connsiteY30" fmla="*/ 171507 h 332746"/>
                  <a:gd name="connsiteX31" fmla="*/ 69211 w 538859"/>
                  <a:gd name="connsiteY31" fmla="*/ 17493 h 332746"/>
                  <a:gd name="connsiteX32" fmla="*/ 476113 w 538859"/>
                  <a:gd name="connsiteY32" fmla="*/ 315254 h 332746"/>
                  <a:gd name="connsiteX33" fmla="*/ 84423 w 538859"/>
                  <a:gd name="connsiteY33" fmla="*/ 315254 h 332746"/>
                  <a:gd name="connsiteX34" fmla="*/ 48296 w 538859"/>
                  <a:gd name="connsiteY34" fmla="*/ 238246 h 332746"/>
                  <a:gd name="connsiteX35" fmla="*/ 502352 w 538859"/>
                  <a:gd name="connsiteY35" fmla="*/ 238246 h 332746"/>
                  <a:gd name="connsiteX36" fmla="*/ 476113 w 538859"/>
                  <a:gd name="connsiteY36" fmla="*/ 315254 h 33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38859" h="332746">
                    <a:moveTo>
                      <a:pt x="56472" y="0"/>
                    </a:moveTo>
                    <a:lnTo>
                      <a:pt x="0" y="176641"/>
                    </a:lnTo>
                    <a:lnTo>
                      <a:pt x="73394" y="332746"/>
                    </a:lnTo>
                    <a:lnTo>
                      <a:pt x="488662" y="332746"/>
                    </a:lnTo>
                    <a:lnTo>
                      <a:pt x="538289" y="186338"/>
                    </a:lnTo>
                    <a:lnTo>
                      <a:pt x="538859" y="190"/>
                    </a:lnTo>
                    <a:lnTo>
                      <a:pt x="56472" y="190"/>
                    </a:lnTo>
                    <a:close/>
                    <a:moveTo>
                      <a:pt x="521366" y="17493"/>
                    </a:moveTo>
                    <a:lnTo>
                      <a:pt x="520986" y="171507"/>
                    </a:lnTo>
                    <a:lnTo>
                      <a:pt x="409373" y="171507"/>
                    </a:lnTo>
                    <a:lnTo>
                      <a:pt x="409373" y="17493"/>
                    </a:lnTo>
                    <a:lnTo>
                      <a:pt x="521366" y="17493"/>
                    </a:lnTo>
                    <a:close/>
                    <a:moveTo>
                      <a:pt x="25099" y="188810"/>
                    </a:moveTo>
                    <a:lnTo>
                      <a:pt x="519085" y="188810"/>
                    </a:lnTo>
                    <a:lnTo>
                      <a:pt x="508246" y="220754"/>
                    </a:lnTo>
                    <a:lnTo>
                      <a:pt x="40120" y="220754"/>
                    </a:lnTo>
                    <a:lnTo>
                      <a:pt x="25099" y="188810"/>
                    </a:lnTo>
                    <a:close/>
                    <a:moveTo>
                      <a:pt x="391880" y="17493"/>
                    </a:moveTo>
                    <a:lnTo>
                      <a:pt x="391880" y="171507"/>
                    </a:lnTo>
                    <a:lnTo>
                      <a:pt x="284261" y="171507"/>
                    </a:lnTo>
                    <a:lnTo>
                      <a:pt x="284261" y="17493"/>
                    </a:lnTo>
                    <a:lnTo>
                      <a:pt x="391880" y="17493"/>
                    </a:lnTo>
                    <a:close/>
                    <a:moveTo>
                      <a:pt x="266577" y="17493"/>
                    </a:moveTo>
                    <a:lnTo>
                      <a:pt x="266577" y="171507"/>
                    </a:lnTo>
                    <a:lnTo>
                      <a:pt x="158387" y="171507"/>
                    </a:lnTo>
                    <a:lnTo>
                      <a:pt x="158387" y="17493"/>
                    </a:lnTo>
                    <a:lnTo>
                      <a:pt x="266577" y="17493"/>
                    </a:lnTo>
                    <a:close/>
                    <a:moveTo>
                      <a:pt x="69211" y="17493"/>
                    </a:moveTo>
                    <a:lnTo>
                      <a:pt x="140894" y="17493"/>
                    </a:lnTo>
                    <a:lnTo>
                      <a:pt x="140894" y="171507"/>
                    </a:lnTo>
                    <a:lnTo>
                      <a:pt x="19965" y="171507"/>
                    </a:lnTo>
                    <a:lnTo>
                      <a:pt x="69211" y="17493"/>
                    </a:lnTo>
                    <a:close/>
                    <a:moveTo>
                      <a:pt x="476113" y="315254"/>
                    </a:moveTo>
                    <a:lnTo>
                      <a:pt x="84423" y="315254"/>
                    </a:lnTo>
                    <a:lnTo>
                      <a:pt x="48296" y="238246"/>
                    </a:lnTo>
                    <a:lnTo>
                      <a:pt x="502352" y="238246"/>
                    </a:lnTo>
                    <a:lnTo>
                      <a:pt x="476113" y="315254"/>
                    </a:lnTo>
                    <a:close/>
                  </a:path>
                </a:pathLst>
              </a:custGeom>
              <a:grpFill/>
              <a:ln w="1878" cap="flat">
                <a:noFill/>
                <a:prstDash val="solid"/>
                <a:miter/>
              </a:ln>
            </p:spPr>
            <p:txBody>
              <a:bodyPr rtlCol="0" anchor="ctr"/>
              <a:lstStyle/>
              <a:p>
                <a:endParaRPr lang="en-GB" noProof="0" dirty="0"/>
              </a:p>
            </p:txBody>
          </p:sp>
        </p:grpSp>
      </p:grpSp>
      <p:grpSp>
        <p:nvGrpSpPr>
          <p:cNvPr id="275" name="Grafik 6">
            <a:extLst>
              <a:ext uri="{FF2B5EF4-FFF2-40B4-BE49-F238E27FC236}">
                <a16:creationId xmlns:a16="http://schemas.microsoft.com/office/drawing/2014/main" id="{673D852F-38FC-CF1C-F32F-7C6975217590}"/>
              </a:ext>
            </a:extLst>
          </p:cNvPr>
          <p:cNvGrpSpPr>
            <a:grpSpLocks noChangeAspect="1"/>
          </p:cNvGrpSpPr>
          <p:nvPr/>
        </p:nvGrpSpPr>
        <p:grpSpPr>
          <a:xfrm>
            <a:off x="975769" y="2569378"/>
            <a:ext cx="324000" cy="324000"/>
            <a:chOff x="2592285" y="3696079"/>
            <a:chExt cx="540000" cy="540000"/>
          </a:xfrm>
          <a:solidFill>
            <a:schemeClr val="accent1"/>
          </a:solidFill>
        </p:grpSpPr>
        <p:grpSp>
          <p:nvGrpSpPr>
            <p:cNvPr id="276" name="Grafik 6">
              <a:extLst>
                <a:ext uri="{FF2B5EF4-FFF2-40B4-BE49-F238E27FC236}">
                  <a16:creationId xmlns:a16="http://schemas.microsoft.com/office/drawing/2014/main" id="{AA056176-6C4E-062D-254A-448444D648CF}"/>
                </a:ext>
              </a:extLst>
            </p:cNvPr>
            <p:cNvGrpSpPr/>
            <p:nvPr/>
          </p:nvGrpSpPr>
          <p:grpSpPr>
            <a:xfrm>
              <a:off x="2592285" y="3696079"/>
              <a:ext cx="532109" cy="538668"/>
              <a:chOff x="2592285" y="3696079"/>
              <a:chExt cx="532109" cy="538668"/>
            </a:xfrm>
            <a:grpFill/>
          </p:grpSpPr>
          <p:sp>
            <p:nvSpPr>
              <p:cNvPr id="277" name="Freihandform: Form 276">
                <a:extLst>
                  <a:ext uri="{FF2B5EF4-FFF2-40B4-BE49-F238E27FC236}">
                    <a16:creationId xmlns:a16="http://schemas.microsoft.com/office/drawing/2014/main" id="{EE96DAE6-0871-41B5-0A02-FED78867B2FF}"/>
                  </a:ext>
                </a:extLst>
              </p:cNvPr>
              <p:cNvSpPr/>
              <p:nvPr/>
            </p:nvSpPr>
            <p:spPr>
              <a:xfrm>
                <a:off x="2599152" y="3791339"/>
                <a:ext cx="525241" cy="443408"/>
              </a:xfrm>
              <a:custGeom>
                <a:avLst/>
                <a:gdLst>
                  <a:gd name="connsiteX0" fmla="*/ 524005 w 525241"/>
                  <a:gd name="connsiteY0" fmla="*/ 143176 h 443408"/>
                  <a:gd name="connsiteX1" fmla="*/ 495865 w 525241"/>
                  <a:gd name="connsiteY1" fmla="*/ 98873 h 443408"/>
                  <a:gd name="connsiteX2" fmla="*/ 495865 w 525241"/>
                  <a:gd name="connsiteY2" fmla="*/ 55521 h 443408"/>
                  <a:gd name="connsiteX3" fmla="*/ 487308 w 525241"/>
                  <a:gd name="connsiteY3" fmla="*/ 46965 h 443408"/>
                  <a:gd name="connsiteX4" fmla="*/ 433879 w 525241"/>
                  <a:gd name="connsiteY4" fmla="*/ 46965 h 443408"/>
                  <a:gd name="connsiteX5" fmla="*/ 433879 w 525241"/>
                  <a:gd name="connsiteY5" fmla="*/ 8556 h 443408"/>
                  <a:gd name="connsiteX6" fmla="*/ 425322 w 525241"/>
                  <a:gd name="connsiteY6" fmla="*/ 0 h 443408"/>
                  <a:gd name="connsiteX7" fmla="*/ 99611 w 525241"/>
                  <a:gd name="connsiteY7" fmla="*/ 0 h 443408"/>
                  <a:gd name="connsiteX8" fmla="*/ 91055 w 525241"/>
                  <a:gd name="connsiteY8" fmla="*/ 8556 h 443408"/>
                  <a:gd name="connsiteX9" fmla="*/ 91055 w 525241"/>
                  <a:gd name="connsiteY9" fmla="*/ 46775 h 443408"/>
                  <a:gd name="connsiteX10" fmla="*/ 37625 w 525241"/>
                  <a:gd name="connsiteY10" fmla="*/ 46775 h 443408"/>
                  <a:gd name="connsiteX11" fmla="*/ 29069 w 525241"/>
                  <a:gd name="connsiteY11" fmla="*/ 55331 h 443408"/>
                  <a:gd name="connsiteX12" fmla="*/ 29069 w 525241"/>
                  <a:gd name="connsiteY12" fmla="*/ 99254 h 443408"/>
                  <a:gd name="connsiteX13" fmla="*/ 1308 w 525241"/>
                  <a:gd name="connsiteY13" fmla="*/ 142986 h 443408"/>
                  <a:gd name="connsiteX14" fmla="*/ 1118 w 525241"/>
                  <a:gd name="connsiteY14" fmla="*/ 151732 h 443408"/>
                  <a:gd name="connsiteX15" fmla="*/ 8534 w 525241"/>
                  <a:gd name="connsiteY15" fmla="*/ 156106 h 443408"/>
                  <a:gd name="connsiteX16" fmla="*/ 67667 w 525241"/>
                  <a:gd name="connsiteY16" fmla="*/ 156106 h 443408"/>
                  <a:gd name="connsiteX17" fmla="*/ 67667 w 525241"/>
                  <a:gd name="connsiteY17" fmla="*/ 426296 h 443408"/>
                  <a:gd name="connsiteX18" fmla="*/ 25266 w 525241"/>
                  <a:gd name="connsiteY18" fmla="*/ 426296 h 443408"/>
                  <a:gd name="connsiteX19" fmla="*/ 16710 w 525241"/>
                  <a:gd name="connsiteY19" fmla="*/ 434852 h 443408"/>
                  <a:gd name="connsiteX20" fmla="*/ 25266 w 525241"/>
                  <a:gd name="connsiteY20" fmla="*/ 443408 h 443408"/>
                  <a:gd name="connsiteX21" fmla="*/ 499858 w 525241"/>
                  <a:gd name="connsiteY21" fmla="*/ 443408 h 443408"/>
                  <a:gd name="connsiteX22" fmla="*/ 508414 w 525241"/>
                  <a:gd name="connsiteY22" fmla="*/ 434852 h 443408"/>
                  <a:gd name="connsiteX23" fmla="*/ 499858 w 525241"/>
                  <a:gd name="connsiteY23" fmla="*/ 426296 h 443408"/>
                  <a:gd name="connsiteX24" fmla="*/ 457456 w 525241"/>
                  <a:gd name="connsiteY24" fmla="*/ 426296 h 443408"/>
                  <a:gd name="connsiteX25" fmla="*/ 457456 w 525241"/>
                  <a:gd name="connsiteY25" fmla="*/ 156106 h 443408"/>
                  <a:gd name="connsiteX26" fmla="*/ 516780 w 525241"/>
                  <a:gd name="connsiteY26" fmla="*/ 156106 h 443408"/>
                  <a:gd name="connsiteX27" fmla="*/ 524196 w 525241"/>
                  <a:gd name="connsiteY27" fmla="*/ 151732 h 443408"/>
                  <a:gd name="connsiteX28" fmla="*/ 524005 w 525241"/>
                  <a:gd name="connsiteY28" fmla="*/ 143176 h 443408"/>
                  <a:gd name="connsiteX29" fmla="*/ 450991 w 525241"/>
                  <a:gd name="connsiteY29" fmla="*/ 139183 h 443408"/>
                  <a:gd name="connsiteX30" fmla="*/ 441865 w 525241"/>
                  <a:gd name="connsiteY30" fmla="*/ 110282 h 443408"/>
                  <a:gd name="connsiteX31" fmla="*/ 482745 w 525241"/>
                  <a:gd name="connsiteY31" fmla="*/ 110282 h 443408"/>
                  <a:gd name="connsiteX32" fmla="*/ 501189 w 525241"/>
                  <a:gd name="connsiteY32" fmla="*/ 139183 h 443408"/>
                  <a:gd name="connsiteX33" fmla="*/ 450991 w 525241"/>
                  <a:gd name="connsiteY33" fmla="*/ 139183 h 443408"/>
                  <a:gd name="connsiteX34" fmla="*/ 108167 w 525241"/>
                  <a:gd name="connsiteY34" fmla="*/ 17113 h 443408"/>
                  <a:gd name="connsiteX35" fmla="*/ 416576 w 525241"/>
                  <a:gd name="connsiteY35" fmla="*/ 17113 h 443408"/>
                  <a:gd name="connsiteX36" fmla="*/ 416576 w 525241"/>
                  <a:gd name="connsiteY36" fmla="*/ 46014 h 443408"/>
                  <a:gd name="connsiteX37" fmla="*/ 108167 w 525241"/>
                  <a:gd name="connsiteY37" fmla="*/ 46014 h 443408"/>
                  <a:gd name="connsiteX38" fmla="*/ 108167 w 525241"/>
                  <a:gd name="connsiteY38" fmla="*/ 17113 h 443408"/>
                  <a:gd name="connsiteX39" fmla="*/ 478752 w 525241"/>
                  <a:gd name="connsiteY39" fmla="*/ 64077 h 443408"/>
                  <a:gd name="connsiteX40" fmla="*/ 478752 w 525241"/>
                  <a:gd name="connsiteY40" fmla="*/ 92979 h 443408"/>
                  <a:gd name="connsiteX41" fmla="*/ 46182 w 525241"/>
                  <a:gd name="connsiteY41" fmla="*/ 92979 h 443408"/>
                  <a:gd name="connsiteX42" fmla="*/ 46182 w 525241"/>
                  <a:gd name="connsiteY42" fmla="*/ 64077 h 443408"/>
                  <a:gd name="connsiteX43" fmla="*/ 478752 w 525241"/>
                  <a:gd name="connsiteY43" fmla="*/ 64077 h 443408"/>
                  <a:gd name="connsiteX44" fmla="*/ 305153 w 525241"/>
                  <a:gd name="connsiteY44" fmla="*/ 139183 h 443408"/>
                  <a:gd name="connsiteX45" fmla="*/ 305153 w 525241"/>
                  <a:gd name="connsiteY45" fmla="*/ 110662 h 443408"/>
                  <a:gd name="connsiteX46" fmla="*/ 305153 w 525241"/>
                  <a:gd name="connsiteY46" fmla="*/ 110092 h 443408"/>
                  <a:gd name="connsiteX47" fmla="*/ 305724 w 525241"/>
                  <a:gd name="connsiteY47" fmla="*/ 110092 h 443408"/>
                  <a:gd name="connsiteX48" fmla="*/ 354970 w 525241"/>
                  <a:gd name="connsiteY48" fmla="*/ 110092 h 443408"/>
                  <a:gd name="connsiteX49" fmla="*/ 361055 w 525241"/>
                  <a:gd name="connsiteY49" fmla="*/ 138993 h 443408"/>
                  <a:gd name="connsiteX50" fmla="*/ 305724 w 525241"/>
                  <a:gd name="connsiteY50" fmla="*/ 138993 h 443408"/>
                  <a:gd name="connsiteX51" fmla="*/ 305153 w 525241"/>
                  <a:gd name="connsiteY51" fmla="*/ 138993 h 443408"/>
                  <a:gd name="connsiteX52" fmla="*/ 236132 w 525241"/>
                  <a:gd name="connsiteY52" fmla="*/ 139183 h 443408"/>
                  <a:gd name="connsiteX53" fmla="*/ 236132 w 525241"/>
                  <a:gd name="connsiteY53" fmla="*/ 110662 h 443408"/>
                  <a:gd name="connsiteX54" fmla="*/ 236132 w 525241"/>
                  <a:gd name="connsiteY54" fmla="*/ 110092 h 443408"/>
                  <a:gd name="connsiteX55" fmla="*/ 287851 w 525241"/>
                  <a:gd name="connsiteY55" fmla="*/ 110092 h 443408"/>
                  <a:gd name="connsiteX56" fmla="*/ 287851 w 525241"/>
                  <a:gd name="connsiteY56" fmla="*/ 110662 h 443408"/>
                  <a:gd name="connsiteX57" fmla="*/ 287851 w 525241"/>
                  <a:gd name="connsiteY57" fmla="*/ 139183 h 443408"/>
                  <a:gd name="connsiteX58" fmla="*/ 236132 w 525241"/>
                  <a:gd name="connsiteY58" fmla="*/ 139183 h 443408"/>
                  <a:gd name="connsiteX59" fmla="*/ 92005 w 525241"/>
                  <a:gd name="connsiteY59" fmla="*/ 139183 h 443408"/>
                  <a:gd name="connsiteX60" fmla="*/ 101132 w 525241"/>
                  <a:gd name="connsiteY60" fmla="*/ 110662 h 443408"/>
                  <a:gd name="connsiteX61" fmla="*/ 101322 w 525241"/>
                  <a:gd name="connsiteY61" fmla="*/ 110092 h 443408"/>
                  <a:gd name="connsiteX62" fmla="*/ 101893 w 525241"/>
                  <a:gd name="connsiteY62" fmla="*/ 110092 h 443408"/>
                  <a:gd name="connsiteX63" fmla="*/ 150949 w 525241"/>
                  <a:gd name="connsiteY63" fmla="*/ 110092 h 443408"/>
                  <a:gd name="connsiteX64" fmla="*/ 150759 w 525241"/>
                  <a:gd name="connsiteY64" fmla="*/ 110662 h 443408"/>
                  <a:gd name="connsiteX65" fmla="*/ 144674 w 525241"/>
                  <a:gd name="connsiteY65" fmla="*/ 139183 h 443408"/>
                  <a:gd name="connsiteX66" fmla="*/ 92576 w 525241"/>
                  <a:gd name="connsiteY66" fmla="*/ 139183 h 443408"/>
                  <a:gd name="connsiteX67" fmla="*/ 92005 w 525241"/>
                  <a:gd name="connsiteY67" fmla="*/ 139183 h 443408"/>
                  <a:gd name="connsiteX68" fmla="*/ 168822 w 525241"/>
                  <a:gd name="connsiteY68" fmla="*/ 110282 h 443408"/>
                  <a:gd name="connsiteX69" fmla="*/ 218639 w 525241"/>
                  <a:gd name="connsiteY69" fmla="*/ 110282 h 443408"/>
                  <a:gd name="connsiteX70" fmla="*/ 218639 w 525241"/>
                  <a:gd name="connsiteY70" fmla="*/ 110852 h 443408"/>
                  <a:gd name="connsiteX71" fmla="*/ 218639 w 525241"/>
                  <a:gd name="connsiteY71" fmla="*/ 139373 h 443408"/>
                  <a:gd name="connsiteX72" fmla="*/ 162738 w 525241"/>
                  <a:gd name="connsiteY72" fmla="*/ 139373 h 443408"/>
                  <a:gd name="connsiteX73" fmla="*/ 168822 w 525241"/>
                  <a:gd name="connsiteY73" fmla="*/ 110282 h 443408"/>
                  <a:gd name="connsiteX74" fmla="*/ 378738 w 525241"/>
                  <a:gd name="connsiteY74" fmla="*/ 139183 h 443408"/>
                  <a:gd name="connsiteX75" fmla="*/ 372653 w 525241"/>
                  <a:gd name="connsiteY75" fmla="*/ 110662 h 443408"/>
                  <a:gd name="connsiteX76" fmla="*/ 372463 w 525241"/>
                  <a:gd name="connsiteY76" fmla="*/ 110092 h 443408"/>
                  <a:gd name="connsiteX77" fmla="*/ 422280 w 525241"/>
                  <a:gd name="connsiteY77" fmla="*/ 110092 h 443408"/>
                  <a:gd name="connsiteX78" fmla="*/ 422470 w 525241"/>
                  <a:gd name="connsiteY78" fmla="*/ 110662 h 443408"/>
                  <a:gd name="connsiteX79" fmla="*/ 431597 w 525241"/>
                  <a:gd name="connsiteY79" fmla="*/ 139183 h 443408"/>
                  <a:gd name="connsiteX80" fmla="*/ 378738 w 525241"/>
                  <a:gd name="connsiteY80" fmla="*/ 139183 h 443408"/>
                  <a:gd name="connsiteX81" fmla="*/ 42379 w 525241"/>
                  <a:gd name="connsiteY81" fmla="*/ 110282 h 443408"/>
                  <a:gd name="connsiteX82" fmla="*/ 83069 w 525241"/>
                  <a:gd name="connsiteY82" fmla="*/ 110282 h 443408"/>
                  <a:gd name="connsiteX83" fmla="*/ 73942 w 525241"/>
                  <a:gd name="connsiteY83" fmla="*/ 139183 h 443408"/>
                  <a:gd name="connsiteX84" fmla="*/ 24125 w 525241"/>
                  <a:gd name="connsiteY84" fmla="*/ 139183 h 443408"/>
                  <a:gd name="connsiteX85" fmla="*/ 42379 w 525241"/>
                  <a:gd name="connsiteY85" fmla="*/ 110282 h 443408"/>
                  <a:gd name="connsiteX86" fmla="*/ 84590 w 525241"/>
                  <a:gd name="connsiteY86" fmla="*/ 156296 h 443408"/>
                  <a:gd name="connsiteX87" fmla="*/ 157984 w 525241"/>
                  <a:gd name="connsiteY87" fmla="*/ 156296 h 443408"/>
                  <a:gd name="connsiteX88" fmla="*/ 157984 w 525241"/>
                  <a:gd name="connsiteY88" fmla="*/ 284451 h 443408"/>
                  <a:gd name="connsiteX89" fmla="*/ 84590 w 525241"/>
                  <a:gd name="connsiteY89" fmla="*/ 284451 h 443408"/>
                  <a:gd name="connsiteX90" fmla="*/ 84590 w 525241"/>
                  <a:gd name="connsiteY90" fmla="*/ 156296 h 443408"/>
                  <a:gd name="connsiteX91" fmla="*/ 175097 w 525241"/>
                  <a:gd name="connsiteY91" fmla="*/ 156296 h 443408"/>
                  <a:gd name="connsiteX92" fmla="*/ 349646 w 525241"/>
                  <a:gd name="connsiteY92" fmla="*/ 156296 h 443408"/>
                  <a:gd name="connsiteX93" fmla="*/ 349646 w 525241"/>
                  <a:gd name="connsiteY93" fmla="*/ 284451 h 443408"/>
                  <a:gd name="connsiteX94" fmla="*/ 175097 w 525241"/>
                  <a:gd name="connsiteY94" fmla="*/ 284451 h 443408"/>
                  <a:gd name="connsiteX95" fmla="*/ 175097 w 525241"/>
                  <a:gd name="connsiteY95" fmla="*/ 156296 h 443408"/>
                  <a:gd name="connsiteX96" fmla="*/ 366949 w 525241"/>
                  <a:gd name="connsiteY96" fmla="*/ 156296 h 443408"/>
                  <a:gd name="connsiteX97" fmla="*/ 440343 w 525241"/>
                  <a:gd name="connsiteY97" fmla="*/ 156296 h 443408"/>
                  <a:gd name="connsiteX98" fmla="*/ 440343 w 525241"/>
                  <a:gd name="connsiteY98" fmla="*/ 284451 h 443408"/>
                  <a:gd name="connsiteX99" fmla="*/ 366949 w 525241"/>
                  <a:gd name="connsiteY99" fmla="*/ 284451 h 443408"/>
                  <a:gd name="connsiteX100" fmla="*/ 366949 w 525241"/>
                  <a:gd name="connsiteY100" fmla="*/ 156296 h 443408"/>
                  <a:gd name="connsiteX101" fmla="*/ 84590 w 525241"/>
                  <a:gd name="connsiteY101" fmla="*/ 426676 h 443408"/>
                  <a:gd name="connsiteX102" fmla="*/ 84590 w 525241"/>
                  <a:gd name="connsiteY102" fmla="*/ 301754 h 443408"/>
                  <a:gd name="connsiteX103" fmla="*/ 440343 w 525241"/>
                  <a:gd name="connsiteY103" fmla="*/ 301754 h 443408"/>
                  <a:gd name="connsiteX104" fmla="*/ 440343 w 525241"/>
                  <a:gd name="connsiteY104" fmla="*/ 426676 h 443408"/>
                  <a:gd name="connsiteX105" fmla="*/ 84590 w 525241"/>
                  <a:gd name="connsiteY105" fmla="*/ 426676 h 443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525241" h="443408">
                    <a:moveTo>
                      <a:pt x="524005" y="143176"/>
                    </a:moveTo>
                    <a:lnTo>
                      <a:pt x="495865" y="98873"/>
                    </a:lnTo>
                    <a:lnTo>
                      <a:pt x="495865" y="55521"/>
                    </a:lnTo>
                    <a:cubicBezTo>
                      <a:pt x="495865" y="50768"/>
                      <a:pt x="492062" y="46965"/>
                      <a:pt x="487308" y="46965"/>
                    </a:cubicBezTo>
                    <a:lnTo>
                      <a:pt x="433879" y="46965"/>
                    </a:lnTo>
                    <a:lnTo>
                      <a:pt x="433879" y="8556"/>
                    </a:lnTo>
                    <a:cubicBezTo>
                      <a:pt x="433879" y="3803"/>
                      <a:pt x="430076" y="0"/>
                      <a:pt x="425322" y="0"/>
                    </a:cubicBezTo>
                    <a:lnTo>
                      <a:pt x="99611" y="0"/>
                    </a:lnTo>
                    <a:cubicBezTo>
                      <a:pt x="94858" y="0"/>
                      <a:pt x="91055" y="3803"/>
                      <a:pt x="91055" y="8556"/>
                    </a:cubicBezTo>
                    <a:lnTo>
                      <a:pt x="91055" y="46775"/>
                    </a:lnTo>
                    <a:lnTo>
                      <a:pt x="37625" y="46775"/>
                    </a:lnTo>
                    <a:cubicBezTo>
                      <a:pt x="32872" y="46775"/>
                      <a:pt x="29069" y="50577"/>
                      <a:pt x="29069" y="55331"/>
                    </a:cubicBezTo>
                    <a:lnTo>
                      <a:pt x="29069" y="99254"/>
                    </a:lnTo>
                    <a:lnTo>
                      <a:pt x="1308" y="142986"/>
                    </a:lnTo>
                    <a:cubicBezTo>
                      <a:pt x="-403" y="145648"/>
                      <a:pt x="-403" y="148880"/>
                      <a:pt x="1118" y="151732"/>
                    </a:cubicBezTo>
                    <a:cubicBezTo>
                      <a:pt x="2639" y="154585"/>
                      <a:pt x="5491" y="156106"/>
                      <a:pt x="8534" y="156106"/>
                    </a:cubicBezTo>
                    <a:lnTo>
                      <a:pt x="67667" y="156106"/>
                    </a:lnTo>
                    <a:lnTo>
                      <a:pt x="67667" y="426296"/>
                    </a:lnTo>
                    <a:lnTo>
                      <a:pt x="25266" y="426296"/>
                    </a:lnTo>
                    <a:cubicBezTo>
                      <a:pt x="20512" y="426296"/>
                      <a:pt x="16710" y="430099"/>
                      <a:pt x="16710" y="434852"/>
                    </a:cubicBezTo>
                    <a:cubicBezTo>
                      <a:pt x="16710" y="439606"/>
                      <a:pt x="20512" y="443408"/>
                      <a:pt x="25266" y="443408"/>
                    </a:cubicBezTo>
                    <a:lnTo>
                      <a:pt x="499858" y="443408"/>
                    </a:lnTo>
                    <a:cubicBezTo>
                      <a:pt x="504611" y="443408"/>
                      <a:pt x="508414" y="439606"/>
                      <a:pt x="508414" y="434852"/>
                    </a:cubicBezTo>
                    <a:cubicBezTo>
                      <a:pt x="508414" y="430099"/>
                      <a:pt x="504611" y="426296"/>
                      <a:pt x="499858" y="426296"/>
                    </a:cubicBezTo>
                    <a:lnTo>
                      <a:pt x="457456" y="426296"/>
                    </a:lnTo>
                    <a:lnTo>
                      <a:pt x="457456" y="156106"/>
                    </a:lnTo>
                    <a:lnTo>
                      <a:pt x="516780" y="156106"/>
                    </a:lnTo>
                    <a:cubicBezTo>
                      <a:pt x="519822" y="156106"/>
                      <a:pt x="522865" y="154394"/>
                      <a:pt x="524196" y="151732"/>
                    </a:cubicBezTo>
                    <a:cubicBezTo>
                      <a:pt x="525527" y="149070"/>
                      <a:pt x="525717" y="145838"/>
                      <a:pt x="524005" y="143176"/>
                    </a:cubicBezTo>
                    <a:close/>
                    <a:moveTo>
                      <a:pt x="450991" y="139183"/>
                    </a:moveTo>
                    <a:lnTo>
                      <a:pt x="441865" y="110282"/>
                    </a:lnTo>
                    <a:lnTo>
                      <a:pt x="482745" y="110282"/>
                    </a:lnTo>
                    <a:lnTo>
                      <a:pt x="501189" y="139183"/>
                    </a:lnTo>
                    <a:lnTo>
                      <a:pt x="450991" y="139183"/>
                    </a:lnTo>
                    <a:close/>
                    <a:moveTo>
                      <a:pt x="108167" y="17113"/>
                    </a:moveTo>
                    <a:lnTo>
                      <a:pt x="416576" y="17113"/>
                    </a:lnTo>
                    <a:lnTo>
                      <a:pt x="416576" y="46014"/>
                    </a:lnTo>
                    <a:lnTo>
                      <a:pt x="108167" y="46014"/>
                    </a:lnTo>
                    <a:lnTo>
                      <a:pt x="108167" y="17113"/>
                    </a:lnTo>
                    <a:close/>
                    <a:moveTo>
                      <a:pt x="478752" y="64077"/>
                    </a:moveTo>
                    <a:lnTo>
                      <a:pt x="478752" y="92979"/>
                    </a:lnTo>
                    <a:lnTo>
                      <a:pt x="46182" y="92979"/>
                    </a:lnTo>
                    <a:lnTo>
                      <a:pt x="46182" y="64077"/>
                    </a:lnTo>
                    <a:lnTo>
                      <a:pt x="478752" y="64077"/>
                    </a:lnTo>
                    <a:close/>
                    <a:moveTo>
                      <a:pt x="305153" y="139183"/>
                    </a:moveTo>
                    <a:lnTo>
                      <a:pt x="305153" y="110662"/>
                    </a:lnTo>
                    <a:lnTo>
                      <a:pt x="305153" y="110092"/>
                    </a:lnTo>
                    <a:lnTo>
                      <a:pt x="305724" y="110092"/>
                    </a:lnTo>
                    <a:lnTo>
                      <a:pt x="354970" y="110092"/>
                    </a:lnTo>
                    <a:lnTo>
                      <a:pt x="361055" y="138993"/>
                    </a:lnTo>
                    <a:lnTo>
                      <a:pt x="305724" y="138993"/>
                    </a:lnTo>
                    <a:lnTo>
                      <a:pt x="305153" y="138993"/>
                    </a:lnTo>
                    <a:close/>
                    <a:moveTo>
                      <a:pt x="236132" y="139183"/>
                    </a:moveTo>
                    <a:lnTo>
                      <a:pt x="236132" y="110662"/>
                    </a:lnTo>
                    <a:lnTo>
                      <a:pt x="236132" y="110092"/>
                    </a:lnTo>
                    <a:lnTo>
                      <a:pt x="287851" y="110092"/>
                    </a:lnTo>
                    <a:lnTo>
                      <a:pt x="287851" y="110662"/>
                    </a:lnTo>
                    <a:lnTo>
                      <a:pt x="287851" y="139183"/>
                    </a:lnTo>
                    <a:lnTo>
                      <a:pt x="236132" y="139183"/>
                    </a:lnTo>
                    <a:close/>
                    <a:moveTo>
                      <a:pt x="92005" y="139183"/>
                    </a:moveTo>
                    <a:lnTo>
                      <a:pt x="101132" y="110662"/>
                    </a:lnTo>
                    <a:lnTo>
                      <a:pt x="101322" y="110092"/>
                    </a:lnTo>
                    <a:lnTo>
                      <a:pt x="101893" y="110092"/>
                    </a:lnTo>
                    <a:lnTo>
                      <a:pt x="150949" y="110092"/>
                    </a:lnTo>
                    <a:lnTo>
                      <a:pt x="150759" y="110662"/>
                    </a:lnTo>
                    <a:lnTo>
                      <a:pt x="144674" y="139183"/>
                    </a:lnTo>
                    <a:lnTo>
                      <a:pt x="92576" y="139183"/>
                    </a:lnTo>
                    <a:lnTo>
                      <a:pt x="92005" y="139183"/>
                    </a:lnTo>
                    <a:close/>
                    <a:moveTo>
                      <a:pt x="168822" y="110282"/>
                    </a:moveTo>
                    <a:lnTo>
                      <a:pt x="218639" y="110282"/>
                    </a:lnTo>
                    <a:lnTo>
                      <a:pt x="218639" y="110852"/>
                    </a:lnTo>
                    <a:lnTo>
                      <a:pt x="218639" y="139373"/>
                    </a:lnTo>
                    <a:lnTo>
                      <a:pt x="162738" y="139373"/>
                    </a:lnTo>
                    <a:lnTo>
                      <a:pt x="168822" y="110282"/>
                    </a:lnTo>
                    <a:close/>
                    <a:moveTo>
                      <a:pt x="378738" y="139183"/>
                    </a:moveTo>
                    <a:lnTo>
                      <a:pt x="372653" y="110662"/>
                    </a:lnTo>
                    <a:lnTo>
                      <a:pt x="372463" y="110092"/>
                    </a:lnTo>
                    <a:lnTo>
                      <a:pt x="422280" y="110092"/>
                    </a:lnTo>
                    <a:lnTo>
                      <a:pt x="422470" y="110662"/>
                    </a:lnTo>
                    <a:lnTo>
                      <a:pt x="431597" y="139183"/>
                    </a:lnTo>
                    <a:lnTo>
                      <a:pt x="378738" y="139183"/>
                    </a:lnTo>
                    <a:close/>
                    <a:moveTo>
                      <a:pt x="42379" y="110282"/>
                    </a:moveTo>
                    <a:lnTo>
                      <a:pt x="83069" y="110282"/>
                    </a:lnTo>
                    <a:lnTo>
                      <a:pt x="73942" y="139183"/>
                    </a:lnTo>
                    <a:lnTo>
                      <a:pt x="24125" y="139183"/>
                    </a:lnTo>
                    <a:lnTo>
                      <a:pt x="42379" y="110282"/>
                    </a:lnTo>
                    <a:close/>
                    <a:moveTo>
                      <a:pt x="84590" y="156296"/>
                    </a:moveTo>
                    <a:lnTo>
                      <a:pt x="157984" y="156296"/>
                    </a:lnTo>
                    <a:lnTo>
                      <a:pt x="157984" y="284451"/>
                    </a:lnTo>
                    <a:lnTo>
                      <a:pt x="84590" y="284451"/>
                    </a:lnTo>
                    <a:lnTo>
                      <a:pt x="84590" y="156296"/>
                    </a:lnTo>
                    <a:close/>
                    <a:moveTo>
                      <a:pt x="175097" y="156296"/>
                    </a:moveTo>
                    <a:lnTo>
                      <a:pt x="349646" y="156296"/>
                    </a:lnTo>
                    <a:lnTo>
                      <a:pt x="349646" y="284451"/>
                    </a:lnTo>
                    <a:lnTo>
                      <a:pt x="175097" y="284451"/>
                    </a:lnTo>
                    <a:lnTo>
                      <a:pt x="175097" y="156296"/>
                    </a:lnTo>
                    <a:close/>
                    <a:moveTo>
                      <a:pt x="366949" y="156296"/>
                    </a:moveTo>
                    <a:lnTo>
                      <a:pt x="440343" y="156296"/>
                    </a:lnTo>
                    <a:lnTo>
                      <a:pt x="440343" y="284451"/>
                    </a:lnTo>
                    <a:lnTo>
                      <a:pt x="366949" y="284451"/>
                    </a:lnTo>
                    <a:lnTo>
                      <a:pt x="366949" y="156296"/>
                    </a:lnTo>
                    <a:close/>
                    <a:moveTo>
                      <a:pt x="84590" y="426676"/>
                    </a:moveTo>
                    <a:lnTo>
                      <a:pt x="84590" y="301754"/>
                    </a:lnTo>
                    <a:lnTo>
                      <a:pt x="440343" y="301754"/>
                    </a:lnTo>
                    <a:lnTo>
                      <a:pt x="440343" y="426676"/>
                    </a:lnTo>
                    <a:lnTo>
                      <a:pt x="84590" y="426676"/>
                    </a:lnTo>
                    <a:close/>
                  </a:path>
                </a:pathLst>
              </a:custGeom>
              <a:grpFill/>
              <a:ln w="1878" cap="flat">
                <a:noFill/>
                <a:prstDash val="solid"/>
                <a:miter/>
              </a:ln>
            </p:spPr>
            <p:txBody>
              <a:bodyPr rtlCol="0" anchor="ctr"/>
              <a:lstStyle/>
              <a:p>
                <a:endParaRPr lang="en-GB" noProof="0" dirty="0"/>
              </a:p>
            </p:txBody>
          </p:sp>
        </p:grpSp>
      </p:grpSp>
      <p:grpSp>
        <p:nvGrpSpPr>
          <p:cNvPr id="290" name="Grafik 32">
            <a:extLst>
              <a:ext uri="{FF2B5EF4-FFF2-40B4-BE49-F238E27FC236}">
                <a16:creationId xmlns:a16="http://schemas.microsoft.com/office/drawing/2014/main" id="{0C0F2E71-88A0-F5E6-DCE1-C4BB48347042}"/>
              </a:ext>
            </a:extLst>
          </p:cNvPr>
          <p:cNvGrpSpPr>
            <a:grpSpLocks noChangeAspect="1"/>
          </p:cNvGrpSpPr>
          <p:nvPr/>
        </p:nvGrpSpPr>
        <p:grpSpPr>
          <a:xfrm flipH="1">
            <a:off x="5538377" y="1840210"/>
            <a:ext cx="381600" cy="381600"/>
            <a:chOff x="4426973" y="3060246"/>
            <a:chExt cx="540000" cy="540000"/>
          </a:xfrm>
          <a:solidFill>
            <a:schemeClr val="accent1"/>
          </a:solidFill>
        </p:grpSpPr>
        <p:grpSp>
          <p:nvGrpSpPr>
            <p:cNvPr id="291" name="Grafik 32">
              <a:extLst>
                <a:ext uri="{FF2B5EF4-FFF2-40B4-BE49-F238E27FC236}">
                  <a16:creationId xmlns:a16="http://schemas.microsoft.com/office/drawing/2014/main" id="{83BADD7C-06D8-CDEA-E0E0-4F60219E1568}"/>
                </a:ext>
              </a:extLst>
            </p:cNvPr>
            <p:cNvGrpSpPr/>
            <p:nvPr/>
          </p:nvGrpSpPr>
          <p:grpSpPr>
            <a:xfrm>
              <a:off x="4426886" y="3060246"/>
              <a:ext cx="539326" cy="538859"/>
              <a:chOff x="4426886" y="3060246"/>
              <a:chExt cx="539326" cy="538859"/>
            </a:xfrm>
            <a:grpFill/>
          </p:grpSpPr>
          <p:grpSp>
            <p:nvGrpSpPr>
              <p:cNvPr id="292" name="Grafik 32">
                <a:extLst>
                  <a:ext uri="{FF2B5EF4-FFF2-40B4-BE49-F238E27FC236}">
                    <a16:creationId xmlns:a16="http://schemas.microsoft.com/office/drawing/2014/main" id="{71874E84-EFF5-3763-AA92-22A11B53894F}"/>
                  </a:ext>
                </a:extLst>
              </p:cNvPr>
              <p:cNvGrpSpPr/>
              <p:nvPr/>
            </p:nvGrpSpPr>
            <p:grpSpPr>
              <a:xfrm>
                <a:off x="4426886" y="3271866"/>
                <a:ext cx="539326" cy="327238"/>
                <a:chOff x="4426886" y="3271866"/>
                <a:chExt cx="539326" cy="327238"/>
              </a:xfrm>
              <a:grpFill/>
            </p:grpSpPr>
            <p:sp>
              <p:nvSpPr>
                <p:cNvPr id="293" name="Freihandform: Form 292">
                  <a:extLst>
                    <a:ext uri="{FF2B5EF4-FFF2-40B4-BE49-F238E27FC236}">
                      <a16:creationId xmlns:a16="http://schemas.microsoft.com/office/drawing/2014/main" id="{A61DCACF-A12B-C454-6DCD-914468D68036}"/>
                    </a:ext>
                  </a:extLst>
                </p:cNvPr>
                <p:cNvSpPr/>
                <p:nvPr/>
              </p:nvSpPr>
              <p:spPr>
                <a:xfrm>
                  <a:off x="4426886" y="3271866"/>
                  <a:ext cx="367825" cy="233499"/>
                </a:xfrm>
                <a:custGeom>
                  <a:avLst/>
                  <a:gdLst>
                    <a:gd name="connsiteX0" fmla="*/ 9023 w 367825"/>
                    <a:gd name="connsiteY0" fmla="*/ 233499 h 233499"/>
                    <a:gd name="connsiteX1" fmla="*/ 17199 w 367825"/>
                    <a:gd name="connsiteY1" fmla="*/ 228366 h 233499"/>
                    <a:gd name="connsiteX2" fmla="*/ 76714 w 367825"/>
                    <a:gd name="connsiteY2" fmla="*/ 101351 h 233499"/>
                    <a:gd name="connsiteX3" fmla="*/ 95347 w 367825"/>
                    <a:gd name="connsiteY3" fmla="*/ 181971 h 233499"/>
                    <a:gd name="connsiteX4" fmla="*/ 115312 w 367825"/>
                    <a:gd name="connsiteY4" fmla="*/ 203077 h 233499"/>
                    <a:gd name="connsiteX5" fmla="*/ 122918 w 367825"/>
                    <a:gd name="connsiteY5" fmla="*/ 204028 h 233499"/>
                    <a:gd name="connsiteX6" fmla="*/ 129573 w 367825"/>
                    <a:gd name="connsiteY6" fmla="*/ 203457 h 233499"/>
                    <a:gd name="connsiteX7" fmla="*/ 345763 w 367825"/>
                    <a:gd name="connsiteY7" fmla="*/ 153450 h 233499"/>
                    <a:gd name="connsiteX8" fmla="*/ 367059 w 367825"/>
                    <a:gd name="connsiteY8" fmla="*/ 119225 h 233499"/>
                    <a:gd name="connsiteX9" fmla="*/ 344622 w 367825"/>
                    <a:gd name="connsiteY9" fmla="*/ 22063 h 233499"/>
                    <a:gd name="connsiteX10" fmla="*/ 310397 w 367825"/>
                    <a:gd name="connsiteY10" fmla="*/ 767 h 233499"/>
                    <a:gd name="connsiteX11" fmla="*/ 310397 w 367825"/>
                    <a:gd name="connsiteY11" fmla="*/ 767 h 233499"/>
                    <a:gd name="connsiteX12" fmla="*/ 94206 w 367825"/>
                    <a:gd name="connsiteY12" fmla="*/ 50774 h 233499"/>
                    <a:gd name="connsiteX13" fmla="*/ 76333 w 367825"/>
                    <a:gd name="connsiteY13" fmla="*/ 62753 h 233499"/>
                    <a:gd name="connsiteX14" fmla="*/ 73291 w 367825"/>
                    <a:gd name="connsiteY14" fmla="*/ 66366 h 233499"/>
                    <a:gd name="connsiteX15" fmla="*/ 847 w 367825"/>
                    <a:gd name="connsiteY15" fmla="*/ 220760 h 233499"/>
                    <a:gd name="connsiteX16" fmla="*/ 5221 w 367825"/>
                    <a:gd name="connsiteY16" fmla="*/ 232739 h 233499"/>
                    <a:gd name="connsiteX17" fmla="*/ 9023 w 367825"/>
                    <a:gd name="connsiteY17" fmla="*/ 233499 h 233499"/>
                    <a:gd name="connsiteX18" fmla="*/ 98390 w 367825"/>
                    <a:gd name="connsiteY18" fmla="*/ 68267 h 233499"/>
                    <a:gd name="connsiteX19" fmla="*/ 314580 w 367825"/>
                    <a:gd name="connsiteY19" fmla="*/ 18260 h 233499"/>
                    <a:gd name="connsiteX20" fmla="*/ 327129 w 367825"/>
                    <a:gd name="connsiteY20" fmla="*/ 26056 h 233499"/>
                    <a:gd name="connsiteX21" fmla="*/ 349566 w 367825"/>
                    <a:gd name="connsiteY21" fmla="*/ 123028 h 233499"/>
                    <a:gd name="connsiteX22" fmla="*/ 341770 w 367825"/>
                    <a:gd name="connsiteY22" fmla="*/ 135767 h 233499"/>
                    <a:gd name="connsiteX23" fmla="*/ 125390 w 367825"/>
                    <a:gd name="connsiteY23" fmla="*/ 185774 h 233499"/>
                    <a:gd name="connsiteX24" fmla="*/ 119495 w 367825"/>
                    <a:gd name="connsiteY24" fmla="*/ 185584 h 233499"/>
                    <a:gd name="connsiteX25" fmla="*/ 112840 w 367825"/>
                    <a:gd name="connsiteY25" fmla="*/ 177978 h 233499"/>
                    <a:gd name="connsiteX26" fmla="*/ 90404 w 367825"/>
                    <a:gd name="connsiteY26" fmla="*/ 80816 h 233499"/>
                    <a:gd name="connsiteX27" fmla="*/ 98390 w 367825"/>
                    <a:gd name="connsiteY27" fmla="*/ 68267 h 23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67825" h="233499">
                      <a:moveTo>
                        <a:pt x="9023" y="233499"/>
                      </a:moveTo>
                      <a:cubicBezTo>
                        <a:pt x="12446" y="233499"/>
                        <a:pt x="15678" y="231598"/>
                        <a:pt x="17199" y="228366"/>
                      </a:cubicBezTo>
                      <a:lnTo>
                        <a:pt x="76714" y="101351"/>
                      </a:lnTo>
                      <a:lnTo>
                        <a:pt x="95347" y="181971"/>
                      </a:lnTo>
                      <a:cubicBezTo>
                        <a:pt x="98009" y="193189"/>
                        <a:pt x="105044" y="200605"/>
                        <a:pt x="115312" y="203077"/>
                      </a:cubicBezTo>
                      <a:cubicBezTo>
                        <a:pt x="117974" y="203647"/>
                        <a:pt x="120636" y="204028"/>
                        <a:pt x="122918" y="204028"/>
                      </a:cubicBezTo>
                      <a:cubicBezTo>
                        <a:pt x="126530" y="204028"/>
                        <a:pt x="129192" y="203457"/>
                        <a:pt x="129573" y="203457"/>
                      </a:cubicBezTo>
                      <a:lnTo>
                        <a:pt x="345763" y="153450"/>
                      </a:lnTo>
                      <a:cubicBezTo>
                        <a:pt x="366108" y="148697"/>
                        <a:pt x="369721" y="130443"/>
                        <a:pt x="367059" y="119225"/>
                      </a:cubicBezTo>
                      <a:lnTo>
                        <a:pt x="344622" y="22063"/>
                      </a:lnTo>
                      <a:cubicBezTo>
                        <a:pt x="339868" y="1718"/>
                        <a:pt x="321615" y="-1895"/>
                        <a:pt x="310397" y="767"/>
                      </a:cubicBezTo>
                      <a:cubicBezTo>
                        <a:pt x="310397" y="767"/>
                        <a:pt x="310397" y="767"/>
                        <a:pt x="310397" y="767"/>
                      </a:cubicBezTo>
                      <a:lnTo>
                        <a:pt x="94206" y="50774"/>
                      </a:lnTo>
                      <a:cubicBezTo>
                        <a:pt x="85460" y="52866"/>
                        <a:pt x="79756" y="57429"/>
                        <a:pt x="76333" y="62753"/>
                      </a:cubicBezTo>
                      <a:cubicBezTo>
                        <a:pt x="75002" y="63704"/>
                        <a:pt x="73861" y="64844"/>
                        <a:pt x="73291" y="66366"/>
                      </a:cubicBezTo>
                      <a:lnTo>
                        <a:pt x="847" y="220760"/>
                      </a:lnTo>
                      <a:cubicBezTo>
                        <a:pt x="-1244" y="225323"/>
                        <a:pt x="657" y="230647"/>
                        <a:pt x="5221" y="232739"/>
                      </a:cubicBezTo>
                      <a:cubicBezTo>
                        <a:pt x="6552" y="233309"/>
                        <a:pt x="7883" y="233499"/>
                        <a:pt x="9023" y="233499"/>
                      </a:cubicBezTo>
                      <a:close/>
                      <a:moveTo>
                        <a:pt x="98390" y="68267"/>
                      </a:moveTo>
                      <a:lnTo>
                        <a:pt x="314580" y="18260"/>
                      </a:lnTo>
                      <a:cubicBezTo>
                        <a:pt x="317052" y="17689"/>
                        <a:pt x="325037" y="16549"/>
                        <a:pt x="327129" y="26056"/>
                      </a:cubicBezTo>
                      <a:lnTo>
                        <a:pt x="349566" y="123028"/>
                      </a:lnTo>
                      <a:cubicBezTo>
                        <a:pt x="350326" y="126830"/>
                        <a:pt x="350326" y="133675"/>
                        <a:pt x="341770" y="135767"/>
                      </a:cubicBezTo>
                      <a:lnTo>
                        <a:pt x="125390" y="185774"/>
                      </a:lnTo>
                      <a:cubicBezTo>
                        <a:pt x="125390" y="185774"/>
                        <a:pt x="122537" y="186344"/>
                        <a:pt x="119495" y="185584"/>
                      </a:cubicBezTo>
                      <a:cubicBezTo>
                        <a:pt x="117023" y="185013"/>
                        <a:pt x="114171" y="183492"/>
                        <a:pt x="112840" y="177978"/>
                      </a:cubicBezTo>
                      <a:lnTo>
                        <a:pt x="90404" y="80816"/>
                      </a:lnTo>
                      <a:cubicBezTo>
                        <a:pt x="89833" y="78344"/>
                        <a:pt x="88883" y="70359"/>
                        <a:pt x="98390" y="68267"/>
                      </a:cubicBezTo>
                      <a:close/>
                    </a:path>
                  </a:pathLst>
                </a:custGeom>
                <a:grpFill/>
                <a:ln w="1878" cap="flat">
                  <a:noFill/>
                  <a:prstDash val="solid"/>
                  <a:miter/>
                </a:ln>
              </p:spPr>
              <p:txBody>
                <a:bodyPr rtlCol="0" anchor="ctr"/>
                <a:lstStyle/>
                <a:p>
                  <a:endParaRPr lang="en-GB" noProof="0" dirty="0"/>
                </a:p>
              </p:txBody>
            </p:sp>
            <p:sp>
              <p:nvSpPr>
                <p:cNvPr id="294" name="Freihandform: Form 293">
                  <a:extLst>
                    <a:ext uri="{FF2B5EF4-FFF2-40B4-BE49-F238E27FC236}">
                      <a16:creationId xmlns:a16="http://schemas.microsoft.com/office/drawing/2014/main" id="{11D7AA32-0D9A-3D15-5EB0-F13CBE96A63B}"/>
                    </a:ext>
                  </a:extLst>
                </p:cNvPr>
                <p:cNvSpPr/>
                <p:nvPr/>
              </p:nvSpPr>
              <p:spPr>
                <a:xfrm>
                  <a:off x="4490860" y="3469809"/>
                  <a:ext cx="17302" cy="17302"/>
                </a:xfrm>
                <a:custGeom>
                  <a:avLst/>
                  <a:gdLst>
                    <a:gd name="connsiteX0" fmla="*/ 0 w 17302"/>
                    <a:gd name="connsiteY0" fmla="*/ 0 h 17302"/>
                    <a:gd name="connsiteX1" fmla="*/ 17303 w 17302"/>
                    <a:gd name="connsiteY1" fmla="*/ 0 h 17302"/>
                    <a:gd name="connsiteX2" fmla="*/ 17303 w 17302"/>
                    <a:gd name="connsiteY2" fmla="*/ 17303 h 17302"/>
                    <a:gd name="connsiteX3" fmla="*/ 0 w 17302"/>
                    <a:gd name="connsiteY3" fmla="*/ 17303 h 17302"/>
                  </a:gdLst>
                  <a:ahLst/>
                  <a:cxnLst>
                    <a:cxn ang="0">
                      <a:pos x="connsiteX0" y="connsiteY0"/>
                    </a:cxn>
                    <a:cxn ang="0">
                      <a:pos x="connsiteX1" y="connsiteY1"/>
                    </a:cxn>
                    <a:cxn ang="0">
                      <a:pos x="connsiteX2" y="connsiteY2"/>
                    </a:cxn>
                    <a:cxn ang="0">
                      <a:pos x="connsiteX3" y="connsiteY3"/>
                    </a:cxn>
                  </a:cxnLst>
                  <a:rect l="l" t="t" r="r" b="b"/>
                  <a:pathLst>
                    <a:path w="17302" h="17302">
                      <a:moveTo>
                        <a:pt x="0" y="0"/>
                      </a:moveTo>
                      <a:lnTo>
                        <a:pt x="17303" y="0"/>
                      </a:lnTo>
                      <a:lnTo>
                        <a:pt x="17303" y="17303"/>
                      </a:lnTo>
                      <a:lnTo>
                        <a:pt x="0" y="17303"/>
                      </a:lnTo>
                      <a:close/>
                    </a:path>
                  </a:pathLst>
                </a:custGeom>
                <a:grpFill/>
                <a:ln w="1878" cap="flat">
                  <a:noFill/>
                  <a:prstDash val="solid"/>
                  <a:miter/>
                </a:ln>
              </p:spPr>
              <p:txBody>
                <a:bodyPr rtlCol="0" anchor="ctr"/>
                <a:lstStyle/>
                <a:p>
                  <a:endParaRPr lang="en-GB" noProof="0" dirty="0"/>
                </a:p>
              </p:txBody>
            </p:sp>
            <p:sp>
              <p:nvSpPr>
                <p:cNvPr id="295" name="Freihandform: Form 294">
                  <a:extLst>
                    <a:ext uri="{FF2B5EF4-FFF2-40B4-BE49-F238E27FC236}">
                      <a16:creationId xmlns:a16="http://schemas.microsoft.com/office/drawing/2014/main" id="{65024EC4-C3E1-59C7-8F57-D80C48DCB1C9}"/>
                    </a:ext>
                  </a:extLst>
                </p:cNvPr>
                <p:cNvSpPr/>
                <p:nvPr/>
              </p:nvSpPr>
              <p:spPr>
                <a:xfrm>
                  <a:off x="4474508" y="3496238"/>
                  <a:ext cx="17302" cy="17302"/>
                </a:xfrm>
                <a:custGeom>
                  <a:avLst/>
                  <a:gdLst>
                    <a:gd name="connsiteX0" fmla="*/ 0 w 17302"/>
                    <a:gd name="connsiteY0" fmla="*/ 0 h 17302"/>
                    <a:gd name="connsiteX1" fmla="*/ 17303 w 17302"/>
                    <a:gd name="connsiteY1" fmla="*/ 0 h 17302"/>
                    <a:gd name="connsiteX2" fmla="*/ 17303 w 17302"/>
                    <a:gd name="connsiteY2" fmla="*/ 17303 h 17302"/>
                    <a:gd name="connsiteX3" fmla="*/ 0 w 17302"/>
                    <a:gd name="connsiteY3" fmla="*/ 17303 h 17302"/>
                  </a:gdLst>
                  <a:ahLst/>
                  <a:cxnLst>
                    <a:cxn ang="0">
                      <a:pos x="connsiteX0" y="connsiteY0"/>
                    </a:cxn>
                    <a:cxn ang="0">
                      <a:pos x="connsiteX1" y="connsiteY1"/>
                    </a:cxn>
                    <a:cxn ang="0">
                      <a:pos x="connsiteX2" y="connsiteY2"/>
                    </a:cxn>
                    <a:cxn ang="0">
                      <a:pos x="connsiteX3" y="connsiteY3"/>
                    </a:cxn>
                  </a:cxnLst>
                  <a:rect l="l" t="t" r="r" b="b"/>
                  <a:pathLst>
                    <a:path w="17302" h="17302">
                      <a:moveTo>
                        <a:pt x="0" y="0"/>
                      </a:moveTo>
                      <a:lnTo>
                        <a:pt x="17303" y="0"/>
                      </a:lnTo>
                      <a:lnTo>
                        <a:pt x="17303" y="17303"/>
                      </a:lnTo>
                      <a:lnTo>
                        <a:pt x="0" y="17303"/>
                      </a:lnTo>
                      <a:close/>
                    </a:path>
                  </a:pathLst>
                </a:custGeom>
                <a:grpFill/>
                <a:ln w="1878" cap="flat">
                  <a:noFill/>
                  <a:prstDash val="solid"/>
                  <a:miter/>
                </a:ln>
              </p:spPr>
              <p:txBody>
                <a:bodyPr rtlCol="0" anchor="ctr"/>
                <a:lstStyle/>
                <a:p>
                  <a:endParaRPr lang="en-GB" noProof="0" dirty="0"/>
                </a:p>
              </p:txBody>
            </p:sp>
            <p:sp>
              <p:nvSpPr>
                <p:cNvPr id="296" name="Freihandform: Form 295">
                  <a:extLst>
                    <a:ext uri="{FF2B5EF4-FFF2-40B4-BE49-F238E27FC236}">
                      <a16:creationId xmlns:a16="http://schemas.microsoft.com/office/drawing/2014/main" id="{6C03F658-0580-A0E1-C014-0F55F6F936D6}"/>
                    </a:ext>
                  </a:extLst>
                </p:cNvPr>
                <p:cNvSpPr/>
                <p:nvPr/>
              </p:nvSpPr>
              <p:spPr>
                <a:xfrm>
                  <a:off x="4490099" y="3520006"/>
                  <a:ext cx="17302" cy="17302"/>
                </a:xfrm>
                <a:custGeom>
                  <a:avLst/>
                  <a:gdLst>
                    <a:gd name="connsiteX0" fmla="*/ 0 w 17302"/>
                    <a:gd name="connsiteY0" fmla="*/ 0 h 17302"/>
                    <a:gd name="connsiteX1" fmla="*/ 17303 w 17302"/>
                    <a:gd name="connsiteY1" fmla="*/ 0 h 17302"/>
                    <a:gd name="connsiteX2" fmla="*/ 17303 w 17302"/>
                    <a:gd name="connsiteY2" fmla="*/ 17303 h 17302"/>
                    <a:gd name="connsiteX3" fmla="*/ 0 w 17302"/>
                    <a:gd name="connsiteY3" fmla="*/ 17303 h 17302"/>
                  </a:gdLst>
                  <a:ahLst/>
                  <a:cxnLst>
                    <a:cxn ang="0">
                      <a:pos x="connsiteX0" y="connsiteY0"/>
                    </a:cxn>
                    <a:cxn ang="0">
                      <a:pos x="connsiteX1" y="connsiteY1"/>
                    </a:cxn>
                    <a:cxn ang="0">
                      <a:pos x="connsiteX2" y="connsiteY2"/>
                    </a:cxn>
                    <a:cxn ang="0">
                      <a:pos x="connsiteX3" y="connsiteY3"/>
                    </a:cxn>
                  </a:cxnLst>
                  <a:rect l="l" t="t" r="r" b="b"/>
                  <a:pathLst>
                    <a:path w="17302" h="17302">
                      <a:moveTo>
                        <a:pt x="0" y="0"/>
                      </a:moveTo>
                      <a:lnTo>
                        <a:pt x="17303" y="0"/>
                      </a:lnTo>
                      <a:lnTo>
                        <a:pt x="17303" y="17303"/>
                      </a:lnTo>
                      <a:lnTo>
                        <a:pt x="0" y="17303"/>
                      </a:lnTo>
                      <a:close/>
                    </a:path>
                  </a:pathLst>
                </a:custGeom>
                <a:grpFill/>
                <a:ln w="1878" cap="flat">
                  <a:noFill/>
                  <a:prstDash val="solid"/>
                  <a:miter/>
                </a:ln>
              </p:spPr>
              <p:txBody>
                <a:bodyPr rtlCol="0" anchor="ctr"/>
                <a:lstStyle/>
                <a:p>
                  <a:endParaRPr lang="en-GB" noProof="0" dirty="0"/>
                </a:p>
              </p:txBody>
            </p:sp>
            <p:sp>
              <p:nvSpPr>
                <p:cNvPr id="297" name="Freihandform: Form 296">
                  <a:extLst>
                    <a:ext uri="{FF2B5EF4-FFF2-40B4-BE49-F238E27FC236}">
                      <a16:creationId xmlns:a16="http://schemas.microsoft.com/office/drawing/2014/main" id="{AFB41A93-00E0-CCC2-4991-2B0A990386D3}"/>
                    </a:ext>
                  </a:extLst>
                </p:cNvPr>
                <p:cNvSpPr/>
                <p:nvPr/>
              </p:nvSpPr>
              <p:spPr>
                <a:xfrm>
                  <a:off x="4430031" y="3521952"/>
                  <a:ext cx="117709" cy="77152"/>
                </a:xfrm>
                <a:custGeom>
                  <a:avLst/>
                  <a:gdLst>
                    <a:gd name="connsiteX0" fmla="*/ 96575 w 117709"/>
                    <a:gd name="connsiteY0" fmla="*/ 36652 h 77152"/>
                    <a:gd name="connsiteX1" fmla="*/ 50561 w 117709"/>
                    <a:gd name="connsiteY1" fmla="*/ 35131 h 77152"/>
                    <a:gd name="connsiteX2" fmla="*/ 42575 w 117709"/>
                    <a:gd name="connsiteY2" fmla="*/ 34180 h 77152"/>
                    <a:gd name="connsiteX3" fmla="*/ 38202 w 117709"/>
                    <a:gd name="connsiteY3" fmla="*/ 24293 h 77152"/>
                    <a:gd name="connsiteX4" fmla="*/ 38012 w 117709"/>
                    <a:gd name="connsiteY4" fmla="*/ 22772 h 77152"/>
                    <a:gd name="connsiteX5" fmla="*/ 28695 w 117709"/>
                    <a:gd name="connsiteY5" fmla="*/ 4328 h 77152"/>
                    <a:gd name="connsiteX6" fmla="*/ 7019 w 117709"/>
                    <a:gd name="connsiteY6" fmla="*/ 716 h 77152"/>
                    <a:gd name="connsiteX7" fmla="*/ 174 w 117709"/>
                    <a:gd name="connsiteY7" fmla="*/ 11554 h 77152"/>
                    <a:gd name="connsiteX8" fmla="*/ 11012 w 117709"/>
                    <a:gd name="connsiteY8" fmla="*/ 18209 h 77152"/>
                    <a:gd name="connsiteX9" fmla="*/ 18617 w 117709"/>
                    <a:gd name="connsiteY9" fmla="*/ 19159 h 77152"/>
                    <a:gd name="connsiteX10" fmla="*/ 19568 w 117709"/>
                    <a:gd name="connsiteY10" fmla="*/ 19920 h 77152"/>
                    <a:gd name="connsiteX11" fmla="*/ 19948 w 117709"/>
                    <a:gd name="connsiteY11" fmla="*/ 24293 h 77152"/>
                    <a:gd name="connsiteX12" fmla="*/ 20139 w 117709"/>
                    <a:gd name="connsiteY12" fmla="*/ 25814 h 77152"/>
                    <a:gd name="connsiteX13" fmla="*/ 30977 w 117709"/>
                    <a:gd name="connsiteY13" fmla="*/ 48061 h 77152"/>
                    <a:gd name="connsiteX14" fmla="*/ 50181 w 117709"/>
                    <a:gd name="connsiteY14" fmla="*/ 53004 h 77152"/>
                    <a:gd name="connsiteX15" fmla="*/ 51132 w 117709"/>
                    <a:gd name="connsiteY15" fmla="*/ 53004 h 77152"/>
                    <a:gd name="connsiteX16" fmla="*/ 92582 w 117709"/>
                    <a:gd name="connsiteY16" fmla="*/ 54145 h 77152"/>
                    <a:gd name="connsiteX17" fmla="*/ 97146 w 117709"/>
                    <a:gd name="connsiteY17" fmla="*/ 59279 h 77152"/>
                    <a:gd name="connsiteX18" fmla="*/ 10441 w 117709"/>
                    <a:gd name="connsiteY18" fmla="*/ 59279 h 77152"/>
                    <a:gd name="connsiteX19" fmla="*/ 1505 w 117709"/>
                    <a:gd name="connsiteY19" fmla="*/ 68216 h 77152"/>
                    <a:gd name="connsiteX20" fmla="*/ 10441 w 117709"/>
                    <a:gd name="connsiteY20" fmla="*/ 77152 h 77152"/>
                    <a:gd name="connsiteX21" fmla="*/ 108744 w 117709"/>
                    <a:gd name="connsiteY21" fmla="*/ 77152 h 77152"/>
                    <a:gd name="connsiteX22" fmla="*/ 115399 w 117709"/>
                    <a:gd name="connsiteY22" fmla="*/ 74300 h 77152"/>
                    <a:gd name="connsiteX23" fmla="*/ 117681 w 117709"/>
                    <a:gd name="connsiteY23" fmla="*/ 67455 h 77152"/>
                    <a:gd name="connsiteX24" fmla="*/ 96575 w 117709"/>
                    <a:gd name="connsiteY24" fmla="*/ 36652 h 7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7709" h="77152">
                      <a:moveTo>
                        <a:pt x="96575" y="36652"/>
                      </a:moveTo>
                      <a:cubicBezTo>
                        <a:pt x="83646" y="33610"/>
                        <a:pt x="55505" y="34751"/>
                        <a:pt x="50561" y="35131"/>
                      </a:cubicBezTo>
                      <a:cubicBezTo>
                        <a:pt x="47899" y="34941"/>
                        <a:pt x="44287" y="34561"/>
                        <a:pt x="42575" y="34180"/>
                      </a:cubicBezTo>
                      <a:cubicBezTo>
                        <a:pt x="40484" y="31899"/>
                        <a:pt x="38582" y="29237"/>
                        <a:pt x="38202" y="24293"/>
                      </a:cubicBezTo>
                      <a:lnTo>
                        <a:pt x="38012" y="22772"/>
                      </a:lnTo>
                      <a:cubicBezTo>
                        <a:pt x="37251" y="13835"/>
                        <a:pt x="36491" y="9652"/>
                        <a:pt x="28695" y="4328"/>
                      </a:cubicBezTo>
                      <a:cubicBezTo>
                        <a:pt x="19378" y="-1946"/>
                        <a:pt x="8160" y="335"/>
                        <a:pt x="7019" y="716"/>
                      </a:cubicBezTo>
                      <a:cubicBezTo>
                        <a:pt x="2265" y="1857"/>
                        <a:pt x="-777" y="6610"/>
                        <a:pt x="174" y="11554"/>
                      </a:cubicBezTo>
                      <a:cubicBezTo>
                        <a:pt x="1315" y="16307"/>
                        <a:pt x="6068" y="19350"/>
                        <a:pt x="11012" y="18209"/>
                      </a:cubicBezTo>
                      <a:cubicBezTo>
                        <a:pt x="12153" y="18019"/>
                        <a:pt x="16336" y="17638"/>
                        <a:pt x="18617" y="19159"/>
                      </a:cubicBezTo>
                      <a:cubicBezTo>
                        <a:pt x="18998" y="19540"/>
                        <a:pt x="19378" y="19730"/>
                        <a:pt x="19568" y="19920"/>
                      </a:cubicBezTo>
                      <a:cubicBezTo>
                        <a:pt x="19758" y="20871"/>
                        <a:pt x="19948" y="22582"/>
                        <a:pt x="19948" y="24293"/>
                      </a:cubicBezTo>
                      <a:lnTo>
                        <a:pt x="20139" y="25814"/>
                      </a:lnTo>
                      <a:cubicBezTo>
                        <a:pt x="21279" y="38173"/>
                        <a:pt x="27554" y="44638"/>
                        <a:pt x="30977" y="48061"/>
                      </a:cubicBezTo>
                      <a:cubicBezTo>
                        <a:pt x="32498" y="49582"/>
                        <a:pt x="35160" y="52434"/>
                        <a:pt x="50181" y="53004"/>
                      </a:cubicBezTo>
                      <a:cubicBezTo>
                        <a:pt x="50561" y="53004"/>
                        <a:pt x="50751" y="53004"/>
                        <a:pt x="51132" y="53004"/>
                      </a:cubicBezTo>
                      <a:cubicBezTo>
                        <a:pt x="59498" y="52624"/>
                        <a:pt x="83456" y="52054"/>
                        <a:pt x="92582" y="54145"/>
                      </a:cubicBezTo>
                      <a:cubicBezTo>
                        <a:pt x="94484" y="54526"/>
                        <a:pt x="96005" y="56617"/>
                        <a:pt x="97146" y="59279"/>
                      </a:cubicBezTo>
                      <a:lnTo>
                        <a:pt x="10441" y="59279"/>
                      </a:lnTo>
                      <a:cubicBezTo>
                        <a:pt x="5498" y="59279"/>
                        <a:pt x="1505" y="63272"/>
                        <a:pt x="1505" y="68216"/>
                      </a:cubicBezTo>
                      <a:cubicBezTo>
                        <a:pt x="1505" y="73159"/>
                        <a:pt x="5498" y="77152"/>
                        <a:pt x="10441" y="77152"/>
                      </a:cubicBezTo>
                      <a:lnTo>
                        <a:pt x="108744" y="77152"/>
                      </a:lnTo>
                      <a:cubicBezTo>
                        <a:pt x="111216" y="77152"/>
                        <a:pt x="113688" y="76011"/>
                        <a:pt x="115399" y="74300"/>
                      </a:cubicBezTo>
                      <a:cubicBezTo>
                        <a:pt x="117110" y="72399"/>
                        <a:pt x="117871" y="69927"/>
                        <a:pt x="117681" y="67455"/>
                      </a:cubicBezTo>
                      <a:cubicBezTo>
                        <a:pt x="117491" y="64793"/>
                        <a:pt x="114829" y="41026"/>
                        <a:pt x="96575" y="36652"/>
                      </a:cubicBezTo>
                      <a:close/>
                    </a:path>
                  </a:pathLst>
                </a:custGeom>
                <a:grpFill/>
                <a:ln w="1878" cap="flat">
                  <a:noFill/>
                  <a:prstDash val="solid"/>
                  <a:miter/>
                </a:ln>
              </p:spPr>
              <p:txBody>
                <a:bodyPr rtlCol="0" anchor="ctr"/>
                <a:lstStyle/>
                <a:p>
                  <a:endParaRPr lang="en-GB" noProof="0" dirty="0"/>
                </a:p>
              </p:txBody>
            </p:sp>
            <p:grpSp>
              <p:nvGrpSpPr>
                <p:cNvPr id="298" name="Grafik 32">
                  <a:extLst>
                    <a:ext uri="{FF2B5EF4-FFF2-40B4-BE49-F238E27FC236}">
                      <a16:creationId xmlns:a16="http://schemas.microsoft.com/office/drawing/2014/main" id="{02218E81-4584-51FC-0137-EBC6483047D8}"/>
                    </a:ext>
                  </a:extLst>
                </p:cNvPr>
                <p:cNvGrpSpPr/>
                <p:nvPr/>
              </p:nvGrpSpPr>
              <p:grpSpPr>
                <a:xfrm>
                  <a:off x="4531740" y="3324541"/>
                  <a:ext cx="434471" cy="274563"/>
                  <a:chOff x="4531740" y="3324541"/>
                  <a:chExt cx="434471" cy="274563"/>
                </a:xfrm>
                <a:grpFill/>
              </p:grpSpPr>
              <p:sp>
                <p:nvSpPr>
                  <p:cNvPr id="299" name="Freihandform: Form 298">
                    <a:extLst>
                      <a:ext uri="{FF2B5EF4-FFF2-40B4-BE49-F238E27FC236}">
                        <a16:creationId xmlns:a16="http://schemas.microsoft.com/office/drawing/2014/main" id="{90550A64-C4FA-2BB2-BF8B-E39DB054568F}"/>
                      </a:ext>
                    </a:extLst>
                  </p:cNvPr>
                  <p:cNvSpPr/>
                  <p:nvPr/>
                </p:nvSpPr>
                <p:spPr>
                  <a:xfrm>
                    <a:off x="4835965" y="3513541"/>
                    <a:ext cx="54380" cy="54380"/>
                  </a:xfrm>
                  <a:custGeom>
                    <a:avLst/>
                    <a:gdLst>
                      <a:gd name="connsiteX0" fmla="*/ 27190 w 54380"/>
                      <a:gd name="connsiteY0" fmla="*/ 0 h 54380"/>
                      <a:gd name="connsiteX1" fmla="*/ 0 w 54380"/>
                      <a:gd name="connsiteY1" fmla="*/ 27190 h 54380"/>
                      <a:gd name="connsiteX2" fmla="*/ 27190 w 54380"/>
                      <a:gd name="connsiteY2" fmla="*/ 54380 h 54380"/>
                      <a:gd name="connsiteX3" fmla="*/ 54380 w 54380"/>
                      <a:gd name="connsiteY3" fmla="*/ 27190 h 54380"/>
                      <a:gd name="connsiteX4" fmla="*/ 27190 w 54380"/>
                      <a:gd name="connsiteY4" fmla="*/ 0 h 54380"/>
                      <a:gd name="connsiteX5" fmla="*/ 27190 w 54380"/>
                      <a:gd name="connsiteY5" fmla="*/ 37268 h 54380"/>
                      <a:gd name="connsiteX6" fmla="*/ 17113 w 54380"/>
                      <a:gd name="connsiteY6" fmla="*/ 27190 h 54380"/>
                      <a:gd name="connsiteX7" fmla="*/ 27190 w 54380"/>
                      <a:gd name="connsiteY7" fmla="*/ 17113 h 54380"/>
                      <a:gd name="connsiteX8" fmla="*/ 37268 w 54380"/>
                      <a:gd name="connsiteY8" fmla="*/ 27190 h 54380"/>
                      <a:gd name="connsiteX9" fmla="*/ 27190 w 54380"/>
                      <a:gd name="connsiteY9" fmla="*/ 37268 h 54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380" h="54380">
                        <a:moveTo>
                          <a:pt x="27190" y="0"/>
                        </a:moveTo>
                        <a:cubicBezTo>
                          <a:pt x="12169" y="0"/>
                          <a:pt x="0" y="12169"/>
                          <a:pt x="0" y="27190"/>
                        </a:cubicBezTo>
                        <a:cubicBezTo>
                          <a:pt x="0" y="42211"/>
                          <a:pt x="12169" y="54380"/>
                          <a:pt x="27190" y="54380"/>
                        </a:cubicBezTo>
                        <a:cubicBezTo>
                          <a:pt x="42211" y="54380"/>
                          <a:pt x="54380" y="42211"/>
                          <a:pt x="54380" y="27190"/>
                        </a:cubicBezTo>
                        <a:cubicBezTo>
                          <a:pt x="54380" y="12169"/>
                          <a:pt x="42211" y="0"/>
                          <a:pt x="27190" y="0"/>
                        </a:cubicBezTo>
                        <a:close/>
                        <a:moveTo>
                          <a:pt x="27190" y="37268"/>
                        </a:moveTo>
                        <a:cubicBezTo>
                          <a:pt x="21676" y="37268"/>
                          <a:pt x="17113" y="32704"/>
                          <a:pt x="17113" y="27190"/>
                        </a:cubicBezTo>
                        <a:cubicBezTo>
                          <a:pt x="17113" y="21676"/>
                          <a:pt x="21676" y="17113"/>
                          <a:pt x="27190" y="17113"/>
                        </a:cubicBezTo>
                        <a:cubicBezTo>
                          <a:pt x="32704" y="17113"/>
                          <a:pt x="37268" y="21676"/>
                          <a:pt x="37268" y="27190"/>
                        </a:cubicBezTo>
                        <a:cubicBezTo>
                          <a:pt x="37268" y="32704"/>
                          <a:pt x="32704" y="37268"/>
                          <a:pt x="27190" y="37268"/>
                        </a:cubicBezTo>
                        <a:close/>
                      </a:path>
                    </a:pathLst>
                  </a:custGeom>
                  <a:grpFill/>
                  <a:ln w="1878" cap="flat">
                    <a:noFill/>
                    <a:prstDash val="solid"/>
                    <a:miter/>
                  </a:ln>
                </p:spPr>
                <p:txBody>
                  <a:bodyPr rtlCol="0" anchor="ctr"/>
                  <a:lstStyle/>
                  <a:p>
                    <a:endParaRPr lang="en-GB" noProof="0" dirty="0"/>
                  </a:p>
                </p:txBody>
              </p:sp>
              <p:sp>
                <p:nvSpPr>
                  <p:cNvPr id="300" name="Freihandform: Form 299">
                    <a:extLst>
                      <a:ext uri="{FF2B5EF4-FFF2-40B4-BE49-F238E27FC236}">
                        <a16:creationId xmlns:a16="http://schemas.microsoft.com/office/drawing/2014/main" id="{22BE3AE9-1217-CD19-E13C-6A5BD81A0401}"/>
                      </a:ext>
                    </a:extLst>
                  </p:cNvPr>
                  <p:cNvSpPr/>
                  <p:nvPr/>
                </p:nvSpPr>
                <p:spPr>
                  <a:xfrm>
                    <a:off x="4611599" y="3513541"/>
                    <a:ext cx="54380" cy="54380"/>
                  </a:xfrm>
                  <a:custGeom>
                    <a:avLst/>
                    <a:gdLst>
                      <a:gd name="connsiteX0" fmla="*/ 27190 w 54380"/>
                      <a:gd name="connsiteY0" fmla="*/ 0 h 54380"/>
                      <a:gd name="connsiteX1" fmla="*/ 0 w 54380"/>
                      <a:gd name="connsiteY1" fmla="*/ 27190 h 54380"/>
                      <a:gd name="connsiteX2" fmla="*/ 27190 w 54380"/>
                      <a:gd name="connsiteY2" fmla="*/ 54380 h 54380"/>
                      <a:gd name="connsiteX3" fmla="*/ 54380 w 54380"/>
                      <a:gd name="connsiteY3" fmla="*/ 27190 h 54380"/>
                      <a:gd name="connsiteX4" fmla="*/ 27190 w 54380"/>
                      <a:gd name="connsiteY4" fmla="*/ 0 h 54380"/>
                      <a:gd name="connsiteX5" fmla="*/ 27190 w 54380"/>
                      <a:gd name="connsiteY5" fmla="*/ 37268 h 54380"/>
                      <a:gd name="connsiteX6" fmla="*/ 17113 w 54380"/>
                      <a:gd name="connsiteY6" fmla="*/ 27190 h 54380"/>
                      <a:gd name="connsiteX7" fmla="*/ 27190 w 54380"/>
                      <a:gd name="connsiteY7" fmla="*/ 17113 h 54380"/>
                      <a:gd name="connsiteX8" fmla="*/ 37268 w 54380"/>
                      <a:gd name="connsiteY8" fmla="*/ 27190 h 54380"/>
                      <a:gd name="connsiteX9" fmla="*/ 27190 w 54380"/>
                      <a:gd name="connsiteY9" fmla="*/ 37268 h 54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380" h="54380">
                        <a:moveTo>
                          <a:pt x="27190" y="0"/>
                        </a:moveTo>
                        <a:cubicBezTo>
                          <a:pt x="12169" y="0"/>
                          <a:pt x="0" y="12169"/>
                          <a:pt x="0" y="27190"/>
                        </a:cubicBezTo>
                        <a:cubicBezTo>
                          <a:pt x="0" y="42211"/>
                          <a:pt x="12169" y="54380"/>
                          <a:pt x="27190" y="54380"/>
                        </a:cubicBezTo>
                        <a:cubicBezTo>
                          <a:pt x="42211" y="54380"/>
                          <a:pt x="54380" y="42211"/>
                          <a:pt x="54380" y="27190"/>
                        </a:cubicBezTo>
                        <a:cubicBezTo>
                          <a:pt x="54380" y="12169"/>
                          <a:pt x="42211" y="0"/>
                          <a:pt x="27190" y="0"/>
                        </a:cubicBezTo>
                        <a:close/>
                        <a:moveTo>
                          <a:pt x="27190" y="37268"/>
                        </a:moveTo>
                        <a:cubicBezTo>
                          <a:pt x="21676" y="37268"/>
                          <a:pt x="17113" y="32704"/>
                          <a:pt x="17113" y="27190"/>
                        </a:cubicBezTo>
                        <a:cubicBezTo>
                          <a:pt x="17113" y="21676"/>
                          <a:pt x="21676" y="17113"/>
                          <a:pt x="27190" y="17113"/>
                        </a:cubicBezTo>
                        <a:cubicBezTo>
                          <a:pt x="32704" y="17113"/>
                          <a:pt x="37268" y="21676"/>
                          <a:pt x="37268" y="27190"/>
                        </a:cubicBezTo>
                        <a:cubicBezTo>
                          <a:pt x="37268" y="32704"/>
                          <a:pt x="32704" y="37268"/>
                          <a:pt x="27190" y="37268"/>
                        </a:cubicBezTo>
                        <a:close/>
                      </a:path>
                    </a:pathLst>
                  </a:custGeom>
                  <a:grpFill/>
                  <a:ln w="1878" cap="flat">
                    <a:noFill/>
                    <a:prstDash val="solid"/>
                    <a:miter/>
                  </a:ln>
                </p:spPr>
                <p:txBody>
                  <a:bodyPr rtlCol="0" anchor="ctr"/>
                  <a:lstStyle/>
                  <a:p>
                    <a:endParaRPr lang="en-GB" noProof="0" dirty="0"/>
                  </a:p>
                </p:txBody>
              </p:sp>
              <p:sp>
                <p:nvSpPr>
                  <p:cNvPr id="301" name="Freihandform: Form 300">
                    <a:extLst>
                      <a:ext uri="{FF2B5EF4-FFF2-40B4-BE49-F238E27FC236}">
                        <a16:creationId xmlns:a16="http://schemas.microsoft.com/office/drawing/2014/main" id="{78257FFF-B3D4-C127-96E6-28B265EBB1D1}"/>
                      </a:ext>
                    </a:extLst>
                  </p:cNvPr>
                  <p:cNvSpPr/>
                  <p:nvPr/>
                </p:nvSpPr>
                <p:spPr>
                  <a:xfrm>
                    <a:off x="4531740" y="3324541"/>
                    <a:ext cx="434471" cy="274563"/>
                  </a:xfrm>
                  <a:custGeom>
                    <a:avLst/>
                    <a:gdLst>
                      <a:gd name="connsiteX0" fmla="*/ 428197 w 434471"/>
                      <a:gd name="connsiteY0" fmla="*/ 176070 h 274563"/>
                      <a:gd name="connsiteX1" fmla="*/ 428387 w 434471"/>
                      <a:gd name="connsiteY1" fmla="*/ 175500 h 274563"/>
                      <a:gd name="connsiteX2" fmla="*/ 428387 w 434471"/>
                      <a:gd name="connsiteY2" fmla="*/ 104577 h 274563"/>
                      <a:gd name="connsiteX3" fmla="*/ 427246 w 434471"/>
                      <a:gd name="connsiteY3" fmla="*/ 100394 h 274563"/>
                      <a:gd name="connsiteX4" fmla="*/ 378380 w 434471"/>
                      <a:gd name="connsiteY4" fmla="*/ 11979 h 274563"/>
                      <a:gd name="connsiteX5" fmla="*/ 375718 w 434471"/>
                      <a:gd name="connsiteY5" fmla="*/ 8937 h 274563"/>
                      <a:gd name="connsiteX6" fmla="*/ 364120 w 434471"/>
                      <a:gd name="connsiteY6" fmla="*/ 1331 h 274563"/>
                      <a:gd name="connsiteX7" fmla="*/ 359366 w 434471"/>
                      <a:gd name="connsiteY7" fmla="*/ 0 h 274563"/>
                      <a:gd name="connsiteX8" fmla="*/ 359366 w 434471"/>
                      <a:gd name="connsiteY8" fmla="*/ 0 h 274563"/>
                      <a:gd name="connsiteX9" fmla="*/ 291866 w 434471"/>
                      <a:gd name="connsiteY9" fmla="*/ 0 h 274563"/>
                      <a:gd name="connsiteX10" fmla="*/ 283310 w 434471"/>
                      <a:gd name="connsiteY10" fmla="*/ 8366 h 274563"/>
                      <a:gd name="connsiteX11" fmla="*/ 282359 w 434471"/>
                      <a:gd name="connsiteY11" fmla="*/ 170746 h 274563"/>
                      <a:gd name="connsiteX12" fmla="*/ 144317 w 434471"/>
                      <a:gd name="connsiteY12" fmla="*/ 170746 h 274563"/>
                      <a:gd name="connsiteX13" fmla="*/ 107049 w 434471"/>
                      <a:gd name="connsiteY13" fmla="*/ 157246 h 274563"/>
                      <a:gd name="connsiteX14" fmla="*/ 69782 w 434471"/>
                      <a:gd name="connsiteY14" fmla="*/ 170746 h 274563"/>
                      <a:gd name="connsiteX15" fmla="*/ 12930 w 434471"/>
                      <a:gd name="connsiteY15" fmla="*/ 170746 h 274563"/>
                      <a:gd name="connsiteX16" fmla="*/ 0 w 434471"/>
                      <a:gd name="connsiteY16" fmla="*/ 185958 h 274563"/>
                      <a:gd name="connsiteX17" fmla="*/ 0 w 434471"/>
                      <a:gd name="connsiteY17" fmla="*/ 209155 h 274563"/>
                      <a:gd name="connsiteX18" fmla="*/ 12930 w 434471"/>
                      <a:gd name="connsiteY18" fmla="*/ 224366 h 274563"/>
                      <a:gd name="connsiteX19" fmla="*/ 49056 w 434471"/>
                      <a:gd name="connsiteY19" fmla="*/ 224366 h 274563"/>
                      <a:gd name="connsiteX20" fmla="*/ 107049 w 434471"/>
                      <a:gd name="connsiteY20" fmla="*/ 274563 h 274563"/>
                      <a:gd name="connsiteX21" fmla="*/ 165042 w 434471"/>
                      <a:gd name="connsiteY21" fmla="*/ 224366 h 274563"/>
                      <a:gd name="connsiteX22" fmla="*/ 273613 w 434471"/>
                      <a:gd name="connsiteY22" fmla="*/ 224366 h 274563"/>
                      <a:gd name="connsiteX23" fmla="*/ 331606 w 434471"/>
                      <a:gd name="connsiteY23" fmla="*/ 274563 h 274563"/>
                      <a:gd name="connsiteX24" fmla="*/ 389599 w 434471"/>
                      <a:gd name="connsiteY24" fmla="*/ 223986 h 274563"/>
                      <a:gd name="connsiteX25" fmla="*/ 392261 w 434471"/>
                      <a:gd name="connsiteY25" fmla="*/ 224556 h 274563"/>
                      <a:gd name="connsiteX26" fmla="*/ 427627 w 434471"/>
                      <a:gd name="connsiteY26" fmla="*/ 224556 h 274563"/>
                      <a:gd name="connsiteX27" fmla="*/ 434472 w 434471"/>
                      <a:gd name="connsiteY27" fmla="*/ 217711 h 274563"/>
                      <a:gd name="connsiteX28" fmla="*/ 434472 w 434471"/>
                      <a:gd name="connsiteY28" fmla="*/ 182725 h 274563"/>
                      <a:gd name="connsiteX29" fmla="*/ 428197 w 434471"/>
                      <a:gd name="connsiteY29" fmla="*/ 176070 h 274563"/>
                      <a:gd name="connsiteX30" fmla="*/ 49056 w 434471"/>
                      <a:gd name="connsiteY30" fmla="*/ 207634 h 274563"/>
                      <a:gd name="connsiteX31" fmla="*/ 16923 w 434471"/>
                      <a:gd name="connsiteY31" fmla="*/ 207634 h 274563"/>
                      <a:gd name="connsiteX32" fmla="*/ 16923 w 434471"/>
                      <a:gd name="connsiteY32" fmla="*/ 187859 h 274563"/>
                      <a:gd name="connsiteX33" fmla="*/ 55711 w 434471"/>
                      <a:gd name="connsiteY33" fmla="*/ 187859 h 274563"/>
                      <a:gd name="connsiteX34" fmla="*/ 49056 w 434471"/>
                      <a:gd name="connsiteY34" fmla="*/ 207634 h 274563"/>
                      <a:gd name="connsiteX35" fmla="*/ 107049 w 434471"/>
                      <a:gd name="connsiteY35" fmla="*/ 257641 h 274563"/>
                      <a:gd name="connsiteX36" fmla="*/ 65408 w 434471"/>
                      <a:gd name="connsiteY36" fmla="*/ 216000 h 274563"/>
                      <a:gd name="connsiteX37" fmla="*/ 107049 w 434471"/>
                      <a:gd name="connsiteY37" fmla="*/ 174359 h 274563"/>
                      <a:gd name="connsiteX38" fmla="*/ 148690 w 434471"/>
                      <a:gd name="connsiteY38" fmla="*/ 216000 h 274563"/>
                      <a:gd name="connsiteX39" fmla="*/ 107049 w 434471"/>
                      <a:gd name="connsiteY39" fmla="*/ 257641 h 274563"/>
                      <a:gd name="connsiteX40" fmla="*/ 273423 w 434471"/>
                      <a:gd name="connsiteY40" fmla="*/ 207634 h 274563"/>
                      <a:gd name="connsiteX41" fmla="*/ 164852 w 434471"/>
                      <a:gd name="connsiteY41" fmla="*/ 207634 h 274563"/>
                      <a:gd name="connsiteX42" fmla="*/ 158197 w 434471"/>
                      <a:gd name="connsiteY42" fmla="*/ 187859 h 274563"/>
                      <a:gd name="connsiteX43" fmla="*/ 279887 w 434471"/>
                      <a:gd name="connsiteY43" fmla="*/ 187859 h 274563"/>
                      <a:gd name="connsiteX44" fmla="*/ 273423 w 434471"/>
                      <a:gd name="connsiteY44" fmla="*/ 207634 h 274563"/>
                      <a:gd name="connsiteX45" fmla="*/ 300232 w 434471"/>
                      <a:gd name="connsiteY45" fmla="*/ 17113 h 274563"/>
                      <a:gd name="connsiteX46" fmla="*/ 356894 w 434471"/>
                      <a:gd name="connsiteY46" fmla="*/ 17113 h 274563"/>
                      <a:gd name="connsiteX47" fmla="*/ 364500 w 434471"/>
                      <a:gd name="connsiteY47" fmla="*/ 22246 h 274563"/>
                      <a:gd name="connsiteX48" fmla="*/ 370775 w 434471"/>
                      <a:gd name="connsiteY48" fmla="*/ 33465 h 274563"/>
                      <a:gd name="connsiteX49" fmla="*/ 300042 w 434471"/>
                      <a:gd name="connsiteY49" fmla="*/ 33465 h 274563"/>
                      <a:gd name="connsiteX50" fmla="*/ 300232 w 434471"/>
                      <a:gd name="connsiteY50" fmla="*/ 17113 h 274563"/>
                      <a:gd name="connsiteX51" fmla="*/ 299852 w 434471"/>
                      <a:gd name="connsiteY51" fmla="*/ 50197 h 274563"/>
                      <a:gd name="connsiteX52" fmla="*/ 380092 w 434471"/>
                      <a:gd name="connsiteY52" fmla="*/ 50197 h 274563"/>
                      <a:gd name="connsiteX53" fmla="*/ 411275 w 434471"/>
                      <a:gd name="connsiteY53" fmla="*/ 106859 h 274563"/>
                      <a:gd name="connsiteX54" fmla="*/ 411275 w 434471"/>
                      <a:gd name="connsiteY54" fmla="*/ 123021 h 274563"/>
                      <a:gd name="connsiteX55" fmla="*/ 392831 w 434471"/>
                      <a:gd name="connsiteY55" fmla="*/ 123021 h 274563"/>
                      <a:gd name="connsiteX56" fmla="*/ 387507 w 434471"/>
                      <a:gd name="connsiteY56" fmla="*/ 120739 h 274563"/>
                      <a:gd name="connsiteX57" fmla="*/ 371916 w 434471"/>
                      <a:gd name="connsiteY57" fmla="*/ 104577 h 274563"/>
                      <a:gd name="connsiteX58" fmla="*/ 354423 w 434471"/>
                      <a:gd name="connsiteY58" fmla="*/ 97162 h 274563"/>
                      <a:gd name="connsiteX59" fmla="*/ 299472 w 434471"/>
                      <a:gd name="connsiteY59" fmla="*/ 97162 h 274563"/>
                      <a:gd name="connsiteX60" fmla="*/ 299852 w 434471"/>
                      <a:gd name="connsiteY60" fmla="*/ 50197 h 274563"/>
                      <a:gd name="connsiteX61" fmla="*/ 331415 w 434471"/>
                      <a:gd name="connsiteY61" fmla="*/ 257641 h 274563"/>
                      <a:gd name="connsiteX62" fmla="*/ 289775 w 434471"/>
                      <a:gd name="connsiteY62" fmla="*/ 216000 h 274563"/>
                      <a:gd name="connsiteX63" fmla="*/ 331415 w 434471"/>
                      <a:gd name="connsiteY63" fmla="*/ 174359 h 274563"/>
                      <a:gd name="connsiteX64" fmla="*/ 373056 w 434471"/>
                      <a:gd name="connsiteY64" fmla="*/ 216000 h 274563"/>
                      <a:gd name="connsiteX65" fmla="*/ 331415 w 434471"/>
                      <a:gd name="connsiteY65" fmla="*/ 257641 h 274563"/>
                      <a:gd name="connsiteX66" fmla="*/ 385225 w 434471"/>
                      <a:gd name="connsiteY66" fmla="*/ 182725 h 274563"/>
                      <a:gd name="connsiteX67" fmla="*/ 385225 w 434471"/>
                      <a:gd name="connsiteY67" fmla="*/ 192803 h 274563"/>
                      <a:gd name="connsiteX68" fmla="*/ 331415 w 434471"/>
                      <a:gd name="connsiteY68" fmla="*/ 157437 h 274563"/>
                      <a:gd name="connsiteX69" fmla="*/ 299282 w 434471"/>
                      <a:gd name="connsiteY69" fmla="*/ 167134 h 274563"/>
                      <a:gd name="connsiteX70" fmla="*/ 299472 w 434471"/>
                      <a:gd name="connsiteY70" fmla="*/ 114085 h 274563"/>
                      <a:gd name="connsiteX71" fmla="*/ 354423 w 434471"/>
                      <a:gd name="connsiteY71" fmla="*/ 114085 h 274563"/>
                      <a:gd name="connsiteX72" fmla="*/ 359937 w 434471"/>
                      <a:gd name="connsiteY72" fmla="*/ 116366 h 274563"/>
                      <a:gd name="connsiteX73" fmla="*/ 375528 w 434471"/>
                      <a:gd name="connsiteY73" fmla="*/ 132528 h 274563"/>
                      <a:gd name="connsiteX74" fmla="*/ 393021 w 434471"/>
                      <a:gd name="connsiteY74" fmla="*/ 139944 h 274563"/>
                      <a:gd name="connsiteX75" fmla="*/ 411465 w 434471"/>
                      <a:gd name="connsiteY75" fmla="*/ 139944 h 274563"/>
                      <a:gd name="connsiteX76" fmla="*/ 411465 w 434471"/>
                      <a:gd name="connsiteY76" fmla="*/ 175500 h 274563"/>
                      <a:gd name="connsiteX77" fmla="*/ 411465 w 434471"/>
                      <a:gd name="connsiteY77" fmla="*/ 175880 h 274563"/>
                      <a:gd name="connsiteX78" fmla="*/ 392070 w 434471"/>
                      <a:gd name="connsiteY78" fmla="*/ 175880 h 274563"/>
                      <a:gd name="connsiteX79" fmla="*/ 385225 w 434471"/>
                      <a:gd name="connsiteY79" fmla="*/ 182725 h 274563"/>
                      <a:gd name="connsiteX80" fmla="*/ 420592 w 434471"/>
                      <a:gd name="connsiteY80" fmla="*/ 211056 h 274563"/>
                      <a:gd name="connsiteX81" fmla="*/ 398725 w 434471"/>
                      <a:gd name="connsiteY81" fmla="*/ 211056 h 274563"/>
                      <a:gd name="connsiteX82" fmla="*/ 398725 w 434471"/>
                      <a:gd name="connsiteY82" fmla="*/ 189570 h 274563"/>
                      <a:gd name="connsiteX83" fmla="*/ 420592 w 434471"/>
                      <a:gd name="connsiteY83" fmla="*/ 189570 h 274563"/>
                      <a:gd name="connsiteX84" fmla="*/ 420592 w 434471"/>
                      <a:gd name="connsiteY84" fmla="*/ 211056 h 274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434471" h="274563">
                        <a:moveTo>
                          <a:pt x="428197" y="176070"/>
                        </a:moveTo>
                        <a:cubicBezTo>
                          <a:pt x="428197" y="175880"/>
                          <a:pt x="428387" y="175690"/>
                          <a:pt x="428387" y="175500"/>
                        </a:cubicBezTo>
                        <a:lnTo>
                          <a:pt x="428387" y="104577"/>
                        </a:lnTo>
                        <a:cubicBezTo>
                          <a:pt x="428387" y="103056"/>
                          <a:pt x="428007" y="101725"/>
                          <a:pt x="427246" y="100394"/>
                        </a:cubicBezTo>
                        <a:lnTo>
                          <a:pt x="378380" y="11979"/>
                        </a:lnTo>
                        <a:cubicBezTo>
                          <a:pt x="377810" y="10838"/>
                          <a:pt x="376859" y="9697"/>
                          <a:pt x="375718" y="8937"/>
                        </a:cubicBezTo>
                        <a:lnTo>
                          <a:pt x="364120" y="1331"/>
                        </a:lnTo>
                        <a:cubicBezTo>
                          <a:pt x="362789" y="380"/>
                          <a:pt x="361077" y="0"/>
                          <a:pt x="359366" y="0"/>
                        </a:cubicBezTo>
                        <a:lnTo>
                          <a:pt x="359366" y="0"/>
                        </a:lnTo>
                        <a:lnTo>
                          <a:pt x="291866" y="0"/>
                        </a:lnTo>
                        <a:cubicBezTo>
                          <a:pt x="287303" y="0"/>
                          <a:pt x="283500" y="3803"/>
                          <a:pt x="283310" y="8366"/>
                        </a:cubicBezTo>
                        <a:cubicBezTo>
                          <a:pt x="281979" y="123401"/>
                          <a:pt x="282169" y="159148"/>
                          <a:pt x="282359" y="170746"/>
                        </a:cubicBezTo>
                        <a:lnTo>
                          <a:pt x="144317" y="170746"/>
                        </a:lnTo>
                        <a:cubicBezTo>
                          <a:pt x="134239" y="162380"/>
                          <a:pt x="121120" y="157246"/>
                          <a:pt x="107049" y="157246"/>
                        </a:cubicBezTo>
                        <a:cubicBezTo>
                          <a:pt x="92979" y="157246"/>
                          <a:pt x="79859" y="162380"/>
                          <a:pt x="69782" y="170746"/>
                        </a:cubicBezTo>
                        <a:lnTo>
                          <a:pt x="12930" y="170746"/>
                        </a:lnTo>
                        <a:cubicBezTo>
                          <a:pt x="4373" y="170746"/>
                          <a:pt x="0" y="178352"/>
                          <a:pt x="0" y="185958"/>
                        </a:cubicBezTo>
                        <a:lnTo>
                          <a:pt x="0" y="209155"/>
                        </a:lnTo>
                        <a:cubicBezTo>
                          <a:pt x="0" y="220183"/>
                          <a:pt x="7986" y="224366"/>
                          <a:pt x="12930" y="224366"/>
                        </a:cubicBezTo>
                        <a:lnTo>
                          <a:pt x="49056" y="224366"/>
                        </a:lnTo>
                        <a:cubicBezTo>
                          <a:pt x="53239" y="252697"/>
                          <a:pt x="77577" y="274563"/>
                          <a:pt x="107049" y="274563"/>
                        </a:cubicBezTo>
                        <a:cubicBezTo>
                          <a:pt x="136521" y="274563"/>
                          <a:pt x="160859" y="252697"/>
                          <a:pt x="165042" y="224366"/>
                        </a:cubicBezTo>
                        <a:lnTo>
                          <a:pt x="273613" y="224366"/>
                        </a:lnTo>
                        <a:cubicBezTo>
                          <a:pt x="277796" y="252697"/>
                          <a:pt x="302134" y="274563"/>
                          <a:pt x="331606" y="274563"/>
                        </a:cubicBezTo>
                        <a:cubicBezTo>
                          <a:pt x="361268" y="274563"/>
                          <a:pt x="385796" y="252507"/>
                          <a:pt x="389599" y="223986"/>
                        </a:cubicBezTo>
                        <a:cubicBezTo>
                          <a:pt x="390359" y="224366"/>
                          <a:pt x="391310" y="224556"/>
                          <a:pt x="392261" y="224556"/>
                        </a:cubicBezTo>
                        <a:lnTo>
                          <a:pt x="427627" y="224556"/>
                        </a:lnTo>
                        <a:cubicBezTo>
                          <a:pt x="431430" y="224556"/>
                          <a:pt x="434472" y="221514"/>
                          <a:pt x="434472" y="217711"/>
                        </a:cubicBezTo>
                        <a:lnTo>
                          <a:pt x="434472" y="182725"/>
                        </a:lnTo>
                        <a:cubicBezTo>
                          <a:pt x="434282" y="179303"/>
                          <a:pt x="431620" y="176451"/>
                          <a:pt x="428197" y="176070"/>
                        </a:cubicBezTo>
                        <a:close/>
                        <a:moveTo>
                          <a:pt x="49056" y="207634"/>
                        </a:moveTo>
                        <a:lnTo>
                          <a:pt x="16923" y="207634"/>
                        </a:lnTo>
                        <a:lnTo>
                          <a:pt x="16923" y="187859"/>
                        </a:lnTo>
                        <a:lnTo>
                          <a:pt x="55711" y="187859"/>
                        </a:lnTo>
                        <a:cubicBezTo>
                          <a:pt x="52289" y="193754"/>
                          <a:pt x="50197" y="200599"/>
                          <a:pt x="49056" y="207634"/>
                        </a:cubicBezTo>
                        <a:close/>
                        <a:moveTo>
                          <a:pt x="107049" y="257641"/>
                        </a:moveTo>
                        <a:cubicBezTo>
                          <a:pt x="84042" y="257641"/>
                          <a:pt x="65408" y="239007"/>
                          <a:pt x="65408" y="216000"/>
                        </a:cubicBezTo>
                        <a:cubicBezTo>
                          <a:pt x="65408" y="192993"/>
                          <a:pt x="84042" y="174359"/>
                          <a:pt x="107049" y="174359"/>
                        </a:cubicBezTo>
                        <a:cubicBezTo>
                          <a:pt x="130056" y="174359"/>
                          <a:pt x="148690" y="192993"/>
                          <a:pt x="148690" y="216000"/>
                        </a:cubicBezTo>
                        <a:cubicBezTo>
                          <a:pt x="148690" y="239007"/>
                          <a:pt x="130056" y="257641"/>
                          <a:pt x="107049" y="257641"/>
                        </a:cubicBezTo>
                        <a:close/>
                        <a:moveTo>
                          <a:pt x="273423" y="207634"/>
                        </a:moveTo>
                        <a:lnTo>
                          <a:pt x="164852" y="207634"/>
                        </a:lnTo>
                        <a:cubicBezTo>
                          <a:pt x="163901" y="200599"/>
                          <a:pt x="161620" y="193944"/>
                          <a:pt x="158197" y="187859"/>
                        </a:cubicBezTo>
                        <a:lnTo>
                          <a:pt x="279887" y="187859"/>
                        </a:lnTo>
                        <a:cubicBezTo>
                          <a:pt x="276655" y="193754"/>
                          <a:pt x="274563" y="200599"/>
                          <a:pt x="273423" y="207634"/>
                        </a:cubicBezTo>
                        <a:close/>
                        <a:moveTo>
                          <a:pt x="300232" y="17113"/>
                        </a:moveTo>
                        <a:lnTo>
                          <a:pt x="356894" y="17113"/>
                        </a:lnTo>
                        <a:lnTo>
                          <a:pt x="364500" y="22246"/>
                        </a:lnTo>
                        <a:lnTo>
                          <a:pt x="370775" y="33465"/>
                        </a:lnTo>
                        <a:lnTo>
                          <a:pt x="300042" y="33465"/>
                        </a:lnTo>
                        <a:cubicBezTo>
                          <a:pt x="300042" y="27761"/>
                          <a:pt x="300232" y="22246"/>
                          <a:pt x="300232" y="17113"/>
                        </a:cubicBezTo>
                        <a:close/>
                        <a:moveTo>
                          <a:pt x="299852" y="50197"/>
                        </a:moveTo>
                        <a:lnTo>
                          <a:pt x="380092" y="50197"/>
                        </a:lnTo>
                        <a:lnTo>
                          <a:pt x="411275" y="106859"/>
                        </a:lnTo>
                        <a:lnTo>
                          <a:pt x="411275" y="123021"/>
                        </a:lnTo>
                        <a:lnTo>
                          <a:pt x="392831" y="123021"/>
                        </a:lnTo>
                        <a:cubicBezTo>
                          <a:pt x="389979" y="123021"/>
                          <a:pt x="387507" y="120739"/>
                          <a:pt x="387507" y="120739"/>
                        </a:cubicBezTo>
                        <a:lnTo>
                          <a:pt x="371916" y="104577"/>
                        </a:lnTo>
                        <a:cubicBezTo>
                          <a:pt x="364880" y="97352"/>
                          <a:pt x="355373" y="97162"/>
                          <a:pt x="354423" y="97162"/>
                        </a:cubicBezTo>
                        <a:lnTo>
                          <a:pt x="299472" y="97162"/>
                        </a:lnTo>
                        <a:cubicBezTo>
                          <a:pt x="299662" y="81951"/>
                          <a:pt x="299662" y="65979"/>
                          <a:pt x="299852" y="50197"/>
                        </a:cubicBezTo>
                        <a:close/>
                        <a:moveTo>
                          <a:pt x="331415" y="257641"/>
                        </a:moveTo>
                        <a:cubicBezTo>
                          <a:pt x="308408" y="257641"/>
                          <a:pt x="289775" y="239007"/>
                          <a:pt x="289775" y="216000"/>
                        </a:cubicBezTo>
                        <a:cubicBezTo>
                          <a:pt x="289775" y="192993"/>
                          <a:pt x="308408" y="174359"/>
                          <a:pt x="331415" y="174359"/>
                        </a:cubicBezTo>
                        <a:cubicBezTo>
                          <a:pt x="354423" y="174359"/>
                          <a:pt x="373056" y="192993"/>
                          <a:pt x="373056" y="216000"/>
                        </a:cubicBezTo>
                        <a:cubicBezTo>
                          <a:pt x="373056" y="239007"/>
                          <a:pt x="354423" y="257641"/>
                          <a:pt x="331415" y="257641"/>
                        </a:cubicBezTo>
                        <a:close/>
                        <a:moveTo>
                          <a:pt x="385225" y="182725"/>
                        </a:moveTo>
                        <a:lnTo>
                          <a:pt x="385225" y="192803"/>
                        </a:lnTo>
                        <a:cubicBezTo>
                          <a:pt x="376289" y="172077"/>
                          <a:pt x="355563" y="157437"/>
                          <a:pt x="331415" y="157437"/>
                        </a:cubicBezTo>
                        <a:cubicBezTo>
                          <a:pt x="319437" y="157437"/>
                          <a:pt x="308408" y="161049"/>
                          <a:pt x="299282" y="167134"/>
                        </a:cubicBezTo>
                        <a:cubicBezTo>
                          <a:pt x="299282" y="157246"/>
                          <a:pt x="299282" y="137662"/>
                          <a:pt x="299472" y="114085"/>
                        </a:cubicBezTo>
                        <a:lnTo>
                          <a:pt x="354423" y="114085"/>
                        </a:lnTo>
                        <a:cubicBezTo>
                          <a:pt x="354423" y="114085"/>
                          <a:pt x="357845" y="114275"/>
                          <a:pt x="359937" y="116366"/>
                        </a:cubicBezTo>
                        <a:lnTo>
                          <a:pt x="375528" y="132528"/>
                        </a:lnTo>
                        <a:cubicBezTo>
                          <a:pt x="376289" y="133289"/>
                          <a:pt x="382944" y="139944"/>
                          <a:pt x="393021" y="139944"/>
                        </a:cubicBezTo>
                        <a:lnTo>
                          <a:pt x="411465" y="139944"/>
                        </a:lnTo>
                        <a:lnTo>
                          <a:pt x="411465" y="175500"/>
                        </a:lnTo>
                        <a:cubicBezTo>
                          <a:pt x="411465" y="175690"/>
                          <a:pt x="411465" y="175690"/>
                          <a:pt x="411465" y="175880"/>
                        </a:cubicBezTo>
                        <a:lnTo>
                          <a:pt x="392070" y="175880"/>
                        </a:lnTo>
                        <a:cubicBezTo>
                          <a:pt x="388268" y="175880"/>
                          <a:pt x="385225" y="178923"/>
                          <a:pt x="385225" y="182725"/>
                        </a:cubicBezTo>
                        <a:close/>
                        <a:moveTo>
                          <a:pt x="420592" y="211056"/>
                        </a:moveTo>
                        <a:lnTo>
                          <a:pt x="398725" y="211056"/>
                        </a:lnTo>
                        <a:lnTo>
                          <a:pt x="398725" y="189570"/>
                        </a:lnTo>
                        <a:lnTo>
                          <a:pt x="420592" y="189570"/>
                        </a:lnTo>
                        <a:lnTo>
                          <a:pt x="420592" y="211056"/>
                        </a:lnTo>
                        <a:close/>
                      </a:path>
                    </a:pathLst>
                  </a:custGeom>
                  <a:grpFill/>
                  <a:ln w="1878" cap="flat">
                    <a:noFill/>
                    <a:prstDash val="solid"/>
                    <a:miter/>
                  </a:ln>
                </p:spPr>
                <p:txBody>
                  <a:bodyPr rtlCol="0" anchor="ctr"/>
                  <a:lstStyle/>
                  <a:p>
                    <a:endParaRPr lang="en-GB" noProof="0" dirty="0"/>
                  </a:p>
                </p:txBody>
              </p:sp>
            </p:grpSp>
          </p:grpSp>
        </p:grpSp>
      </p:grpSp>
      <p:sp>
        <p:nvSpPr>
          <p:cNvPr id="119" name="Text Box 50">
            <a:extLst>
              <a:ext uri="{FF2B5EF4-FFF2-40B4-BE49-F238E27FC236}">
                <a16:creationId xmlns:a16="http://schemas.microsoft.com/office/drawing/2014/main" id="{6D495DCA-997A-F255-91D6-728116847375}"/>
              </a:ext>
            </a:extLst>
          </p:cNvPr>
          <p:cNvSpPr txBox="1">
            <a:spLocks noChangeArrowheads="1"/>
          </p:cNvSpPr>
          <p:nvPr/>
        </p:nvSpPr>
        <p:spPr bwMode="auto">
          <a:xfrm>
            <a:off x="3674542" y="2108032"/>
            <a:ext cx="658118" cy="269688"/>
          </a:xfrm>
          <a:prstGeom prst="rect">
            <a:avLst/>
          </a:prstGeom>
          <a:noFill/>
          <a:ln w="12700">
            <a:noFill/>
            <a:miter lim="800000"/>
            <a:headEnd/>
            <a:tailEnd/>
          </a:ln>
        </p:spPr>
        <p:txBody>
          <a:bodyPr wrap="square" lIns="62308" tIns="29908" rIns="62308" bIns="29908">
            <a:spAutoFit/>
          </a:bodyPr>
          <a:lstStyle/>
          <a:p>
            <a:pPr algn="ctr">
              <a:spcBef>
                <a:spcPct val="50000"/>
              </a:spcBef>
            </a:pPr>
            <a:r>
              <a:rPr kumimoji="1" lang="en-GB" sz="680" i="1" noProof="0" dirty="0">
                <a:solidFill>
                  <a:srgbClr val="41474C"/>
                </a:solidFill>
                <a:latin typeface="Calibri" panose="020F0502020204030204" pitchFamily="34" charset="0"/>
                <a:cs typeface="Arial" charset="0"/>
              </a:rPr>
              <a:t>Regional</a:t>
            </a:r>
            <a:br>
              <a:rPr kumimoji="1" lang="en-GB" sz="680" i="1" noProof="0" dirty="0">
                <a:solidFill>
                  <a:srgbClr val="41474C"/>
                </a:solidFill>
                <a:latin typeface="Calibri" panose="020F0502020204030204" pitchFamily="34" charset="0"/>
                <a:cs typeface="Arial" charset="0"/>
              </a:rPr>
            </a:br>
            <a:r>
              <a:rPr kumimoji="1" lang="en-GB" sz="680" i="1" noProof="0" dirty="0">
                <a:solidFill>
                  <a:srgbClr val="41474C"/>
                </a:solidFill>
                <a:latin typeface="Calibri" panose="020F0502020204030204" pitchFamily="34" charset="0"/>
                <a:cs typeface="Arial" charset="0"/>
              </a:rPr>
              <a:t>transfer center</a:t>
            </a:r>
          </a:p>
        </p:txBody>
      </p:sp>
      <p:sp>
        <p:nvSpPr>
          <p:cNvPr id="6" name="Rechteck 5">
            <a:extLst>
              <a:ext uri="{FF2B5EF4-FFF2-40B4-BE49-F238E27FC236}">
                <a16:creationId xmlns:a16="http://schemas.microsoft.com/office/drawing/2014/main" id="{99F1D2BF-C83F-47FC-4A68-F0C408AE6728}"/>
              </a:ext>
            </a:extLst>
          </p:cNvPr>
          <p:cNvSpPr/>
          <p:nvPr/>
        </p:nvSpPr>
        <p:spPr>
          <a:xfrm>
            <a:off x="4961113" y="1994081"/>
            <a:ext cx="396000" cy="2603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grpSp>
        <p:nvGrpSpPr>
          <p:cNvPr id="303" name="Grafik 42">
            <a:extLst>
              <a:ext uri="{FF2B5EF4-FFF2-40B4-BE49-F238E27FC236}">
                <a16:creationId xmlns:a16="http://schemas.microsoft.com/office/drawing/2014/main" id="{B05DC5EF-9E20-4E35-9D7B-528CB4B4B2BF}"/>
              </a:ext>
            </a:extLst>
          </p:cNvPr>
          <p:cNvGrpSpPr>
            <a:grpSpLocks noChangeAspect="1"/>
          </p:cNvGrpSpPr>
          <p:nvPr/>
        </p:nvGrpSpPr>
        <p:grpSpPr>
          <a:xfrm>
            <a:off x="4979573" y="1861813"/>
            <a:ext cx="360000" cy="360000"/>
            <a:chOff x="1890251" y="3930400"/>
            <a:chExt cx="540000" cy="540000"/>
          </a:xfrm>
          <a:solidFill>
            <a:schemeClr val="accent1"/>
          </a:solidFill>
        </p:grpSpPr>
        <p:grpSp>
          <p:nvGrpSpPr>
            <p:cNvPr id="304" name="Grafik 42">
              <a:extLst>
                <a:ext uri="{FF2B5EF4-FFF2-40B4-BE49-F238E27FC236}">
                  <a16:creationId xmlns:a16="http://schemas.microsoft.com/office/drawing/2014/main" id="{3037CBA4-67DC-DBB2-BF20-D14464EFF955}"/>
                </a:ext>
              </a:extLst>
            </p:cNvPr>
            <p:cNvGrpSpPr/>
            <p:nvPr/>
          </p:nvGrpSpPr>
          <p:grpSpPr>
            <a:xfrm>
              <a:off x="1890251" y="3930400"/>
              <a:ext cx="539429" cy="538859"/>
              <a:chOff x="1890251" y="3930400"/>
              <a:chExt cx="539429" cy="538859"/>
            </a:xfrm>
            <a:grpFill/>
          </p:grpSpPr>
          <p:grpSp>
            <p:nvGrpSpPr>
              <p:cNvPr id="305" name="Grafik 42">
                <a:extLst>
                  <a:ext uri="{FF2B5EF4-FFF2-40B4-BE49-F238E27FC236}">
                    <a16:creationId xmlns:a16="http://schemas.microsoft.com/office/drawing/2014/main" id="{93683846-AA2C-6EA7-2227-95D637A08166}"/>
                  </a:ext>
                </a:extLst>
              </p:cNvPr>
              <p:cNvGrpSpPr/>
              <p:nvPr/>
            </p:nvGrpSpPr>
            <p:grpSpPr>
              <a:xfrm>
                <a:off x="1890251" y="4151914"/>
                <a:ext cx="539429" cy="317345"/>
                <a:chOff x="1890251" y="4151914"/>
                <a:chExt cx="539429" cy="317345"/>
              </a:xfrm>
              <a:grpFill/>
            </p:grpSpPr>
            <p:sp>
              <p:nvSpPr>
                <p:cNvPr id="306" name="Freihandform: Form 305">
                  <a:extLst>
                    <a:ext uri="{FF2B5EF4-FFF2-40B4-BE49-F238E27FC236}">
                      <a16:creationId xmlns:a16="http://schemas.microsoft.com/office/drawing/2014/main" id="{66A41468-D743-0FE5-E72E-1B561D5499F9}"/>
                    </a:ext>
                  </a:extLst>
                </p:cNvPr>
                <p:cNvSpPr/>
                <p:nvPr/>
              </p:nvSpPr>
              <p:spPr>
                <a:xfrm>
                  <a:off x="2014032" y="4381984"/>
                  <a:ext cx="52098" cy="52098"/>
                </a:xfrm>
                <a:custGeom>
                  <a:avLst/>
                  <a:gdLst>
                    <a:gd name="connsiteX0" fmla="*/ 26049 w 52098"/>
                    <a:gd name="connsiteY0" fmla="*/ 0 h 52098"/>
                    <a:gd name="connsiteX1" fmla="*/ 0 w 52098"/>
                    <a:gd name="connsiteY1" fmla="*/ 26049 h 52098"/>
                    <a:gd name="connsiteX2" fmla="*/ 26049 w 52098"/>
                    <a:gd name="connsiteY2" fmla="*/ 52099 h 52098"/>
                    <a:gd name="connsiteX3" fmla="*/ 52099 w 52098"/>
                    <a:gd name="connsiteY3" fmla="*/ 26049 h 52098"/>
                    <a:gd name="connsiteX4" fmla="*/ 26049 w 52098"/>
                    <a:gd name="connsiteY4" fmla="*/ 0 h 52098"/>
                    <a:gd name="connsiteX5" fmla="*/ 26049 w 52098"/>
                    <a:gd name="connsiteY5" fmla="*/ 35366 h 52098"/>
                    <a:gd name="connsiteX6" fmla="*/ 16732 w 52098"/>
                    <a:gd name="connsiteY6" fmla="*/ 26049 h 52098"/>
                    <a:gd name="connsiteX7" fmla="*/ 26049 w 52098"/>
                    <a:gd name="connsiteY7" fmla="*/ 16732 h 52098"/>
                    <a:gd name="connsiteX8" fmla="*/ 35366 w 52098"/>
                    <a:gd name="connsiteY8" fmla="*/ 26049 h 52098"/>
                    <a:gd name="connsiteX9" fmla="*/ 26049 w 52098"/>
                    <a:gd name="connsiteY9" fmla="*/ 35366 h 52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098" h="52098">
                      <a:moveTo>
                        <a:pt x="26049" y="0"/>
                      </a:moveTo>
                      <a:cubicBezTo>
                        <a:pt x="11789" y="0"/>
                        <a:pt x="0" y="11599"/>
                        <a:pt x="0" y="26049"/>
                      </a:cubicBezTo>
                      <a:cubicBezTo>
                        <a:pt x="0" y="40310"/>
                        <a:pt x="11599" y="52099"/>
                        <a:pt x="26049" y="52099"/>
                      </a:cubicBezTo>
                      <a:cubicBezTo>
                        <a:pt x="40310" y="52099"/>
                        <a:pt x="52099" y="40500"/>
                        <a:pt x="52099" y="26049"/>
                      </a:cubicBezTo>
                      <a:cubicBezTo>
                        <a:pt x="51908" y="11789"/>
                        <a:pt x="40310" y="0"/>
                        <a:pt x="26049" y="0"/>
                      </a:cubicBezTo>
                      <a:close/>
                      <a:moveTo>
                        <a:pt x="26049" y="35366"/>
                      </a:moveTo>
                      <a:cubicBezTo>
                        <a:pt x="20915" y="35366"/>
                        <a:pt x="16732" y="31183"/>
                        <a:pt x="16732" y="26049"/>
                      </a:cubicBezTo>
                      <a:cubicBezTo>
                        <a:pt x="16732" y="20915"/>
                        <a:pt x="20915" y="16732"/>
                        <a:pt x="26049" y="16732"/>
                      </a:cubicBezTo>
                      <a:cubicBezTo>
                        <a:pt x="31183" y="16732"/>
                        <a:pt x="35366" y="20915"/>
                        <a:pt x="35366" y="26049"/>
                      </a:cubicBezTo>
                      <a:cubicBezTo>
                        <a:pt x="35366" y="31183"/>
                        <a:pt x="31183" y="35366"/>
                        <a:pt x="26049" y="35366"/>
                      </a:cubicBezTo>
                      <a:close/>
                    </a:path>
                  </a:pathLst>
                </a:custGeom>
                <a:grpFill/>
                <a:ln w="1878" cap="flat">
                  <a:noFill/>
                  <a:prstDash val="solid"/>
                  <a:miter/>
                </a:ln>
              </p:spPr>
              <p:txBody>
                <a:bodyPr rtlCol="0" anchor="ctr"/>
                <a:lstStyle/>
                <a:p>
                  <a:endParaRPr lang="en-GB" noProof="0" dirty="0"/>
                </a:p>
              </p:txBody>
            </p:sp>
            <p:sp>
              <p:nvSpPr>
                <p:cNvPr id="307" name="Freihandform: Form 306">
                  <a:extLst>
                    <a:ext uri="{FF2B5EF4-FFF2-40B4-BE49-F238E27FC236}">
                      <a16:creationId xmlns:a16="http://schemas.microsoft.com/office/drawing/2014/main" id="{4274F670-070C-EE3D-E720-E53748A12526}"/>
                    </a:ext>
                  </a:extLst>
                </p:cNvPr>
                <p:cNvSpPr/>
                <p:nvPr/>
              </p:nvSpPr>
              <p:spPr>
                <a:xfrm>
                  <a:off x="2288786" y="4381984"/>
                  <a:ext cx="52098" cy="52098"/>
                </a:xfrm>
                <a:custGeom>
                  <a:avLst/>
                  <a:gdLst>
                    <a:gd name="connsiteX0" fmla="*/ 26049 w 52098"/>
                    <a:gd name="connsiteY0" fmla="*/ 0 h 52098"/>
                    <a:gd name="connsiteX1" fmla="*/ 0 w 52098"/>
                    <a:gd name="connsiteY1" fmla="*/ 26049 h 52098"/>
                    <a:gd name="connsiteX2" fmla="*/ 26049 w 52098"/>
                    <a:gd name="connsiteY2" fmla="*/ 52099 h 52098"/>
                    <a:gd name="connsiteX3" fmla="*/ 52099 w 52098"/>
                    <a:gd name="connsiteY3" fmla="*/ 26049 h 52098"/>
                    <a:gd name="connsiteX4" fmla="*/ 26049 w 52098"/>
                    <a:gd name="connsiteY4" fmla="*/ 0 h 52098"/>
                    <a:gd name="connsiteX5" fmla="*/ 26049 w 52098"/>
                    <a:gd name="connsiteY5" fmla="*/ 35366 h 52098"/>
                    <a:gd name="connsiteX6" fmla="*/ 16732 w 52098"/>
                    <a:gd name="connsiteY6" fmla="*/ 26049 h 52098"/>
                    <a:gd name="connsiteX7" fmla="*/ 26049 w 52098"/>
                    <a:gd name="connsiteY7" fmla="*/ 16732 h 52098"/>
                    <a:gd name="connsiteX8" fmla="*/ 35366 w 52098"/>
                    <a:gd name="connsiteY8" fmla="*/ 26049 h 52098"/>
                    <a:gd name="connsiteX9" fmla="*/ 26049 w 52098"/>
                    <a:gd name="connsiteY9" fmla="*/ 35366 h 52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098" h="52098">
                      <a:moveTo>
                        <a:pt x="26049" y="0"/>
                      </a:moveTo>
                      <a:cubicBezTo>
                        <a:pt x="11789" y="0"/>
                        <a:pt x="0" y="11599"/>
                        <a:pt x="0" y="26049"/>
                      </a:cubicBezTo>
                      <a:cubicBezTo>
                        <a:pt x="0" y="40310"/>
                        <a:pt x="11599" y="52099"/>
                        <a:pt x="26049" y="52099"/>
                      </a:cubicBezTo>
                      <a:cubicBezTo>
                        <a:pt x="40310" y="52099"/>
                        <a:pt x="52099" y="40500"/>
                        <a:pt x="52099" y="26049"/>
                      </a:cubicBezTo>
                      <a:cubicBezTo>
                        <a:pt x="51908" y="11789"/>
                        <a:pt x="40310" y="0"/>
                        <a:pt x="26049" y="0"/>
                      </a:cubicBezTo>
                      <a:close/>
                      <a:moveTo>
                        <a:pt x="26049" y="35366"/>
                      </a:moveTo>
                      <a:cubicBezTo>
                        <a:pt x="20915" y="35366"/>
                        <a:pt x="16732" y="31183"/>
                        <a:pt x="16732" y="26049"/>
                      </a:cubicBezTo>
                      <a:cubicBezTo>
                        <a:pt x="16732" y="20915"/>
                        <a:pt x="20915" y="16732"/>
                        <a:pt x="26049" y="16732"/>
                      </a:cubicBezTo>
                      <a:cubicBezTo>
                        <a:pt x="31183" y="16732"/>
                        <a:pt x="35366" y="20915"/>
                        <a:pt x="35366" y="26049"/>
                      </a:cubicBezTo>
                      <a:cubicBezTo>
                        <a:pt x="35366" y="31183"/>
                        <a:pt x="31183" y="35366"/>
                        <a:pt x="26049" y="35366"/>
                      </a:cubicBezTo>
                      <a:close/>
                    </a:path>
                  </a:pathLst>
                </a:custGeom>
                <a:grpFill/>
                <a:ln w="1878" cap="flat">
                  <a:noFill/>
                  <a:prstDash val="solid"/>
                  <a:miter/>
                </a:ln>
              </p:spPr>
              <p:txBody>
                <a:bodyPr rtlCol="0" anchor="ctr"/>
                <a:lstStyle/>
                <a:p>
                  <a:endParaRPr lang="en-GB" noProof="0" dirty="0"/>
                </a:p>
              </p:txBody>
            </p:sp>
            <p:sp>
              <p:nvSpPr>
                <p:cNvPr id="308" name="Freihandform: Form 307">
                  <a:extLst>
                    <a:ext uri="{FF2B5EF4-FFF2-40B4-BE49-F238E27FC236}">
                      <a16:creationId xmlns:a16="http://schemas.microsoft.com/office/drawing/2014/main" id="{B65CC0B4-C2CC-5C02-C749-9E4BED8CCF7A}"/>
                    </a:ext>
                  </a:extLst>
                </p:cNvPr>
                <p:cNvSpPr/>
                <p:nvPr/>
              </p:nvSpPr>
              <p:spPr>
                <a:xfrm>
                  <a:off x="1890251" y="4151914"/>
                  <a:ext cx="539429" cy="317345"/>
                </a:xfrm>
                <a:custGeom>
                  <a:avLst/>
                  <a:gdLst>
                    <a:gd name="connsiteX0" fmla="*/ 530113 w 539429"/>
                    <a:gd name="connsiteY0" fmla="*/ 214669 h 317345"/>
                    <a:gd name="connsiteX1" fmla="*/ 530113 w 539429"/>
                    <a:gd name="connsiteY1" fmla="*/ 150782 h 317345"/>
                    <a:gd name="connsiteX2" fmla="*/ 524218 w 539429"/>
                    <a:gd name="connsiteY2" fmla="*/ 128725 h 317345"/>
                    <a:gd name="connsiteX3" fmla="*/ 477254 w 539429"/>
                    <a:gd name="connsiteY3" fmla="*/ 48296 h 317345"/>
                    <a:gd name="connsiteX4" fmla="*/ 439606 w 539429"/>
                    <a:gd name="connsiteY4" fmla="*/ 26620 h 317345"/>
                    <a:gd name="connsiteX5" fmla="*/ 380282 w 539429"/>
                    <a:gd name="connsiteY5" fmla="*/ 26620 h 317345"/>
                    <a:gd name="connsiteX6" fmla="*/ 363169 w 539429"/>
                    <a:gd name="connsiteY6" fmla="*/ 43732 h 317345"/>
                    <a:gd name="connsiteX7" fmla="*/ 363169 w 539429"/>
                    <a:gd name="connsiteY7" fmla="*/ 194704 h 317345"/>
                    <a:gd name="connsiteX8" fmla="*/ 344345 w 539429"/>
                    <a:gd name="connsiteY8" fmla="*/ 194704 h 317345"/>
                    <a:gd name="connsiteX9" fmla="*/ 344345 w 539429"/>
                    <a:gd name="connsiteY9" fmla="*/ 26049 h 317345"/>
                    <a:gd name="connsiteX10" fmla="*/ 318296 w 539429"/>
                    <a:gd name="connsiteY10" fmla="*/ 0 h 317345"/>
                    <a:gd name="connsiteX11" fmla="*/ 26049 w 539429"/>
                    <a:gd name="connsiteY11" fmla="*/ 0 h 317345"/>
                    <a:gd name="connsiteX12" fmla="*/ 0 w 539429"/>
                    <a:gd name="connsiteY12" fmla="*/ 26049 h 317345"/>
                    <a:gd name="connsiteX13" fmla="*/ 0 w 539429"/>
                    <a:gd name="connsiteY13" fmla="*/ 238246 h 317345"/>
                    <a:gd name="connsiteX14" fmla="*/ 26049 w 539429"/>
                    <a:gd name="connsiteY14" fmla="*/ 264296 h 317345"/>
                    <a:gd name="connsiteX15" fmla="*/ 89176 w 539429"/>
                    <a:gd name="connsiteY15" fmla="*/ 264296 h 317345"/>
                    <a:gd name="connsiteX16" fmla="*/ 150021 w 539429"/>
                    <a:gd name="connsiteY16" fmla="*/ 317345 h 317345"/>
                    <a:gd name="connsiteX17" fmla="*/ 210866 w 539429"/>
                    <a:gd name="connsiteY17" fmla="*/ 264296 h 317345"/>
                    <a:gd name="connsiteX18" fmla="*/ 364120 w 539429"/>
                    <a:gd name="connsiteY18" fmla="*/ 264296 h 317345"/>
                    <a:gd name="connsiteX19" fmla="*/ 424965 w 539429"/>
                    <a:gd name="connsiteY19" fmla="*/ 317345 h 317345"/>
                    <a:gd name="connsiteX20" fmla="*/ 485810 w 539429"/>
                    <a:gd name="connsiteY20" fmla="*/ 264296 h 317345"/>
                    <a:gd name="connsiteX21" fmla="*/ 522317 w 539429"/>
                    <a:gd name="connsiteY21" fmla="*/ 264296 h 317345"/>
                    <a:gd name="connsiteX22" fmla="*/ 539430 w 539429"/>
                    <a:gd name="connsiteY22" fmla="*/ 247183 h 317345"/>
                    <a:gd name="connsiteX23" fmla="*/ 539430 w 539429"/>
                    <a:gd name="connsiteY23" fmla="*/ 229500 h 317345"/>
                    <a:gd name="connsiteX24" fmla="*/ 530113 w 539429"/>
                    <a:gd name="connsiteY24" fmla="*/ 214669 h 317345"/>
                    <a:gd name="connsiteX25" fmla="*/ 16542 w 539429"/>
                    <a:gd name="connsiteY25" fmla="*/ 175880 h 317345"/>
                    <a:gd name="connsiteX26" fmla="*/ 35366 w 539429"/>
                    <a:gd name="connsiteY26" fmla="*/ 175880 h 317345"/>
                    <a:gd name="connsiteX27" fmla="*/ 35366 w 539429"/>
                    <a:gd name="connsiteY27" fmla="*/ 202880 h 317345"/>
                    <a:gd name="connsiteX28" fmla="*/ 26049 w 539429"/>
                    <a:gd name="connsiteY28" fmla="*/ 212197 h 317345"/>
                    <a:gd name="connsiteX29" fmla="*/ 16542 w 539429"/>
                    <a:gd name="connsiteY29" fmla="*/ 212197 h 317345"/>
                    <a:gd name="connsiteX30" fmla="*/ 16542 w 539429"/>
                    <a:gd name="connsiteY30" fmla="*/ 175880 h 317345"/>
                    <a:gd name="connsiteX31" fmla="*/ 149831 w 539429"/>
                    <a:gd name="connsiteY31" fmla="*/ 300803 h 317345"/>
                    <a:gd name="connsiteX32" fmla="*/ 105148 w 539429"/>
                    <a:gd name="connsiteY32" fmla="*/ 256120 h 317345"/>
                    <a:gd name="connsiteX33" fmla="*/ 105148 w 539429"/>
                    <a:gd name="connsiteY33" fmla="*/ 256120 h 317345"/>
                    <a:gd name="connsiteX34" fmla="*/ 105148 w 539429"/>
                    <a:gd name="connsiteY34" fmla="*/ 256120 h 317345"/>
                    <a:gd name="connsiteX35" fmla="*/ 149831 w 539429"/>
                    <a:gd name="connsiteY35" fmla="*/ 211437 h 317345"/>
                    <a:gd name="connsiteX36" fmla="*/ 194704 w 539429"/>
                    <a:gd name="connsiteY36" fmla="*/ 256120 h 317345"/>
                    <a:gd name="connsiteX37" fmla="*/ 149831 w 539429"/>
                    <a:gd name="connsiteY37" fmla="*/ 300803 h 317345"/>
                    <a:gd name="connsiteX38" fmla="*/ 327803 w 539429"/>
                    <a:gd name="connsiteY38" fmla="*/ 247754 h 317345"/>
                    <a:gd name="connsiteX39" fmla="*/ 210486 w 539429"/>
                    <a:gd name="connsiteY39" fmla="*/ 247754 h 317345"/>
                    <a:gd name="connsiteX40" fmla="*/ 149641 w 539429"/>
                    <a:gd name="connsiteY40" fmla="*/ 194704 h 317345"/>
                    <a:gd name="connsiteX41" fmla="*/ 88796 w 539429"/>
                    <a:gd name="connsiteY41" fmla="*/ 247754 h 317345"/>
                    <a:gd name="connsiteX42" fmla="*/ 26049 w 539429"/>
                    <a:gd name="connsiteY42" fmla="*/ 247754 h 317345"/>
                    <a:gd name="connsiteX43" fmla="*/ 16732 w 539429"/>
                    <a:gd name="connsiteY43" fmla="*/ 238437 h 317345"/>
                    <a:gd name="connsiteX44" fmla="*/ 16732 w 539429"/>
                    <a:gd name="connsiteY44" fmla="*/ 229120 h 317345"/>
                    <a:gd name="connsiteX45" fmla="*/ 26049 w 539429"/>
                    <a:gd name="connsiteY45" fmla="*/ 229120 h 317345"/>
                    <a:gd name="connsiteX46" fmla="*/ 52099 w 539429"/>
                    <a:gd name="connsiteY46" fmla="*/ 203070 h 317345"/>
                    <a:gd name="connsiteX47" fmla="*/ 52099 w 539429"/>
                    <a:gd name="connsiteY47" fmla="*/ 167704 h 317345"/>
                    <a:gd name="connsiteX48" fmla="*/ 43732 w 539429"/>
                    <a:gd name="connsiteY48" fmla="*/ 159338 h 317345"/>
                    <a:gd name="connsiteX49" fmla="*/ 16542 w 539429"/>
                    <a:gd name="connsiteY49" fmla="*/ 159338 h 317345"/>
                    <a:gd name="connsiteX50" fmla="*/ 16542 w 539429"/>
                    <a:gd name="connsiteY50" fmla="*/ 26049 h 317345"/>
                    <a:gd name="connsiteX51" fmla="*/ 25859 w 539429"/>
                    <a:gd name="connsiteY51" fmla="*/ 16732 h 317345"/>
                    <a:gd name="connsiteX52" fmla="*/ 318296 w 539429"/>
                    <a:gd name="connsiteY52" fmla="*/ 16732 h 317345"/>
                    <a:gd name="connsiteX53" fmla="*/ 327613 w 539429"/>
                    <a:gd name="connsiteY53" fmla="*/ 26049 h 317345"/>
                    <a:gd name="connsiteX54" fmla="*/ 327613 w 539429"/>
                    <a:gd name="connsiteY54" fmla="*/ 247754 h 317345"/>
                    <a:gd name="connsiteX55" fmla="*/ 363169 w 539429"/>
                    <a:gd name="connsiteY55" fmla="*/ 247754 h 317345"/>
                    <a:gd name="connsiteX56" fmla="*/ 344345 w 539429"/>
                    <a:gd name="connsiteY56" fmla="*/ 247754 h 317345"/>
                    <a:gd name="connsiteX57" fmla="*/ 344345 w 539429"/>
                    <a:gd name="connsiteY57" fmla="*/ 211246 h 317345"/>
                    <a:gd name="connsiteX58" fmla="*/ 363169 w 539429"/>
                    <a:gd name="connsiteY58" fmla="*/ 211246 h 317345"/>
                    <a:gd name="connsiteX59" fmla="*/ 363169 w 539429"/>
                    <a:gd name="connsiteY59" fmla="*/ 247754 h 317345"/>
                    <a:gd name="connsiteX60" fmla="*/ 379711 w 539429"/>
                    <a:gd name="connsiteY60" fmla="*/ 43923 h 317345"/>
                    <a:gd name="connsiteX61" fmla="*/ 380282 w 539429"/>
                    <a:gd name="connsiteY61" fmla="*/ 43352 h 317345"/>
                    <a:gd name="connsiteX62" fmla="*/ 439606 w 539429"/>
                    <a:gd name="connsiteY62" fmla="*/ 43352 h 317345"/>
                    <a:gd name="connsiteX63" fmla="*/ 462993 w 539429"/>
                    <a:gd name="connsiteY63" fmla="*/ 56852 h 317345"/>
                    <a:gd name="connsiteX64" fmla="*/ 466035 w 539429"/>
                    <a:gd name="connsiteY64" fmla="*/ 62176 h 317345"/>
                    <a:gd name="connsiteX65" fmla="*/ 379711 w 539429"/>
                    <a:gd name="connsiteY65" fmla="*/ 62176 h 317345"/>
                    <a:gd name="connsiteX66" fmla="*/ 379711 w 539429"/>
                    <a:gd name="connsiteY66" fmla="*/ 43923 h 317345"/>
                    <a:gd name="connsiteX67" fmla="*/ 379711 w 539429"/>
                    <a:gd name="connsiteY67" fmla="*/ 78718 h 317345"/>
                    <a:gd name="connsiteX68" fmla="*/ 475732 w 539429"/>
                    <a:gd name="connsiteY68" fmla="*/ 78718 h 317345"/>
                    <a:gd name="connsiteX69" fmla="*/ 509768 w 539429"/>
                    <a:gd name="connsiteY69" fmla="*/ 137092 h 317345"/>
                    <a:gd name="connsiteX70" fmla="*/ 513380 w 539429"/>
                    <a:gd name="connsiteY70" fmla="*/ 150782 h 317345"/>
                    <a:gd name="connsiteX71" fmla="*/ 513380 w 539429"/>
                    <a:gd name="connsiteY71" fmla="*/ 159528 h 317345"/>
                    <a:gd name="connsiteX72" fmla="*/ 497218 w 539429"/>
                    <a:gd name="connsiteY72" fmla="*/ 159528 h 317345"/>
                    <a:gd name="connsiteX73" fmla="*/ 484289 w 539429"/>
                    <a:gd name="connsiteY73" fmla="*/ 154204 h 317345"/>
                    <a:gd name="connsiteX74" fmla="*/ 473261 w 539429"/>
                    <a:gd name="connsiteY74" fmla="*/ 143176 h 317345"/>
                    <a:gd name="connsiteX75" fmla="*/ 448732 w 539429"/>
                    <a:gd name="connsiteY75" fmla="*/ 132908 h 317345"/>
                    <a:gd name="connsiteX76" fmla="*/ 379521 w 539429"/>
                    <a:gd name="connsiteY76" fmla="*/ 132908 h 317345"/>
                    <a:gd name="connsiteX77" fmla="*/ 379521 w 539429"/>
                    <a:gd name="connsiteY77" fmla="*/ 78718 h 317345"/>
                    <a:gd name="connsiteX78" fmla="*/ 424585 w 539429"/>
                    <a:gd name="connsiteY78" fmla="*/ 300803 h 317345"/>
                    <a:gd name="connsiteX79" fmla="*/ 379901 w 539429"/>
                    <a:gd name="connsiteY79" fmla="*/ 255930 h 317345"/>
                    <a:gd name="connsiteX80" fmla="*/ 424585 w 539429"/>
                    <a:gd name="connsiteY80" fmla="*/ 211246 h 317345"/>
                    <a:gd name="connsiteX81" fmla="*/ 469268 w 539429"/>
                    <a:gd name="connsiteY81" fmla="*/ 255930 h 317345"/>
                    <a:gd name="connsiteX82" fmla="*/ 424585 w 539429"/>
                    <a:gd name="connsiteY82" fmla="*/ 300803 h 317345"/>
                    <a:gd name="connsiteX83" fmla="*/ 486951 w 539429"/>
                    <a:gd name="connsiteY83" fmla="*/ 229500 h 317345"/>
                    <a:gd name="connsiteX84" fmla="*/ 486951 w 539429"/>
                    <a:gd name="connsiteY84" fmla="*/ 247754 h 317345"/>
                    <a:gd name="connsiteX85" fmla="*/ 485239 w 539429"/>
                    <a:gd name="connsiteY85" fmla="*/ 247754 h 317345"/>
                    <a:gd name="connsiteX86" fmla="*/ 424394 w 539429"/>
                    <a:gd name="connsiteY86" fmla="*/ 194704 h 317345"/>
                    <a:gd name="connsiteX87" fmla="*/ 379711 w 539429"/>
                    <a:gd name="connsiteY87" fmla="*/ 214099 h 317345"/>
                    <a:gd name="connsiteX88" fmla="*/ 379711 w 539429"/>
                    <a:gd name="connsiteY88" fmla="*/ 149261 h 317345"/>
                    <a:gd name="connsiteX89" fmla="*/ 448923 w 539429"/>
                    <a:gd name="connsiteY89" fmla="*/ 149261 h 317345"/>
                    <a:gd name="connsiteX90" fmla="*/ 461852 w 539429"/>
                    <a:gd name="connsiteY90" fmla="*/ 154585 h 317345"/>
                    <a:gd name="connsiteX91" fmla="*/ 472880 w 539429"/>
                    <a:gd name="connsiteY91" fmla="*/ 165613 h 317345"/>
                    <a:gd name="connsiteX92" fmla="*/ 497408 w 539429"/>
                    <a:gd name="connsiteY92" fmla="*/ 175880 h 317345"/>
                    <a:gd name="connsiteX93" fmla="*/ 513570 w 539429"/>
                    <a:gd name="connsiteY93" fmla="*/ 175880 h 317345"/>
                    <a:gd name="connsiteX94" fmla="*/ 513570 w 539429"/>
                    <a:gd name="connsiteY94" fmla="*/ 212387 h 317345"/>
                    <a:gd name="connsiteX95" fmla="*/ 504254 w 539429"/>
                    <a:gd name="connsiteY95" fmla="*/ 212387 h 317345"/>
                    <a:gd name="connsiteX96" fmla="*/ 486951 w 539429"/>
                    <a:gd name="connsiteY96" fmla="*/ 229500 h 317345"/>
                    <a:gd name="connsiteX97" fmla="*/ 522317 w 539429"/>
                    <a:gd name="connsiteY97" fmla="*/ 247183 h 317345"/>
                    <a:gd name="connsiteX98" fmla="*/ 521746 w 539429"/>
                    <a:gd name="connsiteY98" fmla="*/ 247754 h 317345"/>
                    <a:gd name="connsiteX99" fmla="*/ 503493 w 539429"/>
                    <a:gd name="connsiteY99" fmla="*/ 247754 h 317345"/>
                    <a:gd name="connsiteX100" fmla="*/ 503493 w 539429"/>
                    <a:gd name="connsiteY100" fmla="*/ 229500 h 317345"/>
                    <a:gd name="connsiteX101" fmla="*/ 504063 w 539429"/>
                    <a:gd name="connsiteY101" fmla="*/ 228930 h 317345"/>
                    <a:gd name="connsiteX102" fmla="*/ 521746 w 539429"/>
                    <a:gd name="connsiteY102" fmla="*/ 228930 h 317345"/>
                    <a:gd name="connsiteX103" fmla="*/ 522317 w 539429"/>
                    <a:gd name="connsiteY103" fmla="*/ 229500 h 317345"/>
                    <a:gd name="connsiteX104" fmla="*/ 522317 w 539429"/>
                    <a:gd name="connsiteY104" fmla="*/ 247183 h 317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539429" h="317345">
                      <a:moveTo>
                        <a:pt x="530113" y="214669"/>
                      </a:moveTo>
                      <a:lnTo>
                        <a:pt x="530113" y="150782"/>
                      </a:lnTo>
                      <a:cubicBezTo>
                        <a:pt x="530113" y="142986"/>
                        <a:pt x="528021" y="135380"/>
                        <a:pt x="524218" y="128725"/>
                      </a:cubicBezTo>
                      <a:lnTo>
                        <a:pt x="477254" y="48296"/>
                      </a:lnTo>
                      <a:cubicBezTo>
                        <a:pt x="469458" y="34986"/>
                        <a:pt x="455007" y="26620"/>
                        <a:pt x="439606" y="26620"/>
                      </a:cubicBezTo>
                      <a:lnTo>
                        <a:pt x="380282" y="26620"/>
                      </a:lnTo>
                      <a:cubicBezTo>
                        <a:pt x="370775" y="26620"/>
                        <a:pt x="363169" y="34225"/>
                        <a:pt x="363169" y="43732"/>
                      </a:cubicBezTo>
                      <a:lnTo>
                        <a:pt x="363169" y="194704"/>
                      </a:lnTo>
                      <a:lnTo>
                        <a:pt x="344345" y="194704"/>
                      </a:lnTo>
                      <a:lnTo>
                        <a:pt x="344345" y="26049"/>
                      </a:lnTo>
                      <a:cubicBezTo>
                        <a:pt x="344345" y="11789"/>
                        <a:pt x="332746" y="0"/>
                        <a:pt x="318296" y="0"/>
                      </a:cubicBezTo>
                      <a:lnTo>
                        <a:pt x="26049" y="0"/>
                      </a:lnTo>
                      <a:cubicBezTo>
                        <a:pt x="11789" y="0"/>
                        <a:pt x="0" y="11599"/>
                        <a:pt x="0" y="26049"/>
                      </a:cubicBezTo>
                      <a:lnTo>
                        <a:pt x="0" y="238246"/>
                      </a:lnTo>
                      <a:cubicBezTo>
                        <a:pt x="0" y="252507"/>
                        <a:pt x="11599" y="264296"/>
                        <a:pt x="26049" y="264296"/>
                      </a:cubicBezTo>
                      <a:lnTo>
                        <a:pt x="89176" y="264296"/>
                      </a:lnTo>
                      <a:cubicBezTo>
                        <a:pt x="93169" y="294148"/>
                        <a:pt x="118838" y="317345"/>
                        <a:pt x="150021" y="317345"/>
                      </a:cubicBezTo>
                      <a:cubicBezTo>
                        <a:pt x="181014" y="317345"/>
                        <a:pt x="206683" y="294148"/>
                        <a:pt x="210866" y="264296"/>
                      </a:cubicBezTo>
                      <a:lnTo>
                        <a:pt x="364120" y="264296"/>
                      </a:lnTo>
                      <a:cubicBezTo>
                        <a:pt x="368113" y="294148"/>
                        <a:pt x="393972" y="317345"/>
                        <a:pt x="424965" y="317345"/>
                      </a:cubicBezTo>
                      <a:cubicBezTo>
                        <a:pt x="455958" y="317345"/>
                        <a:pt x="481627" y="294148"/>
                        <a:pt x="485810" y="264296"/>
                      </a:cubicBezTo>
                      <a:lnTo>
                        <a:pt x="522317" y="264296"/>
                      </a:lnTo>
                      <a:cubicBezTo>
                        <a:pt x="531824" y="264296"/>
                        <a:pt x="539430" y="256690"/>
                        <a:pt x="539430" y="247183"/>
                      </a:cubicBezTo>
                      <a:lnTo>
                        <a:pt x="539430" y="229500"/>
                      </a:lnTo>
                      <a:cubicBezTo>
                        <a:pt x="539049" y="223225"/>
                        <a:pt x="535437" y="217521"/>
                        <a:pt x="530113" y="214669"/>
                      </a:cubicBezTo>
                      <a:close/>
                      <a:moveTo>
                        <a:pt x="16542" y="175880"/>
                      </a:moveTo>
                      <a:lnTo>
                        <a:pt x="35366" y="175880"/>
                      </a:lnTo>
                      <a:lnTo>
                        <a:pt x="35366" y="202880"/>
                      </a:lnTo>
                      <a:cubicBezTo>
                        <a:pt x="35366" y="208014"/>
                        <a:pt x="31183" y="212197"/>
                        <a:pt x="26049" y="212197"/>
                      </a:cubicBezTo>
                      <a:lnTo>
                        <a:pt x="16542" y="212197"/>
                      </a:lnTo>
                      <a:lnTo>
                        <a:pt x="16542" y="175880"/>
                      </a:lnTo>
                      <a:close/>
                      <a:moveTo>
                        <a:pt x="149831" y="300803"/>
                      </a:moveTo>
                      <a:cubicBezTo>
                        <a:pt x="125113" y="300803"/>
                        <a:pt x="105148" y="280648"/>
                        <a:pt x="105148" y="256120"/>
                      </a:cubicBezTo>
                      <a:lnTo>
                        <a:pt x="105148" y="256120"/>
                      </a:lnTo>
                      <a:lnTo>
                        <a:pt x="105148" y="256120"/>
                      </a:lnTo>
                      <a:cubicBezTo>
                        <a:pt x="105148" y="231401"/>
                        <a:pt x="125303" y="211437"/>
                        <a:pt x="149831" y="211437"/>
                      </a:cubicBezTo>
                      <a:cubicBezTo>
                        <a:pt x="174549" y="211437"/>
                        <a:pt x="194704" y="231592"/>
                        <a:pt x="194704" y="256120"/>
                      </a:cubicBezTo>
                      <a:cubicBezTo>
                        <a:pt x="194514" y="280838"/>
                        <a:pt x="174549" y="300803"/>
                        <a:pt x="149831" y="300803"/>
                      </a:cubicBezTo>
                      <a:close/>
                      <a:moveTo>
                        <a:pt x="327803" y="247754"/>
                      </a:moveTo>
                      <a:lnTo>
                        <a:pt x="210486" y="247754"/>
                      </a:lnTo>
                      <a:cubicBezTo>
                        <a:pt x="206493" y="217901"/>
                        <a:pt x="180634" y="194704"/>
                        <a:pt x="149641" y="194704"/>
                      </a:cubicBezTo>
                      <a:cubicBezTo>
                        <a:pt x="118648" y="194704"/>
                        <a:pt x="92979" y="217901"/>
                        <a:pt x="88796" y="247754"/>
                      </a:cubicBezTo>
                      <a:lnTo>
                        <a:pt x="26049" y="247754"/>
                      </a:lnTo>
                      <a:cubicBezTo>
                        <a:pt x="20915" y="247754"/>
                        <a:pt x="16732" y="243570"/>
                        <a:pt x="16732" y="238437"/>
                      </a:cubicBezTo>
                      <a:lnTo>
                        <a:pt x="16732" y="229120"/>
                      </a:lnTo>
                      <a:lnTo>
                        <a:pt x="26049" y="229120"/>
                      </a:lnTo>
                      <a:cubicBezTo>
                        <a:pt x="40310" y="229120"/>
                        <a:pt x="52099" y="217521"/>
                        <a:pt x="52099" y="203070"/>
                      </a:cubicBezTo>
                      <a:lnTo>
                        <a:pt x="52099" y="167704"/>
                      </a:lnTo>
                      <a:cubicBezTo>
                        <a:pt x="52099" y="163141"/>
                        <a:pt x="48296" y="159338"/>
                        <a:pt x="43732" y="159338"/>
                      </a:cubicBezTo>
                      <a:lnTo>
                        <a:pt x="16542" y="159338"/>
                      </a:lnTo>
                      <a:lnTo>
                        <a:pt x="16542" y="26049"/>
                      </a:lnTo>
                      <a:cubicBezTo>
                        <a:pt x="16542" y="20915"/>
                        <a:pt x="20725" y="16732"/>
                        <a:pt x="25859" y="16732"/>
                      </a:cubicBezTo>
                      <a:lnTo>
                        <a:pt x="318296" y="16732"/>
                      </a:lnTo>
                      <a:cubicBezTo>
                        <a:pt x="323430" y="16732"/>
                        <a:pt x="327613" y="20915"/>
                        <a:pt x="327613" y="26049"/>
                      </a:cubicBezTo>
                      <a:lnTo>
                        <a:pt x="327613" y="247754"/>
                      </a:lnTo>
                      <a:close/>
                      <a:moveTo>
                        <a:pt x="363169" y="247754"/>
                      </a:moveTo>
                      <a:lnTo>
                        <a:pt x="344345" y="247754"/>
                      </a:lnTo>
                      <a:lnTo>
                        <a:pt x="344345" y="211246"/>
                      </a:lnTo>
                      <a:lnTo>
                        <a:pt x="363169" y="211246"/>
                      </a:lnTo>
                      <a:lnTo>
                        <a:pt x="363169" y="247754"/>
                      </a:lnTo>
                      <a:close/>
                      <a:moveTo>
                        <a:pt x="379711" y="43923"/>
                      </a:moveTo>
                      <a:cubicBezTo>
                        <a:pt x="379711" y="43542"/>
                        <a:pt x="379901" y="43352"/>
                        <a:pt x="380282" y="43352"/>
                      </a:cubicBezTo>
                      <a:lnTo>
                        <a:pt x="439606" y="43352"/>
                      </a:lnTo>
                      <a:cubicBezTo>
                        <a:pt x="449303" y="43352"/>
                        <a:pt x="458239" y="48486"/>
                        <a:pt x="462993" y="56852"/>
                      </a:cubicBezTo>
                      <a:lnTo>
                        <a:pt x="466035" y="62176"/>
                      </a:lnTo>
                      <a:lnTo>
                        <a:pt x="379711" y="62176"/>
                      </a:lnTo>
                      <a:lnTo>
                        <a:pt x="379711" y="43923"/>
                      </a:lnTo>
                      <a:close/>
                      <a:moveTo>
                        <a:pt x="379711" y="78718"/>
                      </a:moveTo>
                      <a:lnTo>
                        <a:pt x="475732" y="78718"/>
                      </a:lnTo>
                      <a:lnTo>
                        <a:pt x="509768" y="137092"/>
                      </a:lnTo>
                      <a:cubicBezTo>
                        <a:pt x="512239" y="141275"/>
                        <a:pt x="513380" y="146028"/>
                        <a:pt x="513380" y="150782"/>
                      </a:cubicBezTo>
                      <a:lnTo>
                        <a:pt x="513380" y="159528"/>
                      </a:lnTo>
                      <a:lnTo>
                        <a:pt x="497218" y="159528"/>
                      </a:lnTo>
                      <a:cubicBezTo>
                        <a:pt x="492275" y="159528"/>
                        <a:pt x="487711" y="157627"/>
                        <a:pt x="484289" y="154204"/>
                      </a:cubicBezTo>
                      <a:lnTo>
                        <a:pt x="473261" y="143176"/>
                      </a:lnTo>
                      <a:cubicBezTo>
                        <a:pt x="466606" y="136521"/>
                        <a:pt x="457859" y="132908"/>
                        <a:pt x="448732" y="132908"/>
                      </a:cubicBezTo>
                      <a:lnTo>
                        <a:pt x="379521" y="132908"/>
                      </a:lnTo>
                      <a:lnTo>
                        <a:pt x="379521" y="78718"/>
                      </a:lnTo>
                      <a:close/>
                      <a:moveTo>
                        <a:pt x="424585" y="300803"/>
                      </a:moveTo>
                      <a:cubicBezTo>
                        <a:pt x="399866" y="300803"/>
                        <a:pt x="379901" y="280648"/>
                        <a:pt x="379901" y="255930"/>
                      </a:cubicBezTo>
                      <a:cubicBezTo>
                        <a:pt x="379901" y="231211"/>
                        <a:pt x="400056" y="211246"/>
                        <a:pt x="424585" y="211246"/>
                      </a:cubicBezTo>
                      <a:cubicBezTo>
                        <a:pt x="449303" y="211246"/>
                        <a:pt x="469268" y="231401"/>
                        <a:pt x="469268" y="255930"/>
                      </a:cubicBezTo>
                      <a:cubicBezTo>
                        <a:pt x="469268" y="280838"/>
                        <a:pt x="449303" y="300803"/>
                        <a:pt x="424585" y="300803"/>
                      </a:cubicBezTo>
                      <a:close/>
                      <a:moveTo>
                        <a:pt x="486951" y="229500"/>
                      </a:moveTo>
                      <a:lnTo>
                        <a:pt x="486951" y="247754"/>
                      </a:lnTo>
                      <a:lnTo>
                        <a:pt x="485239" y="247754"/>
                      </a:lnTo>
                      <a:cubicBezTo>
                        <a:pt x="481247" y="217901"/>
                        <a:pt x="455387" y="194704"/>
                        <a:pt x="424394" y="194704"/>
                      </a:cubicBezTo>
                      <a:cubicBezTo>
                        <a:pt x="406711" y="194704"/>
                        <a:pt x="390739" y="202120"/>
                        <a:pt x="379711" y="214099"/>
                      </a:cubicBezTo>
                      <a:lnTo>
                        <a:pt x="379711" y="149261"/>
                      </a:lnTo>
                      <a:lnTo>
                        <a:pt x="448923" y="149261"/>
                      </a:lnTo>
                      <a:cubicBezTo>
                        <a:pt x="453866" y="149261"/>
                        <a:pt x="458430" y="151162"/>
                        <a:pt x="461852" y="154585"/>
                      </a:cubicBezTo>
                      <a:lnTo>
                        <a:pt x="472880" y="165613"/>
                      </a:lnTo>
                      <a:cubicBezTo>
                        <a:pt x="479535" y="172268"/>
                        <a:pt x="488282" y="175880"/>
                        <a:pt x="497408" y="175880"/>
                      </a:cubicBezTo>
                      <a:lnTo>
                        <a:pt x="513570" y="175880"/>
                      </a:lnTo>
                      <a:lnTo>
                        <a:pt x="513570" y="212387"/>
                      </a:lnTo>
                      <a:lnTo>
                        <a:pt x="504254" y="212387"/>
                      </a:lnTo>
                      <a:cubicBezTo>
                        <a:pt x="494747" y="212387"/>
                        <a:pt x="486951" y="220183"/>
                        <a:pt x="486951" y="229500"/>
                      </a:cubicBezTo>
                      <a:close/>
                      <a:moveTo>
                        <a:pt x="522317" y="247183"/>
                      </a:moveTo>
                      <a:cubicBezTo>
                        <a:pt x="522317" y="247563"/>
                        <a:pt x="522127" y="247754"/>
                        <a:pt x="521746" y="247754"/>
                      </a:cubicBezTo>
                      <a:lnTo>
                        <a:pt x="503493" y="247754"/>
                      </a:lnTo>
                      <a:lnTo>
                        <a:pt x="503493" y="229500"/>
                      </a:lnTo>
                      <a:cubicBezTo>
                        <a:pt x="503493" y="229120"/>
                        <a:pt x="503683" y="228930"/>
                        <a:pt x="504063" y="228930"/>
                      </a:cubicBezTo>
                      <a:lnTo>
                        <a:pt x="521746" y="228930"/>
                      </a:lnTo>
                      <a:cubicBezTo>
                        <a:pt x="522127" y="228930"/>
                        <a:pt x="522317" y="229120"/>
                        <a:pt x="522317" y="229500"/>
                      </a:cubicBezTo>
                      <a:lnTo>
                        <a:pt x="522317" y="247183"/>
                      </a:lnTo>
                      <a:close/>
                    </a:path>
                  </a:pathLst>
                </a:custGeom>
                <a:grpFill/>
                <a:ln w="1878" cap="flat">
                  <a:noFill/>
                  <a:prstDash val="solid"/>
                  <a:miter/>
                </a:ln>
              </p:spPr>
              <p:txBody>
                <a:bodyPr rtlCol="0" anchor="ctr"/>
                <a:lstStyle/>
                <a:p>
                  <a:endParaRPr lang="en-GB" noProof="0" dirty="0"/>
                </a:p>
              </p:txBody>
            </p:sp>
          </p:grpSp>
        </p:grpSp>
      </p:grpSp>
      <p:grpSp>
        <p:nvGrpSpPr>
          <p:cNvPr id="40" name="Gruppieren 39">
            <a:extLst>
              <a:ext uri="{FF2B5EF4-FFF2-40B4-BE49-F238E27FC236}">
                <a16:creationId xmlns:a16="http://schemas.microsoft.com/office/drawing/2014/main" id="{85202D94-D7C4-6073-022E-FB4DCBD43452}"/>
              </a:ext>
            </a:extLst>
          </p:cNvPr>
          <p:cNvGrpSpPr/>
          <p:nvPr/>
        </p:nvGrpSpPr>
        <p:grpSpPr>
          <a:xfrm>
            <a:off x="7729247" y="2237496"/>
            <a:ext cx="728953" cy="872293"/>
            <a:chOff x="7729247" y="2583610"/>
            <a:chExt cx="728953" cy="872293"/>
          </a:xfrm>
        </p:grpSpPr>
        <p:sp>
          <p:nvSpPr>
            <p:cNvPr id="128" name="Text Box 30">
              <a:extLst>
                <a:ext uri="{FF2B5EF4-FFF2-40B4-BE49-F238E27FC236}">
                  <a16:creationId xmlns:a16="http://schemas.microsoft.com/office/drawing/2014/main" id="{A273BF71-BF4A-AFAE-4BC6-FB5468390480}"/>
                </a:ext>
              </a:extLst>
            </p:cNvPr>
            <p:cNvSpPr txBox="1">
              <a:spLocks noChangeArrowheads="1"/>
            </p:cNvSpPr>
            <p:nvPr/>
          </p:nvSpPr>
          <p:spPr bwMode="auto">
            <a:xfrm>
              <a:off x="7729247" y="2583610"/>
              <a:ext cx="728953" cy="268149"/>
            </a:xfrm>
            <a:prstGeom prst="rect">
              <a:avLst/>
            </a:prstGeom>
            <a:noFill/>
            <a:ln w="12700">
              <a:noFill/>
              <a:miter lim="800000"/>
              <a:headEnd/>
              <a:tailEnd/>
            </a:ln>
          </p:spPr>
          <p:txBody>
            <a:bodyPr wrap="square" lIns="62308" tIns="29908" rIns="62308" bIns="29908">
              <a:spAutoFit/>
            </a:bodyPr>
            <a:lstStyle/>
            <a:p>
              <a:pPr algn="ctr">
                <a:spcBef>
                  <a:spcPct val="50000"/>
                </a:spcBef>
              </a:pPr>
              <a:r>
                <a:rPr lang="en-GB" sz="675" noProof="0" dirty="0"/>
                <a:t>Mechanical</a:t>
              </a:r>
              <a:br>
                <a:rPr lang="en-GB" sz="675" noProof="0" dirty="0"/>
              </a:br>
              <a:r>
                <a:rPr lang="en-GB" sz="675" noProof="0" dirty="0"/>
                <a:t>Recycling</a:t>
              </a:r>
            </a:p>
          </p:txBody>
        </p:sp>
        <p:grpSp>
          <p:nvGrpSpPr>
            <p:cNvPr id="315" name="Grafik 116">
              <a:extLst>
                <a:ext uri="{FF2B5EF4-FFF2-40B4-BE49-F238E27FC236}">
                  <a16:creationId xmlns:a16="http://schemas.microsoft.com/office/drawing/2014/main" id="{3CCB9980-2BB7-9837-06BA-2128B60E35E1}"/>
                </a:ext>
              </a:extLst>
            </p:cNvPr>
            <p:cNvGrpSpPr>
              <a:grpSpLocks noChangeAspect="1"/>
            </p:cNvGrpSpPr>
            <p:nvPr/>
          </p:nvGrpSpPr>
          <p:grpSpPr>
            <a:xfrm>
              <a:off x="7854966" y="2961520"/>
              <a:ext cx="494383" cy="494383"/>
              <a:chOff x="2029800" y="2547787"/>
              <a:chExt cx="540000" cy="540000"/>
            </a:xfrm>
            <a:solidFill>
              <a:schemeClr val="accent1"/>
            </a:solidFill>
          </p:grpSpPr>
          <p:grpSp>
            <p:nvGrpSpPr>
              <p:cNvPr id="316" name="Grafik 116">
                <a:extLst>
                  <a:ext uri="{FF2B5EF4-FFF2-40B4-BE49-F238E27FC236}">
                    <a16:creationId xmlns:a16="http://schemas.microsoft.com/office/drawing/2014/main" id="{8727248F-6429-B15E-DB61-CC08C0361094}"/>
                  </a:ext>
                </a:extLst>
              </p:cNvPr>
              <p:cNvGrpSpPr/>
              <p:nvPr/>
            </p:nvGrpSpPr>
            <p:grpSpPr>
              <a:xfrm>
                <a:off x="2029800" y="2547787"/>
                <a:ext cx="492186" cy="482197"/>
                <a:chOff x="2029800" y="2547787"/>
                <a:chExt cx="492186" cy="482197"/>
              </a:xfrm>
              <a:grpFill/>
            </p:grpSpPr>
            <p:grpSp>
              <p:nvGrpSpPr>
                <p:cNvPr id="317" name="Grafik 116">
                  <a:extLst>
                    <a:ext uri="{FF2B5EF4-FFF2-40B4-BE49-F238E27FC236}">
                      <a16:creationId xmlns:a16="http://schemas.microsoft.com/office/drawing/2014/main" id="{24E54889-4552-B88C-DFE2-8ED64B065A62}"/>
                    </a:ext>
                  </a:extLst>
                </p:cNvPr>
                <p:cNvGrpSpPr/>
                <p:nvPr/>
              </p:nvGrpSpPr>
              <p:grpSpPr>
                <a:xfrm>
                  <a:off x="2031104" y="2550187"/>
                  <a:ext cx="490881" cy="479797"/>
                  <a:chOff x="2031104" y="2550187"/>
                  <a:chExt cx="490881" cy="479797"/>
                </a:xfrm>
                <a:grpFill/>
              </p:grpSpPr>
              <p:sp>
                <p:nvSpPr>
                  <p:cNvPr id="318" name="Freihandform: Form 317">
                    <a:extLst>
                      <a:ext uri="{FF2B5EF4-FFF2-40B4-BE49-F238E27FC236}">
                        <a16:creationId xmlns:a16="http://schemas.microsoft.com/office/drawing/2014/main" id="{95F1132E-9715-A5F8-DA65-05696025A257}"/>
                      </a:ext>
                    </a:extLst>
                  </p:cNvPr>
                  <p:cNvSpPr/>
                  <p:nvPr/>
                </p:nvSpPr>
                <p:spPr>
                  <a:xfrm>
                    <a:off x="2098964" y="2550187"/>
                    <a:ext cx="323034" cy="213250"/>
                  </a:xfrm>
                  <a:custGeom>
                    <a:avLst/>
                    <a:gdLst>
                      <a:gd name="connsiteX0" fmla="*/ 6512 w 323034"/>
                      <a:gd name="connsiteY0" fmla="*/ 212839 h 213250"/>
                      <a:gd name="connsiteX1" fmla="*/ 18110 w 323034"/>
                      <a:gd name="connsiteY1" fmla="*/ 206755 h 213250"/>
                      <a:gd name="connsiteX2" fmla="*/ 205019 w 323034"/>
                      <a:gd name="connsiteY2" fmla="*/ 69473 h 213250"/>
                      <a:gd name="connsiteX3" fmla="*/ 282786 w 323034"/>
                      <a:gd name="connsiteY3" fmla="*/ 85445 h 213250"/>
                      <a:gd name="connsiteX4" fmla="*/ 289441 w 323034"/>
                      <a:gd name="connsiteY4" fmla="*/ 88297 h 213250"/>
                      <a:gd name="connsiteX5" fmla="*/ 216427 w 323034"/>
                      <a:gd name="connsiteY5" fmla="*/ 108832 h 213250"/>
                      <a:gd name="connsiteX6" fmla="*/ 209962 w 323034"/>
                      <a:gd name="connsiteY6" fmla="*/ 120241 h 213250"/>
                      <a:gd name="connsiteX7" fmla="*/ 218899 w 323034"/>
                      <a:gd name="connsiteY7" fmla="*/ 127086 h 213250"/>
                      <a:gd name="connsiteX8" fmla="*/ 221371 w 323034"/>
                      <a:gd name="connsiteY8" fmla="*/ 126705 h 213250"/>
                      <a:gd name="connsiteX9" fmla="*/ 316251 w 323034"/>
                      <a:gd name="connsiteY9" fmla="*/ 100086 h 213250"/>
                      <a:gd name="connsiteX10" fmla="*/ 322526 w 323034"/>
                      <a:gd name="connsiteY10" fmla="*/ 94191 h 213250"/>
                      <a:gd name="connsiteX11" fmla="*/ 321385 w 323034"/>
                      <a:gd name="connsiteY11" fmla="*/ 85635 h 213250"/>
                      <a:gd name="connsiteX12" fmla="*/ 263012 w 323034"/>
                      <a:gd name="connsiteY12" fmla="*/ 3874 h 213250"/>
                      <a:gd name="connsiteX13" fmla="*/ 250082 w 323034"/>
                      <a:gd name="connsiteY13" fmla="*/ 1783 h 213250"/>
                      <a:gd name="connsiteX14" fmla="*/ 246279 w 323034"/>
                      <a:gd name="connsiteY14" fmla="*/ 7867 h 213250"/>
                      <a:gd name="connsiteX15" fmla="*/ 247800 w 323034"/>
                      <a:gd name="connsiteY15" fmla="*/ 14713 h 213250"/>
                      <a:gd name="connsiteX16" fmla="*/ 284307 w 323034"/>
                      <a:gd name="connsiteY16" fmla="*/ 66051 h 213250"/>
                      <a:gd name="connsiteX17" fmla="*/ 276702 w 323034"/>
                      <a:gd name="connsiteY17" fmla="*/ 63389 h 213250"/>
                      <a:gd name="connsiteX18" fmla="*/ 205019 w 323034"/>
                      <a:gd name="connsiteY18" fmla="*/ 51029 h 213250"/>
                      <a:gd name="connsiteX19" fmla="*/ 427 w 323034"/>
                      <a:gd name="connsiteY19" fmla="*/ 201241 h 213250"/>
                      <a:gd name="connsiteX20" fmla="*/ 6512 w 323034"/>
                      <a:gd name="connsiteY20" fmla="*/ 212839 h 21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23034" h="213250">
                        <a:moveTo>
                          <a:pt x="6512" y="212839"/>
                        </a:moveTo>
                        <a:cubicBezTo>
                          <a:pt x="11645" y="214360"/>
                          <a:pt x="16589" y="211508"/>
                          <a:pt x="18110" y="206755"/>
                        </a:cubicBezTo>
                        <a:cubicBezTo>
                          <a:pt x="43779" y="124614"/>
                          <a:pt x="118885" y="69473"/>
                          <a:pt x="205019" y="69473"/>
                        </a:cubicBezTo>
                        <a:cubicBezTo>
                          <a:pt x="232019" y="69473"/>
                          <a:pt x="258068" y="74797"/>
                          <a:pt x="282786" y="85445"/>
                        </a:cubicBezTo>
                        <a:lnTo>
                          <a:pt x="289441" y="88297"/>
                        </a:lnTo>
                        <a:lnTo>
                          <a:pt x="216427" y="108832"/>
                        </a:lnTo>
                        <a:cubicBezTo>
                          <a:pt x="211483" y="110163"/>
                          <a:pt x="208631" y="115297"/>
                          <a:pt x="209962" y="120241"/>
                        </a:cubicBezTo>
                        <a:cubicBezTo>
                          <a:pt x="211103" y="124234"/>
                          <a:pt x="214716" y="127086"/>
                          <a:pt x="218899" y="127086"/>
                        </a:cubicBezTo>
                        <a:cubicBezTo>
                          <a:pt x="219659" y="127086"/>
                          <a:pt x="220610" y="126896"/>
                          <a:pt x="221371" y="126705"/>
                        </a:cubicBezTo>
                        <a:lnTo>
                          <a:pt x="316251" y="100086"/>
                        </a:lnTo>
                        <a:cubicBezTo>
                          <a:pt x="319103" y="99325"/>
                          <a:pt x="321385" y="97044"/>
                          <a:pt x="322526" y="94191"/>
                        </a:cubicBezTo>
                        <a:cubicBezTo>
                          <a:pt x="323476" y="91339"/>
                          <a:pt x="323096" y="88107"/>
                          <a:pt x="321385" y="85635"/>
                        </a:cubicBezTo>
                        <a:lnTo>
                          <a:pt x="263012" y="3874"/>
                        </a:lnTo>
                        <a:cubicBezTo>
                          <a:pt x="259969" y="-309"/>
                          <a:pt x="254265" y="-1259"/>
                          <a:pt x="250082" y="1783"/>
                        </a:cubicBezTo>
                        <a:cubicBezTo>
                          <a:pt x="247990" y="3304"/>
                          <a:pt x="246659" y="5396"/>
                          <a:pt x="246279" y="7867"/>
                        </a:cubicBezTo>
                        <a:cubicBezTo>
                          <a:pt x="245899" y="10339"/>
                          <a:pt x="246469" y="12811"/>
                          <a:pt x="247800" y="14713"/>
                        </a:cubicBezTo>
                        <a:lnTo>
                          <a:pt x="284307" y="66051"/>
                        </a:lnTo>
                        <a:lnTo>
                          <a:pt x="276702" y="63389"/>
                        </a:lnTo>
                        <a:cubicBezTo>
                          <a:pt x="253695" y="55213"/>
                          <a:pt x="229547" y="51029"/>
                          <a:pt x="205019" y="51029"/>
                        </a:cubicBezTo>
                        <a:cubicBezTo>
                          <a:pt x="110709" y="51029"/>
                          <a:pt x="28568" y="111494"/>
                          <a:pt x="427" y="201241"/>
                        </a:cubicBezTo>
                        <a:cubicBezTo>
                          <a:pt x="-1094" y="206184"/>
                          <a:pt x="1568" y="211318"/>
                          <a:pt x="6512" y="212839"/>
                        </a:cubicBezTo>
                        <a:close/>
                      </a:path>
                    </a:pathLst>
                  </a:custGeom>
                  <a:grpFill/>
                  <a:ln w="1878" cap="flat">
                    <a:noFill/>
                    <a:prstDash val="solid"/>
                    <a:miter/>
                  </a:ln>
                </p:spPr>
                <p:txBody>
                  <a:bodyPr rtlCol="0" anchor="ctr"/>
                  <a:lstStyle/>
                  <a:p>
                    <a:endParaRPr lang="en-GB" noProof="0" dirty="0"/>
                  </a:p>
                </p:txBody>
              </p:sp>
              <p:sp>
                <p:nvSpPr>
                  <p:cNvPr id="319" name="Freihandform: Form 318">
                    <a:extLst>
                      <a:ext uri="{FF2B5EF4-FFF2-40B4-BE49-F238E27FC236}">
                        <a16:creationId xmlns:a16="http://schemas.microsoft.com/office/drawing/2014/main" id="{D1E8AEB3-C4C9-0958-DDE2-50B3F092F702}"/>
                      </a:ext>
                    </a:extLst>
                  </p:cNvPr>
                  <p:cNvSpPr/>
                  <p:nvPr/>
                </p:nvSpPr>
                <p:spPr>
                  <a:xfrm>
                    <a:off x="2404214" y="2652680"/>
                    <a:ext cx="117771" cy="344365"/>
                  </a:xfrm>
                  <a:custGeom>
                    <a:avLst/>
                    <a:gdLst>
                      <a:gd name="connsiteX0" fmla="*/ 117670 w 117771"/>
                      <a:gd name="connsiteY0" fmla="*/ 318931 h 344365"/>
                      <a:gd name="connsiteX1" fmla="*/ 107022 w 117771"/>
                      <a:gd name="connsiteY1" fmla="*/ 311135 h 344365"/>
                      <a:gd name="connsiteX2" fmla="*/ 45417 w 117771"/>
                      <a:gd name="connsiteY2" fmla="*/ 320452 h 344365"/>
                      <a:gd name="connsiteX3" fmla="*/ 51121 w 117771"/>
                      <a:gd name="connsiteY3" fmla="*/ 314938 h 344365"/>
                      <a:gd name="connsiteX4" fmla="*/ 114438 w 117771"/>
                      <a:gd name="connsiteY4" fmla="*/ 162825 h 344365"/>
                      <a:gd name="connsiteX5" fmla="*/ 42374 w 117771"/>
                      <a:gd name="connsiteY5" fmla="*/ 2346 h 344365"/>
                      <a:gd name="connsiteX6" fmla="*/ 29255 w 117771"/>
                      <a:gd name="connsiteY6" fmla="*/ 3107 h 344365"/>
                      <a:gd name="connsiteX7" fmla="*/ 30015 w 117771"/>
                      <a:gd name="connsiteY7" fmla="*/ 16226 h 344365"/>
                      <a:gd name="connsiteX8" fmla="*/ 95994 w 117771"/>
                      <a:gd name="connsiteY8" fmla="*/ 162825 h 344365"/>
                      <a:gd name="connsiteX9" fmla="*/ 28114 w 117771"/>
                      <a:gd name="connsiteY9" fmla="*/ 310945 h 344365"/>
                      <a:gd name="connsiteX10" fmla="*/ 22410 w 117771"/>
                      <a:gd name="connsiteY10" fmla="*/ 315698 h 344365"/>
                      <a:gd name="connsiteX11" fmla="*/ 37050 w 117771"/>
                      <a:gd name="connsiteY11" fmla="*/ 240402 h 344365"/>
                      <a:gd name="connsiteX12" fmla="*/ 35719 w 117771"/>
                      <a:gd name="connsiteY12" fmla="*/ 233367 h 344365"/>
                      <a:gd name="connsiteX13" fmla="*/ 29825 w 117771"/>
                      <a:gd name="connsiteY13" fmla="*/ 229374 h 344365"/>
                      <a:gd name="connsiteX14" fmla="*/ 28114 w 117771"/>
                      <a:gd name="connsiteY14" fmla="*/ 229184 h 344365"/>
                      <a:gd name="connsiteX15" fmla="*/ 18987 w 117771"/>
                      <a:gd name="connsiteY15" fmla="*/ 236600 h 344365"/>
                      <a:gd name="connsiteX16" fmla="*/ 163 w 117771"/>
                      <a:gd name="connsiteY16" fmla="*/ 333381 h 344365"/>
                      <a:gd name="connsiteX17" fmla="*/ 2635 w 117771"/>
                      <a:gd name="connsiteY17" fmla="*/ 341557 h 344365"/>
                      <a:gd name="connsiteX18" fmla="*/ 10811 w 117771"/>
                      <a:gd name="connsiteY18" fmla="*/ 344219 h 344365"/>
                      <a:gd name="connsiteX19" fmla="*/ 110255 w 117771"/>
                      <a:gd name="connsiteY19" fmla="*/ 329008 h 344365"/>
                      <a:gd name="connsiteX20" fmla="*/ 117670 w 117771"/>
                      <a:gd name="connsiteY20" fmla="*/ 318931 h 344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7771" h="344365">
                        <a:moveTo>
                          <a:pt x="117670" y="318931"/>
                        </a:moveTo>
                        <a:cubicBezTo>
                          <a:pt x="116910" y="313987"/>
                          <a:pt x="112156" y="310374"/>
                          <a:pt x="107022" y="311135"/>
                        </a:cubicBezTo>
                        <a:lnTo>
                          <a:pt x="45417" y="320452"/>
                        </a:lnTo>
                        <a:lnTo>
                          <a:pt x="51121" y="314938"/>
                        </a:lnTo>
                        <a:cubicBezTo>
                          <a:pt x="92001" y="274628"/>
                          <a:pt x="114438" y="220628"/>
                          <a:pt x="114438" y="162825"/>
                        </a:cubicBezTo>
                        <a:cubicBezTo>
                          <a:pt x="114438" y="101600"/>
                          <a:pt x="88198" y="43036"/>
                          <a:pt x="42374" y="2346"/>
                        </a:cubicBezTo>
                        <a:cubicBezTo>
                          <a:pt x="38571" y="-1076"/>
                          <a:pt x="32677" y="-696"/>
                          <a:pt x="29255" y="3107"/>
                        </a:cubicBezTo>
                        <a:cubicBezTo>
                          <a:pt x="25832" y="6909"/>
                          <a:pt x="26212" y="12804"/>
                          <a:pt x="30015" y="16226"/>
                        </a:cubicBezTo>
                        <a:cubicBezTo>
                          <a:pt x="71846" y="53304"/>
                          <a:pt x="95994" y="106733"/>
                          <a:pt x="95994" y="162825"/>
                        </a:cubicBezTo>
                        <a:cubicBezTo>
                          <a:pt x="95994" y="219867"/>
                          <a:pt x="71276" y="273867"/>
                          <a:pt x="28114" y="310945"/>
                        </a:cubicBezTo>
                        <a:lnTo>
                          <a:pt x="22410" y="315698"/>
                        </a:lnTo>
                        <a:lnTo>
                          <a:pt x="37050" y="240402"/>
                        </a:lnTo>
                        <a:cubicBezTo>
                          <a:pt x="37621" y="237931"/>
                          <a:pt x="37050" y="235459"/>
                          <a:pt x="35719" y="233367"/>
                        </a:cubicBezTo>
                        <a:cubicBezTo>
                          <a:pt x="34388" y="231276"/>
                          <a:pt x="32297" y="229945"/>
                          <a:pt x="29825" y="229374"/>
                        </a:cubicBezTo>
                        <a:cubicBezTo>
                          <a:pt x="29255" y="229184"/>
                          <a:pt x="28684" y="229184"/>
                          <a:pt x="28114" y="229184"/>
                        </a:cubicBezTo>
                        <a:cubicBezTo>
                          <a:pt x="23740" y="229184"/>
                          <a:pt x="19938" y="232226"/>
                          <a:pt x="18987" y="236600"/>
                        </a:cubicBezTo>
                        <a:lnTo>
                          <a:pt x="163" y="333381"/>
                        </a:lnTo>
                        <a:cubicBezTo>
                          <a:pt x="-407" y="336424"/>
                          <a:pt x="543" y="339466"/>
                          <a:pt x="2635" y="341557"/>
                        </a:cubicBezTo>
                        <a:cubicBezTo>
                          <a:pt x="4726" y="343649"/>
                          <a:pt x="7769" y="344790"/>
                          <a:pt x="10811" y="344219"/>
                        </a:cubicBezTo>
                        <a:lnTo>
                          <a:pt x="110255" y="329008"/>
                        </a:lnTo>
                        <a:cubicBezTo>
                          <a:pt x="114818" y="328818"/>
                          <a:pt x="118431" y="324064"/>
                          <a:pt x="117670" y="318931"/>
                        </a:cubicBezTo>
                        <a:close/>
                      </a:path>
                    </a:pathLst>
                  </a:custGeom>
                  <a:grpFill/>
                  <a:ln w="1878" cap="flat">
                    <a:noFill/>
                    <a:prstDash val="solid"/>
                    <a:miter/>
                  </a:ln>
                </p:spPr>
                <p:txBody>
                  <a:bodyPr rtlCol="0" anchor="ctr"/>
                  <a:lstStyle/>
                  <a:p>
                    <a:endParaRPr lang="en-GB" noProof="0" dirty="0"/>
                  </a:p>
                </p:txBody>
              </p:sp>
              <p:sp>
                <p:nvSpPr>
                  <p:cNvPr id="320" name="Freihandform: Form 319">
                    <a:extLst>
                      <a:ext uri="{FF2B5EF4-FFF2-40B4-BE49-F238E27FC236}">
                        <a16:creationId xmlns:a16="http://schemas.microsoft.com/office/drawing/2014/main" id="{8C75D734-7C47-EACA-D8CA-B746A301ACE3}"/>
                      </a:ext>
                    </a:extLst>
                  </p:cNvPr>
                  <p:cNvSpPr/>
                  <p:nvPr/>
                </p:nvSpPr>
                <p:spPr>
                  <a:xfrm>
                    <a:off x="2031104" y="2779378"/>
                    <a:ext cx="360866" cy="250605"/>
                  </a:xfrm>
                  <a:custGeom>
                    <a:avLst/>
                    <a:gdLst>
                      <a:gd name="connsiteX0" fmla="*/ 347794 w 360866"/>
                      <a:gd name="connsiteY0" fmla="*/ 217141 h 250605"/>
                      <a:gd name="connsiteX1" fmla="*/ 272879 w 360866"/>
                      <a:gd name="connsiteY1" fmla="*/ 231972 h 250605"/>
                      <a:gd name="connsiteX2" fmla="*/ 77604 w 360866"/>
                      <a:gd name="connsiteY2" fmla="*/ 48486 h 250605"/>
                      <a:gd name="connsiteX3" fmla="*/ 77034 w 360866"/>
                      <a:gd name="connsiteY3" fmla="*/ 39359 h 250605"/>
                      <a:gd name="connsiteX4" fmla="*/ 116203 w 360866"/>
                      <a:gd name="connsiteY4" fmla="*/ 95451 h 250605"/>
                      <a:gd name="connsiteX5" fmla="*/ 129132 w 360866"/>
                      <a:gd name="connsiteY5" fmla="*/ 97732 h 250605"/>
                      <a:gd name="connsiteX6" fmla="*/ 131414 w 360866"/>
                      <a:gd name="connsiteY6" fmla="*/ 84803 h 250605"/>
                      <a:gd name="connsiteX7" fmla="*/ 77034 w 360866"/>
                      <a:gd name="connsiteY7" fmla="*/ 6845 h 250605"/>
                      <a:gd name="connsiteX8" fmla="*/ 75893 w 360866"/>
                      <a:gd name="connsiteY8" fmla="*/ 5134 h 250605"/>
                      <a:gd name="connsiteX9" fmla="*/ 75703 w 360866"/>
                      <a:gd name="connsiteY9" fmla="*/ 4944 h 250605"/>
                      <a:gd name="connsiteX10" fmla="*/ 75132 w 360866"/>
                      <a:gd name="connsiteY10" fmla="*/ 3993 h 250605"/>
                      <a:gd name="connsiteX11" fmla="*/ 67527 w 360866"/>
                      <a:gd name="connsiteY11" fmla="*/ 0 h 250605"/>
                      <a:gd name="connsiteX12" fmla="*/ 59921 w 360866"/>
                      <a:gd name="connsiteY12" fmla="*/ 3993 h 250605"/>
                      <a:gd name="connsiteX13" fmla="*/ 1738 w 360866"/>
                      <a:gd name="connsiteY13" fmla="*/ 85944 h 250605"/>
                      <a:gd name="connsiteX14" fmla="*/ 217 w 360866"/>
                      <a:gd name="connsiteY14" fmla="*/ 92789 h 250605"/>
                      <a:gd name="connsiteX15" fmla="*/ 4020 w 360866"/>
                      <a:gd name="connsiteY15" fmla="*/ 98873 h 250605"/>
                      <a:gd name="connsiteX16" fmla="*/ 9344 w 360866"/>
                      <a:gd name="connsiteY16" fmla="*/ 100584 h 250605"/>
                      <a:gd name="connsiteX17" fmla="*/ 16949 w 360866"/>
                      <a:gd name="connsiteY17" fmla="*/ 96782 h 250605"/>
                      <a:gd name="connsiteX18" fmla="*/ 58780 w 360866"/>
                      <a:gd name="connsiteY18" fmla="*/ 38028 h 250605"/>
                      <a:gd name="connsiteX19" fmla="*/ 59161 w 360866"/>
                      <a:gd name="connsiteY19" fmla="*/ 45444 h 250605"/>
                      <a:gd name="connsiteX20" fmla="*/ 124759 w 360866"/>
                      <a:gd name="connsiteY20" fmla="*/ 190711 h 250605"/>
                      <a:gd name="connsiteX21" fmla="*/ 273069 w 360866"/>
                      <a:gd name="connsiteY21" fmla="*/ 250606 h 250605"/>
                      <a:gd name="connsiteX22" fmla="*/ 355210 w 360866"/>
                      <a:gd name="connsiteY22" fmla="*/ 234254 h 250605"/>
                      <a:gd name="connsiteX23" fmla="*/ 360154 w 360866"/>
                      <a:gd name="connsiteY23" fmla="*/ 229310 h 250605"/>
                      <a:gd name="connsiteX24" fmla="*/ 360154 w 360866"/>
                      <a:gd name="connsiteY24" fmla="*/ 222085 h 250605"/>
                      <a:gd name="connsiteX25" fmla="*/ 347794 w 360866"/>
                      <a:gd name="connsiteY25" fmla="*/ 217141 h 250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60866" h="250605">
                        <a:moveTo>
                          <a:pt x="347794" y="217141"/>
                        </a:moveTo>
                        <a:cubicBezTo>
                          <a:pt x="324027" y="227028"/>
                          <a:pt x="298738" y="231972"/>
                          <a:pt x="272879" y="231972"/>
                        </a:cubicBezTo>
                        <a:cubicBezTo>
                          <a:pt x="169823" y="231972"/>
                          <a:pt x="84069" y="151352"/>
                          <a:pt x="77604" y="48486"/>
                        </a:cubicBezTo>
                        <a:lnTo>
                          <a:pt x="77034" y="39359"/>
                        </a:lnTo>
                        <a:lnTo>
                          <a:pt x="116203" y="95451"/>
                        </a:lnTo>
                        <a:cubicBezTo>
                          <a:pt x="119055" y="99634"/>
                          <a:pt x="124949" y="100775"/>
                          <a:pt x="129132" y="97732"/>
                        </a:cubicBezTo>
                        <a:cubicBezTo>
                          <a:pt x="133316" y="94880"/>
                          <a:pt x="134266" y="88986"/>
                          <a:pt x="131414" y="84803"/>
                        </a:cubicBezTo>
                        <a:lnTo>
                          <a:pt x="77034" y="6845"/>
                        </a:lnTo>
                        <a:cubicBezTo>
                          <a:pt x="76654" y="6085"/>
                          <a:pt x="76273" y="5704"/>
                          <a:pt x="75893" y="5134"/>
                        </a:cubicBezTo>
                        <a:lnTo>
                          <a:pt x="75703" y="4944"/>
                        </a:lnTo>
                        <a:lnTo>
                          <a:pt x="75132" y="3993"/>
                        </a:lnTo>
                        <a:cubicBezTo>
                          <a:pt x="73421" y="1521"/>
                          <a:pt x="70569" y="0"/>
                          <a:pt x="67527" y="0"/>
                        </a:cubicBezTo>
                        <a:cubicBezTo>
                          <a:pt x="64485" y="0"/>
                          <a:pt x="61632" y="1521"/>
                          <a:pt x="59921" y="3993"/>
                        </a:cubicBezTo>
                        <a:lnTo>
                          <a:pt x="1738" y="85944"/>
                        </a:lnTo>
                        <a:cubicBezTo>
                          <a:pt x="217" y="88035"/>
                          <a:pt x="-353" y="90507"/>
                          <a:pt x="217" y="92789"/>
                        </a:cubicBezTo>
                        <a:cubicBezTo>
                          <a:pt x="597" y="95261"/>
                          <a:pt x="1928" y="97352"/>
                          <a:pt x="4020" y="98873"/>
                        </a:cubicBezTo>
                        <a:cubicBezTo>
                          <a:pt x="5541" y="100014"/>
                          <a:pt x="7442" y="100584"/>
                          <a:pt x="9344" y="100584"/>
                        </a:cubicBezTo>
                        <a:cubicBezTo>
                          <a:pt x="12386" y="100584"/>
                          <a:pt x="15238" y="99063"/>
                          <a:pt x="16949" y="96782"/>
                        </a:cubicBezTo>
                        <a:lnTo>
                          <a:pt x="58780" y="38028"/>
                        </a:lnTo>
                        <a:lnTo>
                          <a:pt x="59161" y="45444"/>
                        </a:lnTo>
                        <a:cubicBezTo>
                          <a:pt x="61442" y="100775"/>
                          <a:pt x="84830" y="152303"/>
                          <a:pt x="124759" y="190711"/>
                        </a:cubicBezTo>
                        <a:cubicBezTo>
                          <a:pt x="164879" y="229310"/>
                          <a:pt x="217548" y="250606"/>
                          <a:pt x="273069" y="250606"/>
                        </a:cubicBezTo>
                        <a:cubicBezTo>
                          <a:pt x="301590" y="250606"/>
                          <a:pt x="329161" y="245092"/>
                          <a:pt x="355210" y="234254"/>
                        </a:cubicBezTo>
                        <a:cubicBezTo>
                          <a:pt x="357492" y="233303"/>
                          <a:pt x="359203" y="231592"/>
                          <a:pt x="360154" y="229310"/>
                        </a:cubicBezTo>
                        <a:cubicBezTo>
                          <a:pt x="361104" y="227028"/>
                          <a:pt x="361104" y="224556"/>
                          <a:pt x="360154" y="222085"/>
                        </a:cubicBezTo>
                        <a:cubicBezTo>
                          <a:pt x="358062" y="217331"/>
                          <a:pt x="352548" y="215239"/>
                          <a:pt x="347794" y="217141"/>
                        </a:cubicBezTo>
                        <a:close/>
                      </a:path>
                    </a:pathLst>
                  </a:custGeom>
                  <a:grpFill/>
                  <a:ln w="1878" cap="flat">
                    <a:noFill/>
                    <a:prstDash val="solid"/>
                    <a:miter/>
                  </a:ln>
                </p:spPr>
                <p:txBody>
                  <a:bodyPr rtlCol="0" anchor="ctr"/>
                  <a:lstStyle/>
                  <a:p>
                    <a:endParaRPr lang="en-GB" noProof="0" dirty="0"/>
                  </a:p>
                </p:txBody>
              </p:sp>
            </p:grpSp>
          </p:grpSp>
        </p:grpSp>
      </p:grpSp>
      <p:sp>
        <p:nvSpPr>
          <p:cNvPr id="350" name="Rechteck 349">
            <a:extLst>
              <a:ext uri="{FF2B5EF4-FFF2-40B4-BE49-F238E27FC236}">
                <a16:creationId xmlns:a16="http://schemas.microsoft.com/office/drawing/2014/main" id="{7C500A68-7CBB-EC1D-EAF9-103DE0769F9D}"/>
              </a:ext>
            </a:extLst>
          </p:cNvPr>
          <p:cNvSpPr/>
          <p:nvPr/>
        </p:nvSpPr>
        <p:spPr>
          <a:xfrm>
            <a:off x="3288737" y="2155315"/>
            <a:ext cx="432000" cy="365378"/>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4" name="Line 65">
            <a:extLst>
              <a:ext uri="{FF2B5EF4-FFF2-40B4-BE49-F238E27FC236}">
                <a16:creationId xmlns:a16="http://schemas.microsoft.com/office/drawing/2014/main" id="{0D786290-BDD8-6942-6394-51F2DEFF2B1F}"/>
              </a:ext>
            </a:extLst>
          </p:cNvPr>
          <p:cNvSpPr>
            <a:spLocks noChangeShapeType="1"/>
          </p:cNvSpPr>
          <p:nvPr/>
        </p:nvSpPr>
        <p:spPr bwMode="auto">
          <a:xfrm>
            <a:off x="2700998" y="2788960"/>
            <a:ext cx="1625168" cy="66"/>
          </a:xfrm>
          <a:prstGeom prst="line">
            <a:avLst/>
          </a:prstGeom>
          <a:noFill/>
          <a:ln w="25400">
            <a:solidFill>
              <a:schemeClr val="accent5"/>
            </a:solidFill>
            <a:round/>
            <a:headEnd type="none" w="med" len="med"/>
            <a:tailEnd type="none" w="med" len="med"/>
          </a:ln>
        </p:spPr>
        <p:txBody>
          <a:bodyPr wrap="square" lIns="62308" tIns="29908" rIns="62308" bIns="29908">
            <a:noAutofit/>
          </a:bodyPr>
          <a:lstStyle/>
          <a:p>
            <a:endParaRPr lang="en-GB" sz="761" noProof="0" dirty="0">
              <a:ln>
                <a:solidFill>
                  <a:schemeClr val="tx1"/>
                </a:solidFill>
                <a:prstDash val="solid"/>
              </a:ln>
            </a:endParaRPr>
          </a:p>
        </p:txBody>
      </p:sp>
      <p:sp>
        <p:nvSpPr>
          <p:cNvPr id="87" name="Rechteck 86">
            <a:extLst>
              <a:ext uri="{FF2B5EF4-FFF2-40B4-BE49-F238E27FC236}">
                <a16:creationId xmlns:a16="http://schemas.microsoft.com/office/drawing/2014/main" id="{B9D78A27-4947-2DB9-466F-12D8D7861706}"/>
              </a:ext>
            </a:extLst>
          </p:cNvPr>
          <p:cNvSpPr/>
          <p:nvPr/>
        </p:nvSpPr>
        <p:spPr>
          <a:xfrm>
            <a:off x="3290400" y="2611602"/>
            <a:ext cx="432000" cy="324000"/>
          </a:xfrm>
          <a:prstGeom prst="rect">
            <a:avLst/>
          </a:prstGeom>
          <a:solidFill>
            <a:schemeClr val="accent3">
              <a:lumMod val="60000"/>
              <a:lumOff val="40000"/>
            </a:schemeClr>
          </a:solidFill>
          <a:ln>
            <a:noFill/>
          </a:ln>
        </p:spPr>
        <p:txBody>
          <a:bodyPr lIns="0" tIns="0" rIns="0" bIns="0" rtlCol="0" anchor="ctr">
            <a:noAutofit/>
          </a:bodyPr>
          <a:lstStyle/>
          <a:p>
            <a:pPr marL="207169" indent="-207169" algn="ctr" defTabSz="247650">
              <a:spcBef>
                <a:spcPts val="225"/>
              </a:spcBef>
              <a:buFont typeface="Symbol" pitchFamily="18" charset="2"/>
              <a:buChar char="-"/>
            </a:pPr>
            <a:endParaRPr lang="en-GB" sz="1350" kern="0" noProof="0" dirty="0">
              <a:solidFill>
                <a:srgbClr val="41474C"/>
              </a:solidFill>
              <a:latin typeface="Corbel" pitchFamily="34" charset="0"/>
            </a:endParaRPr>
          </a:p>
        </p:txBody>
      </p:sp>
      <p:sp>
        <p:nvSpPr>
          <p:cNvPr id="24" name="Rechteck 23">
            <a:extLst>
              <a:ext uri="{FF2B5EF4-FFF2-40B4-BE49-F238E27FC236}">
                <a16:creationId xmlns:a16="http://schemas.microsoft.com/office/drawing/2014/main" id="{8AF308D1-76A5-E043-A41E-2C8F9A3B408B}"/>
              </a:ext>
            </a:extLst>
          </p:cNvPr>
          <p:cNvSpPr/>
          <p:nvPr/>
        </p:nvSpPr>
        <p:spPr>
          <a:xfrm>
            <a:off x="6869889" y="1949413"/>
            <a:ext cx="396000" cy="276811"/>
          </a:xfrm>
          <a:prstGeom prst="rect">
            <a:avLst/>
          </a:prstGeom>
          <a:solidFill>
            <a:schemeClr val="bg1"/>
          </a:solidFill>
          <a:ln>
            <a:solidFill>
              <a:schemeClr val="bg1"/>
            </a:solidFill>
          </a:ln>
        </p:spPr>
        <p:txBody>
          <a:bodyPr lIns="0" tIns="0" rIns="0" bIns="0" rtlCol="0" anchor="ctr">
            <a:noAutofit/>
          </a:bodyPr>
          <a:lstStyle/>
          <a:p>
            <a:pPr marL="207169" indent="-207169" algn="ctr" defTabSz="247650">
              <a:spcBef>
                <a:spcPts val="225"/>
              </a:spcBef>
              <a:buFont typeface="Symbol" pitchFamily="18" charset="2"/>
              <a:buChar char="-"/>
            </a:pPr>
            <a:endParaRPr lang="en-GB" sz="1350" kern="0" noProof="0" dirty="0">
              <a:solidFill>
                <a:srgbClr val="41474C"/>
              </a:solidFill>
              <a:latin typeface="Corbel" pitchFamily="34" charset="0"/>
            </a:endParaRPr>
          </a:p>
        </p:txBody>
      </p:sp>
      <p:grpSp>
        <p:nvGrpSpPr>
          <p:cNvPr id="15" name="Grafik 42">
            <a:extLst>
              <a:ext uri="{FF2B5EF4-FFF2-40B4-BE49-F238E27FC236}">
                <a16:creationId xmlns:a16="http://schemas.microsoft.com/office/drawing/2014/main" id="{EF8C94CA-CA37-0C7D-55C1-27DA1570CE42}"/>
              </a:ext>
            </a:extLst>
          </p:cNvPr>
          <p:cNvGrpSpPr>
            <a:grpSpLocks noChangeAspect="1"/>
          </p:cNvGrpSpPr>
          <p:nvPr/>
        </p:nvGrpSpPr>
        <p:grpSpPr>
          <a:xfrm>
            <a:off x="6888080" y="1863048"/>
            <a:ext cx="360000" cy="360000"/>
            <a:chOff x="1890251" y="3930400"/>
            <a:chExt cx="540000" cy="540000"/>
          </a:xfrm>
          <a:solidFill>
            <a:schemeClr val="accent1"/>
          </a:solidFill>
        </p:grpSpPr>
        <p:grpSp>
          <p:nvGrpSpPr>
            <p:cNvPr id="16" name="Grafik 42">
              <a:extLst>
                <a:ext uri="{FF2B5EF4-FFF2-40B4-BE49-F238E27FC236}">
                  <a16:creationId xmlns:a16="http://schemas.microsoft.com/office/drawing/2014/main" id="{03B3ECF9-B1ED-478C-1868-7FA5DF34133C}"/>
                </a:ext>
              </a:extLst>
            </p:cNvPr>
            <p:cNvGrpSpPr/>
            <p:nvPr/>
          </p:nvGrpSpPr>
          <p:grpSpPr>
            <a:xfrm>
              <a:off x="1890251" y="3930400"/>
              <a:ext cx="539429" cy="538859"/>
              <a:chOff x="1890251" y="3930400"/>
              <a:chExt cx="539429" cy="538859"/>
            </a:xfrm>
            <a:grpFill/>
          </p:grpSpPr>
          <p:grpSp>
            <p:nvGrpSpPr>
              <p:cNvPr id="17" name="Grafik 42">
                <a:extLst>
                  <a:ext uri="{FF2B5EF4-FFF2-40B4-BE49-F238E27FC236}">
                    <a16:creationId xmlns:a16="http://schemas.microsoft.com/office/drawing/2014/main" id="{6DF9570D-2558-F661-0D6C-CDF8B3E6144C}"/>
                  </a:ext>
                </a:extLst>
              </p:cNvPr>
              <p:cNvGrpSpPr/>
              <p:nvPr/>
            </p:nvGrpSpPr>
            <p:grpSpPr>
              <a:xfrm>
                <a:off x="1890251" y="4151914"/>
                <a:ext cx="539429" cy="317345"/>
                <a:chOff x="1890251" y="4151914"/>
                <a:chExt cx="539429" cy="317345"/>
              </a:xfrm>
              <a:grpFill/>
            </p:grpSpPr>
            <p:sp>
              <p:nvSpPr>
                <p:cNvPr id="18" name="Freihandform: Form 17">
                  <a:extLst>
                    <a:ext uri="{FF2B5EF4-FFF2-40B4-BE49-F238E27FC236}">
                      <a16:creationId xmlns:a16="http://schemas.microsoft.com/office/drawing/2014/main" id="{34738C55-5FE3-0084-4EBF-DCCEF9181DA2}"/>
                    </a:ext>
                  </a:extLst>
                </p:cNvPr>
                <p:cNvSpPr/>
                <p:nvPr/>
              </p:nvSpPr>
              <p:spPr>
                <a:xfrm>
                  <a:off x="2014032" y="4381984"/>
                  <a:ext cx="52098" cy="52098"/>
                </a:xfrm>
                <a:custGeom>
                  <a:avLst/>
                  <a:gdLst>
                    <a:gd name="connsiteX0" fmla="*/ 26049 w 52098"/>
                    <a:gd name="connsiteY0" fmla="*/ 0 h 52098"/>
                    <a:gd name="connsiteX1" fmla="*/ 0 w 52098"/>
                    <a:gd name="connsiteY1" fmla="*/ 26049 h 52098"/>
                    <a:gd name="connsiteX2" fmla="*/ 26049 w 52098"/>
                    <a:gd name="connsiteY2" fmla="*/ 52099 h 52098"/>
                    <a:gd name="connsiteX3" fmla="*/ 52099 w 52098"/>
                    <a:gd name="connsiteY3" fmla="*/ 26049 h 52098"/>
                    <a:gd name="connsiteX4" fmla="*/ 26049 w 52098"/>
                    <a:gd name="connsiteY4" fmla="*/ 0 h 52098"/>
                    <a:gd name="connsiteX5" fmla="*/ 26049 w 52098"/>
                    <a:gd name="connsiteY5" fmla="*/ 35366 h 52098"/>
                    <a:gd name="connsiteX6" fmla="*/ 16732 w 52098"/>
                    <a:gd name="connsiteY6" fmla="*/ 26049 h 52098"/>
                    <a:gd name="connsiteX7" fmla="*/ 26049 w 52098"/>
                    <a:gd name="connsiteY7" fmla="*/ 16732 h 52098"/>
                    <a:gd name="connsiteX8" fmla="*/ 35366 w 52098"/>
                    <a:gd name="connsiteY8" fmla="*/ 26049 h 52098"/>
                    <a:gd name="connsiteX9" fmla="*/ 26049 w 52098"/>
                    <a:gd name="connsiteY9" fmla="*/ 35366 h 52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098" h="52098">
                      <a:moveTo>
                        <a:pt x="26049" y="0"/>
                      </a:moveTo>
                      <a:cubicBezTo>
                        <a:pt x="11789" y="0"/>
                        <a:pt x="0" y="11599"/>
                        <a:pt x="0" y="26049"/>
                      </a:cubicBezTo>
                      <a:cubicBezTo>
                        <a:pt x="0" y="40310"/>
                        <a:pt x="11599" y="52099"/>
                        <a:pt x="26049" y="52099"/>
                      </a:cubicBezTo>
                      <a:cubicBezTo>
                        <a:pt x="40310" y="52099"/>
                        <a:pt x="52099" y="40500"/>
                        <a:pt x="52099" y="26049"/>
                      </a:cubicBezTo>
                      <a:cubicBezTo>
                        <a:pt x="51908" y="11789"/>
                        <a:pt x="40310" y="0"/>
                        <a:pt x="26049" y="0"/>
                      </a:cubicBezTo>
                      <a:close/>
                      <a:moveTo>
                        <a:pt x="26049" y="35366"/>
                      </a:moveTo>
                      <a:cubicBezTo>
                        <a:pt x="20915" y="35366"/>
                        <a:pt x="16732" y="31183"/>
                        <a:pt x="16732" y="26049"/>
                      </a:cubicBezTo>
                      <a:cubicBezTo>
                        <a:pt x="16732" y="20915"/>
                        <a:pt x="20915" y="16732"/>
                        <a:pt x="26049" y="16732"/>
                      </a:cubicBezTo>
                      <a:cubicBezTo>
                        <a:pt x="31183" y="16732"/>
                        <a:pt x="35366" y="20915"/>
                        <a:pt x="35366" y="26049"/>
                      </a:cubicBezTo>
                      <a:cubicBezTo>
                        <a:pt x="35366" y="31183"/>
                        <a:pt x="31183" y="35366"/>
                        <a:pt x="26049" y="35366"/>
                      </a:cubicBezTo>
                      <a:close/>
                    </a:path>
                  </a:pathLst>
                </a:custGeom>
                <a:grpFill/>
                <a:ln w="1878" cap="flat">
                  <a:noFill/>
                  <a:prstDash val="solid"/>
                  <a:miter/>
                </a:ln>
              </p:spPr>
              <p:txBody>
                <a:bodyPr rtlCol="0" anchor="ctr"/>
                <a:lstStyle/>
                <a:p>
                  <a:endParaRPr lang="en-GB" noProof="0" dirty="0"/>
                </a:p>
              </p:txBody>
            </p:sp>
            <p:sp>
              <p:nvSpPr>
                <p:cNvPr id="20" name="Freihandform: Form 19">
                  <a:extLst>
                    <a:ext uri="{FF2B5EF4-FFF2-40B4-BE49-F238E27FC236}">
                      <a16:creationId xmlns:a16="http://schemas.microsoft.com/office/drawing/2014/main" id="{2B237134-EED3-5DED-A39F-3F7A6FE64777}"/>
                    </a:ext>
                  </a:extLst>
                </p:cNvPr>
                <p:cNvSpPr/>
                <p:nvPr/>
              </p:nvSpPr>
              <p:spPr>
                <a:xfrm>
                  <a:off x="2288786" y="4381984"/>
                  <a:ext cx="52098" cy="52098"/>
                </a:xfrm>
                <a:custGeom>
                  <a:avLst/>
                  <a:gdLst>
                    <a:gd name="connsiteX0" fmla="*/ 26049 w 52098"/>
                    <a:gd name="connsiteY0" fmla="*/ 0 h 52098"/>
                    <a:gd name="connsiteX1" fmla="*/ 0 w 52098"/>
                    <a:gd name="connsiteY1" fmla="*/ 26049 h 52098"/>
                    <a:gd name="connsiteX2" fmla="*/ 26049 w 52098"/>
                    <a:gd name="connsiteY2" fmla="*/ 52099 h 52098"/>
                    <a:gd name="connsiteX3" fmla="*/ 52099 w 52098"/>
                    <a:gd name="connsiteY3" fmla="*/ 26049 h 52098"/>
                    <a:gd name="connsiteX4" fmla="*/ 26049 w 52098"/>
                    <a:gd name="connsiteY4" fmla="*/ 0 h 52098"/>
                    <a:gd name="connsiteX5" fmla="*/ 26049 w 52098"/>
                    <a:gd name="connsiteY5" fmla="*/ 35366 h 52098"/>
                    <a:gd name="connsiteX6" fmla="*/ 16732 w 52098"/>
                    <a:gd name="connsiteY6" fmla="*/ 26049 h 52098"/>
                    <a:gd name="connsiteX7" fmla="*/ 26049 w 52098"/>
                    <a:gd name="connsiteY7" fmla="*/ 16732 h 52098"/>
                    <a:gd name="connsiteX8" fmla="*/ 35366 w 52098"/>
                    <a:gd name="connsiteY8" fmla="*/ 26049 h 52098"/>
                    <a:gd name="connsiteX9" fmla="*/ 26049 w 52098"/>
                    <a:gd name="connsiteY9" fmla="*/ 35366 h 52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098" h="52098">
                      <a:moveTo>
                        <a:pt x="26049" y="0"/>
                      </a:moveTo>
                      <a:cubicBezTo>
                        <a:pt x="11789" y="0"/>
                        <a:pt x="0" y="11599"/>
                        <a:pt x="0" y="26049"/>
                      </a:cubicBezTo>
                      <a:cubicBezTo>
                        <a:pt x="0" y="40310"/>
                        <a:pt x="11599" y="52099"/>
                        <a:pt x="26049" y="52099"/>
                      </a:cubicBezTo>
                      <a:cubicBezTo>
                        <a:pt x="40310" y="52099"/>
                        <a:pt x="52099" y="40500"/>
                        <a:pt x="52099" y="26049"/>
                      </a:cubicBezTo>
                      <a:cubicBezTo>
                        <a:pt x="51908" y="11789"/>
                        <a:pt x="40310" y="0"/>
                        <a:pt x="26049" y="0"/>
                      </a:cubicBezTo>
                      <a:close/>
                      <a:moveTo>
                        <a:pt x="26049" y="35366"/>
                      </a:moveTo>
                      <a:cubicBezTo>
                        <a:pt x="20915" y="35366"/>
                        <a:pt x="16732" y="31183"/>
                        <a:pt x="16732" y="26049"/>
                      </a:cubicBezTo>
                      <a:cubicBezTo>
                        <a:pt x="16732" y="20915"/>
                        <a:pt x="20915" y="16732"/>
                        <a:pt x="26049" y="16732"/>
                      </a:cubicBezTo>
                      <a:cubicBezTo>
                        <a:pt x="31183" y="16732"/>
                        <a:pt x="35366" y="20915"/>
                        <a:pt x="35366" y="26049"/>
                      </a:cubicBezTo>
                      <a:cubicBezTo>
                        <a:pt x="35366" y="31183"/>
                        <a:pt x="31183" y="35366"/>
                        <a:pt x="26049" y="35366"/>
                      </a:cubicBezTo>
                      <a:close/>
                    </a:path>
                  </a:pathLst>
                </a:custGeom>
                <a:grpFill/>
                <a:ln w="1878" cap="flat">
                  <a:noFill/>
                  <a:prstDash val="solid"/>
                  <a:miter/>
                </a:ln>
              </p:spPr>
              <p:txBody>
                <a:bodyPr rtlCol="0" anchor="ctr"/>
                <a:lstStyle/>
                <a:p>
                  <a:endParaRPr lang="en-GB" noProof="0" dirty="0"/>
                </a:p>
              </p:txBody>
            </p:sp>
            <p:sp>
              <p:nvSpPr>
                <p:cNvPr id="22" name="Freihandform: Form 21">
                  <a:extLst>
                    <a:ext uri="{FF2B5EF4-FFF2-40B4-BE49-F238E27FC236}">
                      <a16:creationId xmlns:a16="http://schemas.microsoft.com/office/drawing/2014/main" id="{593515F9-CD04-1A32-5173-9229C999F721}"/>
                    </a:ext>
                  </a:extLst>
                </p:cNvPr>
                <p:cNvSpPr/>
                <p:nvPr/>
              </p:nvSpPr>
              <p:spPr>
                <a:xfrm>
                  <a:off x="1890251" y="4151914"/>
                  <a:ext cx="539429" cy="317345"/>
                </a:xfrm>
                <a:custGeom>
                  <a:avLst/>
                  <a:gdLst>
                    <a:gd name="connsiteX0" fmla="*/ 530113 w 539429"/>
                    <a:gd name="connsiteY0" fmla="*/ 214669 h 317345"/>
                    <a:gd name="connsiteX1" fmla="*/ 530113 w 539429"/>
                    <a:gd name="connsiteY1" fmla="*/ 150782 h 317345"/>
                    <a:gd name="connsiteX2" fmla="*/ 524218 w 539429"/>
                    <a:gd name="connsiteY2" fmla="*/ 128725 h 317345"/>
                    <a:gd name="connsiteX3" fmla="*/ 477254 w 539429"/>
                    <a:gd name="connsiteY3" fmla="*/ 48296 h 317345"/>
                    <a:gd name="connsiteX4" fmla="*/ 439606 w 539429"/>
                    <a:gd name="connsiteY4" fmla="*/ 26620 h 317345"/>
                    <a:gd name="connsiteX5" fmla="*/ 380282 w 539429"/>
                    <a:gd name="connsiteY5" fmla="*/ 26620 h 317345"/>
                    <a:gd name="connsiteX6" fmla="*/ 363169 w 539429"/>
                    <a:gd name="connsiteY6" fmla="*/ 43732 h 317345"/>
                    <a:gd name="connsiteX7" fmla="*/ 363169 w 539429"/>
                    <a:gd name="connsiteY7" fmla="*/ 194704 h 317345"/>
                    <a:gd name="connsiteX8" fmla="*/ 344345 w 539429"/>
                    <a:gd name="connsiteY8" fmla="*/ 194704 h 317345"/>
                    <a:gd name="connsiteX9" fmla="*/ 344345 w 539429"/>
                    <a:gd name="connsiteY9" fmla="*/ 26049 h 317345"/>
                    <a:gd name="connsiteX10" fmla="*/ 318296 w 539429"/>
                    <a:gd name="connsiteY10" fmla="*/ 0 h 317345"/>
                    <a:gd name="connsiteX11" fmla="*/ 26049 w 539429"/>
                    <a:gd name="connsiteY11" fmla="*/ 0 h 317345"/>
                    <a:gd name="connsiteX12" fmla="*/ 0 w 539429"/>
                    <a:gd name="connsiteY12" fmla="*/ 26049 h 317345"/>
                    <a:gd name="connsiteX13" fmla="*/ 0 w 539429"/>
                    <a:gd name="connsiteY13" fmla="*/ 238246 h 317345"/>
                    <a:gd name="connsiteX14" fmla="*/ 26049 w 539429"/>
                    <a:gd name="connsiteY14" fmla="*/ 264296 h 317345"/>
                    <a:gd name="connsiteX15" fmla="*/ 89176 w 539429"/>
                    <a:gd name="connsiteY15" fmla="*/ 264296 h 317345"/>
                    <a:gd name="connsiteX16" fmla="*/ 150021 w 539429"/>
                    <a:gd name="connsiteY16" fmla="*/ 317345 h 317345"/>
                    <a:gd name="connsiteX17" fmla="*/ 210866 w 539429"/>
                    <a:gd name="connsiteY17" fmla="*/ 264296 h 317345"/>
                    <a:gd name="connsiteX18" fmla="*/ 364120 w 539429"/>
                    <a:gd name="connsiteY18" fmla="*/ 264296 h 317345"/>
                    <a:gd name="connsiteX19" fmla="*/ 424965 w 539429"/>
                    <a:gd name="connsiteY19" fmla="*/ 317345 h 317345"/>
                    <a:gd name="connsiteX20" fmla="*/ 485810 w 539429"/>
                    <a:gd name="connsiteY20" fmla="*/ 264296 h 317345"/>
                    <a:gd name="connsiteX21" fmla="*/ 522317 w 539429"/>
                    <a:gd name="connsiteY21" fmla="*/ 264296 h 317345"/>
                    <a:gd name="connsiteX22" fmla="*/ 539430 w 539429"/>
                    <a:gd name="connsiteY22" fmla="*/ 247183 h 317345"/>
                    <a:gd name="connsiteX23" fmla="*/ 539430 w 539429"/>
                    <a:gd name="connsiteY23" fmla="*/ 229500 h 317345"/>
                    <a:gd name="connsiteX24" fmla="*/ 530113 w 539429"/>
                    <a:gd name="connsiteY24" fmla="*/ 214669 h 317345"/>
                    <a:gd name="connsiteX25" fmla="*/ 16542 w 539429"/>
                    <a:gd name="connsiteY25" fmla="*/ 175880 h 317345"/>
                    <a:gd name="connsiteX26" fmla="*/ 35366 w 539429"/>
                    <a:gd name="connsiteY26" fmla="*/ 175880 h 317345"/>
                    <a:gd name="connsiteX27" fmla="*/ 35366 w 539429"/>
                    <a:gd name="connsiteY27" fmla="*/ 202880 h 317345"/>
                    <a:gd name="connsiteX28" fmla="*/ 26049 w 539429"/>
                    <a:gd name="connsiteY28" fmla="*/ 212197 h 317345"/>
                    <a:gd name="connsiteX29" fmla="*/ 16542 w 539429"/>
                    <a:gd name="connsiteY29" fmla="*/ 212197 h 317345"/>
                    <a:gd name="connsiteX30" fmla="*/ 16542 w 539429"/>
                    <a:gd name="connsiteY30" fmla="*/ 175880 h 317345"/>
                    <a:gd name="connsiteX31" fmla="*/ 149831 w 539429"/>
                    <a:gd name="connsiteY31" fmla="*/ 300803 h 317345"/>
                    <a:gd name="connsiteX32" fmla="*/ 105148 w 539429"/>
                    <a:gd name="connsiteY32" fmla="*/ 256120 h 317345"/>
                    <a:gd name="connsiteX33" fmla="*/ 105148 w 539429"/>
                    <a:gd name="connsiteY33" fmla="*/ 256120 h 317345"/>
                    <a:gd name="connsiteX34" fmla="*/ 105148 w 539429"/>
                    <a:gd name="connsiteY34" fmla="*/ 256120 h 317345"/>
                    <a:gd name="connsiteX35" fmla="*/ 149831 w 539429"/>
                    <a:gd name="connsiteY35" fmla="*/ 211437 h 317345"/>
                    <a:gd name="connsiteX36" fmla="*/ 194704 w 539429"/>
                    <a:gd name="connsiteY36" fmla="*/ 256120 h 317345"/>
                    <a:gd name="connsiteX37" fmla="*/ 149831 w 539429"/>
                    <a:gd name="connsiteY37" fmla="*/ 300803 h 317345"/>
                    <a:gd name="connsiteX38" fmla="*/ 327803 w 539429"/>
                    <a:gd name="connsiteY38" fmla="*/ 247754 h 317345"/>
                    <a:gd name="connsiteX39" fmla="*/ 210486 w 539429"/>
                    <a:gd name="connsiteY39" fmla="*/ 247754 h 317345"/>
                    <a:gd name="connsiteX40" fmla="*/ 149641 w 539429"/>
                    <a:gd name="connsiteY40" fmla="*/ 194704 h 317345"/>
                    <a:gd name="connsiteX41" fmla="*/ 88796 w 539429"/>
                    <a:gd name="connsiteY41" fmla="*/ 247754 h 317345"/>
                    <a:gd name="connsiteX42" fmla="*/ 26049 w 539429"/>
                    <a:gd name="connsiteY42" fmla="*/ 247754 h 317345"/>
                    <a:gd name="connsiteX43" fmla="*/ 16732 w 539429"/>
                    <a:gd name="connsiteY43" fmla="*/ 238437 h 317345"/>
                    <a:gd name="connsiteX44" fmla="*/ 16732 w 539429"/>
                    <a:gd name="connsiteY44" fmla="*/ 229120 h 317345"/>
                    <a:gd name="connsiteX45" fmla="*/ 26049 w 539429"/>
                    <a:gd name="connsiteY45" fmla="*/ 229120 h 317345"/>
                    <a:gd name="connsiteX46" fmla="*/ 52099 w 539429"/>
                    <a:gd name="connsiteY46" fmla="*/ 203070 h 317345"/>
                    <a:gd name="connsiteX47" fmla="*/ 52099 w 539429"/>
                    <a:gd name="connsiteY47" fmla="*/ 167704 h 317345"/>
                    <a:gd name="connsiteX48" fmla="*/ 43732 w 539429"/>
                    <a:gd name="connsiteY48" fmla="*/ 159338 h 317345"/>
                    <a:gd name="connsiteX49" fmla="*/ 16542 w 539429"/>
                    <a:gd name="connsiteY49" fmla="*/ 159338 h 317345"/>
                    <a:gd name="connsiteX50" fmla="*/ 16542 w 539429"/>
                    <a:gd name="connsiteY50" fmla="*/ 26049 h 317345"/>
                    <a:gd name="connsiteX51" fmla="*/ 25859 w 539429"/>
                    <a:gd name="connsiteY51" fmla="*/ 16732 h 317345"/>
                    <a:gd name="connsiteX52" fmla="*/ 318296 w 539429"/>
                    <a:gd name="connsiteY52" fmla="*/ 16732 h 317345"/>
                    <a:gd name="connsiteX53" fmla="*/ 327613 w 539429"/>
                    <a:gd name="connsiteY53" fmla="*/ 26049 h 317345"/>
                    <a:gd name="connsiteX54" fmla="*/ 327613 w 539429"/>
                    <a:gd name="connsiteY54" fmla="*/ 247754 h 317345"/>
                    <a:gd name="connsiteX55" fmla="*/ 363169 w 539429"/>
                    <a:gd name="connsiteY55" fmla="*/ 247754 h 317345"/>
                    <a:gd name="connsiteX56" fmla="*/ 344345 w 539429"/>
                    <a:gd name="connsiteY56" fmla="*/ 247754 h 317345"/>
                    <a:gd name="connsiteX57" fmla="*/ 344345 w 539429"/>
                    <a:gd name="connsiteY57" fmla="*/ 211246 h 317345"/>
                    <a:gd name="connsiteX58" fmla="*/ 363169 w 539429"/>
                    <a:gd name="connsiteY58" fmla="*/ 211246 h 317345"/>
                    <a:gd name="connsiteX59" fmla="*/ 363169 w 539429"/>
                    <a:gd name="connsiteY59" fmla="*/ 247754 h 317345"/>
                    <a:gd name="connsiteX60" fmla="*/ 379711 w 539429"/>
                    <a:gd name="connsiteY60" fmla="*/ 43923 h 317345"/>
                    <a:gd name="connsiteX61" fmla="*/ 380282 w 539429"/>
                    <a:gd name="connsiteY61" fmla="*/ 43352 h 317345"/>
                    <a:gd name="connsiteX62" fmla="*/ 439606 w 539429"/>
                    <a:gd name="connsiteY62" fmla="*/ 43352 h 317345"/>
                    <a:gd name="connsiteX63" fmla="*/ 462993 w 539429"/>
                    <a:gd name="connsiteY63" fmla="*/ 56852 h 317345"/>
                    <a:gd name="connsiteX64" fmla="*/ 466035 w 539429"/>
                    <a:gd name="connsiteY64" fmla="*/ 62176 h 317345"/>
                    <a:gd name="connsiteX65" fmla="*/ 379711 w 539429"/>
                    <a:gd name="connsiteY65" fmla="*/ 62176 h 317345"/>
                    <a:gd name="connsiteX66" fmla="*/ 379711 w 539429"/>
                    <a:gd name="connsiteY66" fmla="*/ 43923 h 317345"/>
                    <a:gd name="connsiteX67" fmla="*/ 379711 w 539429"/>
                    <a:gd name="connsiteY67" fmla="*/ 78718 h 317345"/>
                    <a:gd name="connsiteX68" fmla="*/ 475732 w 539429"/>
                    <a:gd name="connsiteY68" fmla="*/ 78718 h 317345"/>
                    <a:gd name="connsiteX69" fmla="*/ 509768 w 539429"/>
                    <a:gd name="connsiteY69" fmla="*/ 137092 h 317345"/>
                    <a:gd name="connsiteX70" fmla="*/ 513380 w 539429"/>
                    <a:gd name="connsiteY70" fmla="*/ 150782 h 317345"/>
                    <a:gd name="connsiteX71" fmla="*/ 513380 w 539429"/>
                    <a:gd name="connsiteY71" fmla="*/ 159528 h 317345"/>
                    <a:gd name="connsiteX72" fmla="*/ 497218 w 539429"/>
                    <a:gd name="connsiteY72" fmla="*/ 159528 h 317345"/>
                    <a:gd name="connsiteX73" fmla="*/ 484289 w 539429"/>
                    <a:gd name="connsiteY73" fmla="*/ 154204 h 317345"/>
                    <a:gd name="connsiteX74" fmla="*/ 473261 w 539429"/>
                    <a:gd name="connsiteY74" fmla="*/ 143176 h 317345"/>
                    <a:gd name="connsiteX75" fmla="*/ 448732 w 539429"/>
                    <a:gd name="connsiteY75" fmla="*/ 132908 h 317345"/>
                    <a:gd name="connsiteX76" fmla="*/ 379521 w 539429"/>
                    <a:gd name="connsiteY76" fmla="*/ 132908 h 317345"/>
                    <a:gd name="connsiteX77" fmla="*/ 379521 w 539429"/>
                    <a:gd name="connsiteY77" fmla="*/ 78718 h 317345"/>
                    <a:gd name="connsiteX78" fmla="*/ 424585 w 539429"/>
                    <a:gd name="connsiteY78" fmla="*/ 300803 h 317345"/>
                    <a:gd name="connsiteX79" fmla="*/ 379901 w 539429"/>
                    <a:gd name="connsiteY79" fmla="*/ 255930 h 317345"/>
                    <a:gd name="connsiteX80" fmla="*/ 424585 w 539429"/>
                    <a:gd name="connsiteY80" fmla="*/ 211246 h 317345"/>
                    <a:gd name="connsiteX81" fmla="*/ 469268 w 539429"/>
                    <a:gd name="connsiteY81" fmla="*/ 255930 h 317345"/>
                    <a:gd name="connsiteX82" fmla="*/ 424585 w 539429"/>
                    <a:gd name="connsiteY82" fmla="*/ 300803 h 317345"/>
                    <a:gd name="connsiteX83" fmla="*/ 486951 w 539429"/>
                    <a:gd name="connsiteY83" fmla="*/ 229500 h 317345"/>
                    <a:gd name="connsiteX84" fmla="*/ 486951 w 539429"/>
                    <a:gd name="connsiteY84" fmla="*/ 247754 h 317345"/>
                    <a:gd name="connsiteX85" fmla="*/ 485239 w 539429"/>
                    <a:gd name="connsiteY85" fmla="*/ 247754 h 317345"/>
                    <a:gd name="connsiteX86" fmla="*/ 424394 w 539429"/>
                    <a:gd name="connsiteY86" fmla="*/ 194704 h 317345"/>
                    <a:gd name="connsiteX87" fmla="*/ 379711 w 539429"/>
                    <a:gd name="connsiteY87" fmla="*/ 214099 h 317345"/>
                    <a:gd name="connsiteX88" fmla="*/ 379711 w 539429"/>
                    <a:gd name="connsiteY88" fmla="*/ 149261 h 317345"/>
                    <a:gd name="connsiteX89" fmla="*/ 448923 w 539429"/>
                    <a:gd name="connsiteY89" fmla="*/ 149261 h 317345"/>
                    <a:gd name="connsiteX90" fmla="*/ 461852 w 539429"/>
                    <a:gd name="connsiteY90" fmla="*/ 154585 h 317345"/>
                    <a:gd name="connsiteX91" fmla="*/ 472880 w 539429"/>
                    <a:gd name="connsiteY91" fmla="*/ 165613 h 317345"/>
                    <a:gd name="connsiteX92" fmla="*/ 497408 w 539429"/>
                    <a:gd name="connsiteY92" fmla="*/ 175880 h 317345"/>
                    <a:gd name="connsiteX93" fmla="*/ 513570 w 539429"/>
                    <a:gd name="connsiteY93" fmla="*/ 175880 h 317345"/>
                    <a:gd name="connsiteX94" fmla="*/ 513570 w 539429"/>
                    <a:gd name="connsiteY94" fmla="*/ 212387 h 317345"/>
                    <a:gd name="connsiteX95" fmla="*/ 504254 w 539429"/>
                    <a:gd name="connsiteY95" fmla="*/ 212387 h 317345"/>
                    <a:gd name="connsiteX96" fmla="*/ 486951 w 539429"/>
                    <a:gd name="connsiteY96" fmla="*/ 229500 h 317345"/>
                    <a:gd name="connsiteX97" fmla="*/ 522317 w 539429"/>
                    <a:gd name="connsiteY97" fmla="*/ 247183 h 317345"/>
                    <a:gd name="connsiteX98" fmla="*/ 521746 w 539429"/>
                    <a:gd name="connsiteY98" fmla="*/ 247754 h 317345"/>
                    <a:gd name="connsiteX99" fmla="*/ 503493 w 539429"/>
                    <a:gd name="connsiteY99" fmla="*/ 247754 h 317345"/>
                    <a:gd name="connsiteX100" fmla="*/ 503493 w 539429"/>
                    <a:gd name="connsiteY100" fmla="*/ 229500 h 317345"/>
                    <a:gd name="connsiteX101" fmla="*/ 504063 w 539429"/>
                    <a:gd name="connsiteY101" fmla="*/ 228930 h 317345"/>
                    <a:gd name="connsiteX102" fmla="*/ 521746 w 539429"/>
                    <a:gd name="connsiteY102" fmla="*/ 228930 h 317345"/>
                    <a:gd name="connsiteX103" fmla="*/ 522317 w 539429"/>
                    <a:gd name="connsiteY103" fmla="*/ 229500 h 317345"/>
                    <a:gd name="connsiteX104" fmla="*/ 522317 w 539429"/>
                    <a:gd name="connsiteY104" fmla="*/ 247183 h 317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539429" h="317345">
                      <a:moveTo>
                        <a:pt x="530113" y="214669"/>
                      </a:moveTo>
                      <a:lnTo>
                        <a:pt x="530113" y="150782"/>
                      </a:lnTo>
                      <a:cubicBezTo>
                        <a:pt x="530113" y="142986"/>
                        <a:pt x="528021" y="135380"/>
                        <a:pt x="524218" y="128725"/>
                      </a:cubicBezTo>
                      <a:lnTo>
                        <a:pt x="477254" y="48296"/>
                      </a:lnTo>
                      <a:cubicBezTo>
                        <a:pt x="469458" y="34986"/>
                        <a:pt x="455007" y="26620"/>
                        <a:pt x="439606" y="26620"/>
                      </a:cubicBezTo>
                      <a:lnTo>
                        <a:pt x="380282" y="26620"/>
                      </a:lnTo>
                      <a:cubicBezTo>
                        <a:pt x="370775" y="26620"/>
                        <a:pt x="363169" y="34225"/>
                        <a:pt x="363169" y="43732"/>
                      </a:cubicBezTo>
                      <a:lnTo>
                        <a:pt x="363169" y="194704"/>
                      </a:lnTo>
                      <a:lnTo>
                        <a:pt x="344345" y="194704"/>
                      </a:lnTo>
                      <a:lnTo>
                        <a:pt x="344345" y="26049"/>
                      </a:lnTo>
                      <a:cubicBezTo>
                        <a:pt x="344345" y="11789"/>
                        <a:pt x="332746" y="0"/>
                        <a:pt x="318296" y="0"/>
                      </a:cubicBezTo>
                      <a:lnTo>
                        <a:pt x="26049" y="0"/>
                      </a:lnTo>
                      <a:cubicBezTo>
                        <a:pt x="11789" y="0"/>
                        <a:pt x="0" y="11599"/>
                        <a:pt x="0" y="26049"/>
                      </a:cubicBezTo>
                      <a:lnTo>
                        <a:pt x="0" y="238246"/>
                      </a:lnTo>
                      <a:cubicBezTo>
                        <a:pt x="0" y="252507"/>
                        <a:pt x="11599" y="264296"/>
                        <a:pt x="26049" y="264296"/>
                      </a:cubicBezTo>
                      <a:lnTo>
                        <a:pt x="89176" y="264296"/>
                      </a:lnTo>
                      <a:cubicBezTo>
                        <a:pt x="93169" y="294148"/>
                        <a:pt x="118838" y="317345"/>
                        <a:pt x="150021" y="317345"/>
                      </a:cubicBezTo>
                      <a:cubicBezTo>
                        <a:pt x="181014" y="317345"/>
                        <a:pt x="206683" y="294148"/>
                        <a:pt x="210866" y="264296"/>
                      </a:cubicBezTo>
                      <a:lnTo>
                        <a:pt x="364120" y="264296"/>
                      </a:lnTo>
                      <a:cubicBezTo>
                        <a:pt x="368113" y="294148"/>
                        <a:pt x="393972" y="317345"/>
                        <a:pt x="424965" y="317345"/>
                      </a:cubicBezTo>
                      <a:cubicBezTo>
                        <a:pt x="455958" y="317345"/>
                        <a:pt x="481627" y="294148"/>
                        <a:pt x="485810" y="264296"/>
                      </a:cubicBezTo>
                      <a:lnTo>
                        <a:pt x="522317" y="264296"/>
                      </a:lnTo>
                      <a:cubicBezTo>
                        <a:pt x="531824" y="264296"/>
                        <a:pt x="539430" y="256690"/>
                        <a:pt x="539430" y="247183"/>
                      </a:cubicBezTo>
                      <a:lnTo>
                        <a:pt x="539430" y="229500"/>
                      </a:lnTo>
                      <a:cubicBezTo>
                        <a:pt x="539049" y="223225"/>
                        <a:pt x="535437" y="217521"/>
                        <a:pt x="530113" y="214669"/>
                      </a:cubicBezTo>
                      <a:close/>
                      <a:moveTo>
                        <a:pt x="16542" y="175880"/>
                      </a:moveTo>
                      <a:lnTo>
                        <a:pt x="35366" y="175880"/>
                      </a:lnTo>
                      <a:lnTo>
                        <a:pt x="35366" y="202880"/>
                      </a:lnTo>
                      <a:cubicBezTo>
                        <a:pt x="35366" y="208014"/>
                        <a:pt x="31183" y="212197"/>
                        <a:pt x="26049" y="212197"/>
                      </a:cubicBezTo>
                      <a:lnTo>
                        <a:pt x="16542" y="212197"/>
                      </a:lnTo>
                      <a:lnTo>
                        <a:pt x="16542" y="175880"/>
                      </a:lnTo>
                      <a:close/>
                      <a:moveTo>
                        <a:pt x="149831" y="300803"/>
                      </a:moveTo>
                      <a:cubicBezTo>
                        <a:pt x="125113" y="300803"/>
                        <a:pt x="105148" y="280648"/>
                        <a:pt x="105148" y="256120"/>
                      </a:cubicBezTo>
                      <a:lnTo>
                        <a:pt x="105148" y="256120"/>
                      </a:lnTo>
                      <a:lnTo>
                        <a:pt x="105148" y="256120"/>
                      </a:lnTo>
                      <a:cubicBezTo>
                        <a:pt x="105148" y="231401"/>
                        <a:pt x="125303" y="211437"/>
                        <a:pt x="149831" y="211437"/>
                      </a:cubicBezTo>
                      <a:cubicBezTo>
                        <a:pt x="174549" y="211437"/>
                        <a:pt x="194704" y="231592"/>
                        <a:pt x="194704" y="256120"/>
                      </a:cubicBezTo>
                      <a:cubicBezTo>
                        <a:pt x="194514" y="280838"/>
                        <a:pt x="174549" y="300803"/>
                        <a:pt x="149831" y="300803"/>
                      </a:cubicBezTo>
                      <a:close/>
                      <a:moveTo>
                        <a:pt x="327803" y="247754"/>
                      </a:moveTo>
                      <a:lnTo>
                        <a:pt x="210486" y="247754"/>
                      </a:lnTo>
                      <a:cubicBezTo>
                        <a:pt x="206493" y="217901"/>
                        <a:pt x="180634" y="194704"/>
                        <a:pt x="149641" y="194704"/>
                      </a:cubicBezTo>
                      <a:cubicBezTo>
                        <a:pt x="118648" y="194704"/>
                        <a:pt x="92979" y="217901"/>
                        <a:pt x="88796" y="247754"/>
                      </a:cubicBezTo>
                      <a:lnTo>
                        <a:pt x="26049" y="247754"/>
                      </a:lnTo>
                      <a:cubicBezTo>
                        <a:pt x="20915" y="247754"/>
                        <a:pt x="16732" y="243570"/>
                        <a:pt x="16732" y="238437"/>
                      </a:cubicBezTo>
                      <a:lnTo>
                        <a:pt x="16732" y="229120"/>
                      </a:lnTo>
                      <a:lnTo>
                        <a:pt x="26049" y="229120"/>
                      </a:lnTo>
                      <a:cubicBezTo>
                        <a:pt x="40310" y="229120"/>
                        <a:pt x="52099" y="217521"/>
                        <a:pt x="52099" y="203070"/>
                      </a:cubicBezTo>
                      <a:lnTo>
                        <a:pt x="52099" y="167704"/>
                      </a:lnTo>
                      <a:cubicBezTo>
                        <a:pt x="52099" y="163141"/>
                        <a:pt x="48296" y="159338"/>
                        <a:pt x="43732" y="159338"/>
                      </a:cubicBezTo>
                      <a:lnTo>
                        <a:pt x="16542" y="159338"/>
                      </a:lnTo>
                      <a:lnTo>
                        <a:pt x="16542" y="26049"/>
                      </a:lnTo>
                      <a:cubicBezTo>
                        <a:pt x="16542" y="20915"/>
                        <a:pt x="20725" y="16732"/>
                        <a:pt x="25859" y="16732"/>
                      </a:cubicBezTo>
                      <a:lnTo>
                        <a:pt x="318296" y="16732"/>
                      </a:lnTo>
                      <a:cubicBezTo>
                        <a:pt x="323430" y="16732"/>
                        <a:pt x="327613" y="20915"/>
                        <a:pt x="327613" y="26049"/>
                      </a:cubicBezTo>
                      <a:lnTo>
                        <a:pt x="327613" y="247754"/>
                      </a:lnTo>
                      <a:close/>
                      <a:moveTo>
                        <a:pt x="363169" y="247754"/>
                      </a:moveTo>
                      <a:lnTo>
                        <a:pt x="344345" y="247754"/>
                      </a:lnTo>
                      <a:lnTo>
                        <a:pt x="344345" y="211246"/>
                      </a:lnTo>
                      <a:lnTo>
                        <a:pt x="363169" y="211246"/>
                      </a:lnTo>
                      <a:lnTo>
                        <a:pt x="363169" y="247754"/>
                      </a:lnTo>
                      <a:close/>
                      <a:moveTo>
                        <a:pt x="379711" y="43923"/>
                      </a:moveTo>
                      <a:cubicBezTo>
                        <a:pt x="379711" y="43542"/>
                        <a:pt x="379901" y="43352"/>
                        <a:pt x="380282" y="43352"/>
                      </a:cubicBezTo>
                      <a:lnTo>
                        <a:pt x="439606" y="43352"/>
                      </a:lnTo>
                      <a:cubicBezTo>
                        <a:pt x="449303" y="43352"/>
                        <a:pt x="458239" y="48486"/>
                        <a:pt x="462993" y="56852"/>
                      </a:cubicBezTo>
                      <a:lnTo>
                        <a:pt x="466035" y="62176"/>
                      </a:lnTo>
                      <a:lnTo>
                        <a:pt x="379711" y="62176"/>
                      </a:lnTo>
                      <a:lnTo>
                        <a:pt x="379711" y="43923"/>
                      </a:lnTo>
                      <a:close/>
                      <a:moveTo>
                        <a:pt x="379711" y="78718"/>
                      </a:moveTo>
                      <a:lnTo>
                        <a:pt x="475732" y="78718"/>
                      </a:lnTo>
                      <a:lnTo>
                        <a:pt x="509768" y="137092"/>
                      </a:lnTo>
                      <a:cubicBezTo>
                        <a:pt x="512239" y="141275"/>
                        <a:pt x="513380" y="146028"/>
                        <a:pt x="513380" y="150782"/>
                      </a:cubicBezTo>
                      <a:lnTo>
                        <a:pt x="513380" y="159528"/>
                      </a:lnTo>
                      <a:lnTo>
                        <a:pt x="497218" y="159528"/>
                      </a:lnTo>
                      <a:cubicBezTo>
                        <a:pt x="492275" y="159528"/>
                        <a:pt x="487711" y="157627"/>
                        <a:pt x="484289" y="154204"/>
                      </a:cubicBezTo>
                      <a:lnTo>
                        <a:pt x="473261" y="143176"/>
                      </a:lnTo>
                      <a:cubicBezTo>
                        <a:pt x="466606" y="136521"/>
                        <a:pt x="457859" y="132908"/>
                        <a:pt x="448732" y="132908"/>
                      </a:cubicBezTo>
                      <a:lnTo>
                        <a:pt x="379521" y="132908"/>
                      </a:lnTo>
                      <a:lnTo>
                        <a:pt x="379521" y="78718"/>
                      </a:lnTo>
                      <a:close/>
                      <a:moveTo>
                        <a:pt x="424585" y="300803"/>
                      </a:moveTo>
                      <a:cubicBezTo>
                        <a:pt x="399866" y="300803"/>
                        <a:pt x="379901" y="280648"/>
                        <a:pt x="379901" y="255930"/>
                      </a:cubicBezTo>
                      <a:cubicBezTo>
                        <a:pt x="379901" y="231211"/>
                        <a:pt x="400056" y="211246"/>
                        <a:pt x="424585" y="211246"/>
                      </a:cubicBezTo>
                      <a:cubicBezTo>
                        <a:pt x="449303" y="211246"/>
                        <a:pt x="469268" y="231401"/>
                        <a:pt x="469268" y="255930"/>
                      </a:cubicBezTo>
                      <a:cubicBezTo>
                        <a:pt x="469268" y="280838"/>
                        <a:pt x="449303" y="300803"/>
                        <a:pt x="424585" y="300803"/>
                      </a:cubicBezTo>
                      <a:close/>
                      <a:moveTo>
                        <a:pt x="486951" y="229500"/>
                      </a:moveTo>
                      <a:lnTo>
                        <a:pt x="486951" y="247754"/>
                      </a:lnTo>
                      <a:lnTo>
                        <a:pt x="485239" y="247754"/>
                      </a:lnTo>
                      <a:cubicBezTo>
                        <a:pt x="481247" y="217901"/>
                        <a:pt x="455387" y="194704"/>
                        <a:pt x="424394" y="194704"/>
                      </a:cubicBezTo>
                      <a:cubicBezTo>
                        <a:pt x="406711" y="194704"/>
                        <a:pt x="390739" y="202120"/>
                        <a:pt x="379711" y="214099"/>
                      </a:cubicBezTo>
                      <a:lnTo>
                        <a:pt x="379711" y="149261"/>
                      </a:lnTo>
                      <a:lnTo>
                        <a:pt x="448923" y="149261"/>
                      </a:lnTo>
                      <a:cubicBezTo>
                        <a:pt x="453866" y="149261"/>
                        <a:pt x="458430" y="151162"/>
                        <a:pt x="461852" y="154585"/>
                      </a:cubicBezTo>
                      <a:lnTo>
                        <a:pt x="472880" y="165613"/>
                      </a:lnTo>
                      <a:cubicBezTo>
                        <a:pt x="479535" y="172268"/>
                        <a:pt x="488282" y="175880"/>
                        <a:pt x="497408" y="175880"/>
                      </a:cubicBezTo>
                      <a:lnTo>
                        <a:pt x="513570" y="175880"/>
                      </a:lnTo>
                      <a:lnTo>
                        <a:pt x="513570" y="212387"/>
                      </a:lnTo>
                      <a:lnTo>
                        <a:pt x="504254" y="212387"/>
                      </a:lnTo>
                      <a:cubicBezTo>
                        <a:pt x="494747" y="212387"/>
                        <a:pt x="486951" y="220183"/>
                        <a:pt x="486951" y="229500"/>
                      </a:cubicBezTo>
                      <a:close/>
                      <a:moveTo>
                        <a:pt x="522317" y="247183"/>
                      </a:moveTo>
                      <a:cubicBezTo>
                        <a:pt x="522317" y="247563"/>
                        <a:pt x="522127" y="247754"/>
                        <a:pt x="521746" y="247754"/>
                      </a:cubicBezTo>
                      <a:lnTo>
                        <a:pt x="503493" y="247754"/>
                      </a:lnTo>
                      <a:lnTo>
                        <a:pt x="503493" y="229500"/>
                      </a:lnTo>
                      <a:cubicBezTo>
                        <a:pt x="503493" y="229120"/>
                        <a:pt x="503683" y="228930"/>
                        <a:pt x="504063" y="228930"/>
                      </a:cubicBezTo>
                      <a:lnTo>
                        <a:pt x="521746" y="228930"/>
                      </a:lnTo>
                      <a:cubicBezTo>
                        <a:pt x="522127" y="228930"/>
                        <a:pt x="522317" y="229120"/>
                        <a:pt x="522317" y="229500"/>
                      </a:cubicBezTo>
                      <a:lnTo>
                        <a:pt x="522317" y="247183"/>
                      </a:lnTo>
                      <a:close/>
                    </a:path>
                  </a:pathLst>
                </a:custGeom>
                <a:grpFill/>
                <a:ln w="1878" cap="flat">
                  <a:noFill/>
                  <a:prstDash val="solid"/>
                  <a:miter/>
                </a:ln>
              </p:spPr>
              <p:txBody>
                <a:bodyPr rtlCol="0" anchor="ctr"/>
                <a:lstStyle/>
                <a:p>
                  <a:endParaRPr lang="en-GB" noProof="0" dirty="0"/>
                </a:p>
              </p:txBody>
            </p:sp>
          </p:grpSp>
        </p:grpSp>
      </p:grpSp>
      <p:grpSp>
        <p:nvGrpSpPr>
          <p:cNvPr id="28" name="Gruppieren 27">
            <a:extLst>
              <a:ext uri="{FF2B5EF4-FFF2-40B4-BE49-F238E27FC236}">
                <a16:creationId xmlns:a16="http://schemas.microsoft.com/office/drawing/2014/main" id="{E8F2ED2D-DFCE-CA44-B40C-0E60A93D7052}"/>
              </a:ext>
            </a:extLst>
          </p:cNvPr>
          <p:cNvGrpSpPr/>
          <p:nvPr/>
        </p:nvGrpSpPr>
        <p:grpSpPr>
          <a:xfrm>
            <a:off x="5975737" y="1974442"/>
            <a:ext cx="525837" cy="273398"/>
            <a:chOff x="5975737" y="2528742"/>
            <a:chExt cx="525837" cy="273398"/>
          </a:xfrm>
        </p:grpSpPr>
        <p:grpSp>
          <p:nvGrpSpPr>
            <p:cNvPr id="27" name="Gruppieren 26">
              <a:extLst>
                <a:ext uri="{FF2B5EF4-FFF2-40B4-BE49-F238E27FC236}">
                  <a16:creationId xmlns:a16="http://schemas.microsoft.com/office/drawing/2014/main" id="{2708BFF7-A356-C4BE-C961-F54A5F19D2B3}"/>
                </a:ext>
              </a:extLst>
            </p:cNvPr>
            <p:cNvGrpSpPr/>
            <p:nvPr/>
          </p:nvGrpSpPr>
          <p:grpSpPr>
            <a:xfrm>
              <a:off x="5975737" y="2528742"/>
              <a:ext cx="525837" cy="273398"/>
              <a:chOff x="5975737" y="2528742"/>
              <a:chExt cx="525837" cy="273398"/>
            </a:xfrm>
          </p:grpSpPr>
          <p:grpSp>
            <p:nvGrpSpPr>
              <p:cNvPr id="212" name="Grafik 164">
                <a:extLst>
                  <a:ext uri="{FF2B5EF4-FFF2-40B4-BE49-F238E27FC236}">
                    <a16:creationId xmlns:a16="http://schemas.microsoft.com/office/drawing/2014/main" id="{D519172D-98CD-244B-BEC5-F982D2C89B74}"/>
                  </a:ext>
                </a:extLst>
              </p:cNvPr>
              <p:cNvGrpSpPr/>
              <p:nvPr/>
            </p:nvGrpSpPr>
            <p:grpSpPr>
              <a:xfrm rot="10800000">
                <a:off x="6298922" y="2638908"/>
                <a:ext cx="202652" cy="163232"/>
                <a:chOff x="4059000" y="3629342"/>
                <a:chExt cx="276692" cy="163488"/>
              </a:xfrm>
              <a:solidFill>
                <a:schemeClr val="bg1"/>
              </a:solidFill>
            </p:grpSpPr>
            <p:grpSp>
              <p:nvGrpSpPr>
                <p:cNvPr id="213" name="Grafik 164">
                  <a:extLst>
                    <a:ext uri="{FF2B5EF4-FFF2-40B4-BE49-F238E27FC236}">
                      <a16:creationId xmlns:a16="http://schemas.microsoft.com/office/drawing/2014/main" id="{09466737-4ADB-CF98-E1A5-F7ABFDFFE35E}"/>
                    </a:ext>
                  </a:extLst>
                </p:cNvPr>
                <p:cNvGrpSpPr/>
                <p:nvPr/>
              </p:nvGrpSpPr>
              <p:grpSpPr>
                <a:xfrm>
                  <a:off x="4059000" y="3629342"/>
                  <a:ext cx="276692" cy="163488"/>
                  <a:chOff x="4059000" y="3629342"/>
                  <a:chExt cx="276692" cy="163488"/>
                </a:xfrm>
                <a:grpFill/>
              </p:grpSpPr>
              <p:grpSp>
                <p:nvGrpSpPr>
                  <p:cNvPr id="214" name="Grafik 164">
                    <a:extLst>
                      <a:ext uri="{FF2B5EF4-FFF2-40B4-BE49-F238E27FC236}">
                        <a16:creationId xmlns:a16="http://schemas.microsoft.com/office/drawing/2014/main" id="{C84218DD-6571-8FE7-FAA7-4704E63272B8}"/>
                      </a:ext>
                    </a:extLst>
                  </p:cNvPr>
                  <p:cNvGrpSpPr/>
                  <p:nvPr/>
                </p:nvGrpSpPr>
                <p:grpSpPr>
                  <a:xfrm>
                    <a:off x="4059000" y="3629342"/>
                    <a:ext cx="276692" cy="163488"/>
                    <a:chOff x="4059000" y="3629342"/>
                    <a:chExt cx="276692" cy="163488"/>
                  </a:xfrm>
                  <a:grpFill/>
                </p:grpSpPr>
                <p:sp>
                  <p:nvSpPr>
                    <p:cNvPr id="215" name="Freihandform: Form 214">
                      <a:extLst>
                        <a:ext uri="{FF2B5EF4-FFF2-40B4-BE49-F238E27FC236}">
                          <a16:creationId xmlns:a16="http://schemas.microsoft.com/office/drawing/2014/main" id="{000288FE-E92D-D615-D382-F1188311855C}"/>
                        </a:ext>
                      </a:extLst>
                    </p:cNvPr>
                    <p:cNvSpPr/>
                    <p:nvPr/>
                  </p:nvSpPr>
                  <p:spPr>
                    <a:xfrm rot="-2699514">
                      <a:off x="4059000" y="362934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16" name="Freihandform: Form 215">
                      <a:extLst>
                        <a:ext uri="{FF2B5EF4-FFF2-40B4-BE49-F238E27FC236}">
                          <a16:creationId xmlns:a16="http://schemas.microsoft.com/office/drawing/2014/main" id="{2BE63ED3-5F62-4FF0-4A6E-9F868528DF15}"/>
                        </a:ext>
                      </a:extLst>
                    </p:cNvPr>
                    <p:cNvSpPr/>
                    <p:nvPr/>
                  </p:nvSpPr>
                  <p:spPr>
                    <a:xfrm rot="-2700000">
                      <a:off x="4176983" y="3750810"/>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17" name="Freihandform: Form 216">
                      <a:extLst>
                        <a:ext uri="{FF2B5EF4-FFF2-40B4-BE49-F238E27FC236}">
                          <a16:creationId xmlns:a16="http://schemas.microsoft.com/office/drawing/2014/main" id="{36E46E69-F9EA-4020-005F-441438EB1A14}"/>
                        </a:ext>
                      </a:extLst>
                    </p:cNvPr>
                    <p:cNvSpPr/>
                    <p:nvPr/>
                  </p:nvSpPr>
                  <p:spPr>
                    <a:xfrm rot="-2700486">
                      <a:off x="4138571" y="3707435"/>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18" name="Freihandform: Form 217">
                      <a:extLst>
                        <a:ext uri="{FF2B5EF4-FFF2-40B4-BE49-F238E27FC236}">
                          <a16:creationId xmlns:a16="http://schemas.microsoft.com/office/drawing/2014/main" id="{EABEC40B-7476-EDEE-A1DD-F303081D1A3B}"/>
                        </a:ext>
                      </a:extLst>
                    </p:cNvPr>
                    <p:cNvSpPr/>
                    <p:nvPr/>
                  </p:nvSpPr>
                  <p:spPr>
                    <a:xfrm>
                      <a:off x="4099764" y="3666795"/>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19" name="Freihandform: Form 218">
                      <a:extLst>
                        <a:ext uri="{FF2B5EF4-FFF2-40B4-BE49-F238E27FC236}">
                          <a16:creationId xmlns:a16="http://schemas.microsoft.com/office/drawing/2014/main" id="{E2620D61-DA57-B103-0C20-4EA1CA5CFFD9}"/>
                        </a:ext>
                      </a:extLst>
                    </p:cNvPr>
                    <p:cNvSpPr/>
                    <p:nvPr/>
                  </p:nvSpPr>
                  <p:spPr>
                    <a:xfrm rot="-2700486">
                      <a:off x="4293672" y="3632801"/>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20" name="Freihandform: Form 219">
                      <a:extLst>
                        <a:ext uri="{FF2B5EF4-FFF2-40B4-BE49-F238E27FC236}">
                          <a16:creationId xmlns:a16="http://schemas.microsoft.com/office/drawing/2014/main" id="{4762758A-6CCE-1ACE-6440-9F98A8AF0788}"/>
                        </a:ext>
                      </a:extLst>
                    </p:cNvPr>
                    <p:cNvSpPr/>
                    <p:nvPr/>
                  </p:nvSpPr>
                  <p:spPr>
                    <a:xfrm rot="-2699514">
                      <a:off x="4218148" y="362934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21" name="Freihandform: Form 220">
                      <a:extLst>
                        <a:ext uri="{FF2B5EF4-FFF2-40B4-BE49-F238E27FC236}">
                          <a16:creationId xmlns:a16="http://schemas.microsoft.com/office/drawing/2014/main" id="{793BA4C5-D3DA-7D1F-E7AB-C07D39778554}"/>
                        </a:ext>
                      </a:extLst>
                    </p:cNvPr>
                    <p:cNvSpPr/>
                    <p:nvPr/>
                  </p:nvSpPr>
                  <p:spPr>
                    <a:xfrm rot="-2700486">
                      <a:off x="4253529" y="367459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22" name="Freihandform: Form 221">
                      <a:extLst>
                        <a:ext uri="{FF2B5EF4-FFF2-40B4-BE49-F238E27FC236}">
                          <a16:creationId xmlns:a16="http://schemas.microsoft.com/office/drawing/2014/main" id="{3A97F63A-04F3-7E22-B034-16E2F36CA90F}"/>
                        </a:ext>
                      </a:extLst>
                    </p:cNvPr>
                    <p:cNvSpPr/>
                    <p:nvPr/>
                  </p:nvSpPr>
                  <p:spPr>
                    <a:xfrm>
                      <a:off x="4172588" y="3661851"/>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23" name="Freihandform: Form 222">
                      <a:extLst>
                        <a:ext uri="{FF2B5EF4-FFF2-40B4-BE49-F238E27FC236}">
                          <a16:creationId xmlns:a16="http://schemas.microsoft.com/office/drawing/2014/main" id="{64C2185F-32DB-A118-5AFE-041C9FD012DB}"/>
                        </a:ext>
                      </a:extLst>
                    </p:cNvPr>
                    <p:cNvSpPr/>
                    <p:nvPr/>
                  </p:nvSpPr>
                  <p:spPr>
                    <a:xfrm>
                      <a:off x="4211567" y="3711668"/>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grpSp>
            </p:grpSp>
          </p:grpSp>
          <p:grpSp>
            <p:nvGrpSpPr>
              <p:cNvPr id="19" name="Gruppieren 18">
                <a:extLst>
                  <a:ext uri="{FF2B5EF4-FFF2-40B4-BE49-F238E27FC236}">
                    <a16:creationId xmlns:a16="http://schemas.microsoft.com/office/drawing/2014/main" id="{1621E5C7-D72C-5A4C-23E4-DA8F95079BB3}"/>
                  </a:ext>
                </a:extLst>
              </p:cNvPr>
              <p:cNvGrpSpPr/>
              <p:nvPr/>
            </p:nvGrpSpPr>
            <p:grpSpPr>
              <a:xfrm>
                <a:off x="5975737" y="2528742"/>
                <a:ext cx="488172" cy="253674"/>
                <a:chOff x="5975737" y="2528742"/>
                <a:chExt cx="488172" cy="253674"/>
              </a:xfrm>
            </p:grpSpPr>
            <p:grpSp>
              <p:nvGrpSpPr>
                <p:cNvPr id="172" name="Grafik 164">
                  <a:extLst>
                    <a:ext uri="{FF2B5EF4-FFF2-40B4-BE49-F238E27FC236}">
                      <a16:creationId xmlns:a16="http://schemas.microsoft.com/office/drawing/2014/main" id="{CCDE3AAC-7595-2D25-5B5A-65E522C3A1C6}"/>
                    </a:ext>
                  </a:extLst>
                </p:cNvPr>
                <p:cNvGrpSpPr/>
                <p:nvPr/>
              </p:nvGrpSpPr>
              <p:grpSpPr>
                <a:xfrm rot="10800000">
                  <a:off x="5975737" y="2619184"/>
                  <a:ext cx="202652" cy="163232"/>
                  <a:chOff x="4059000" y="3629342"/>
                  <a:chExt cx="276692" cy="163488"/>
                </a:xfrm>
                <a:solidFill>
                  <a:schemeClr val="accent3">
                    <a:lumMod val="75000"/>
                  </a:schemeClr>
                </a:solidFill>
              </p:grpSpPr>
              <p:grpSp>
                <p:nvGrpSpPr>
                  <p:cNvPr id="173" name="Grafik 164">
                    <a:extLst>
                      <a:ext uri="{FF2B5EF4-FFF2-40B4-BE49-F238E27FC236}">
                        <a16:creationId xmlns:a16="http://schemas.microsoft.com/office/drawing/2014/main" id="{855EC2E9-DDEB-BDCA-3355-7BFE27722E04}"/>
                      </a:ext>
                    </a:extLst>
                  </p:cNvPr>
                  <p:cNvGrpSpPr/>
                  <p:nvPr/>
                </p:nvGrpSpPr>
                <p:grpSpPr>
                  <a:xfrm>
                    <a:off x="4059000" y="3629342"/>
                    <a:ext cx="276692" cy="163488"/>
                    <a:chOff x="4059000" y="3629342"/>
                    <a:chExt cx="276692" cy="163488"/>
                  </a:xfrm>
                  <a:grpFill/>
                </p:grpSpPr>
                <p:grpSp>
                  <p:nvGrpSpPr>
                    <p:cNvPr id="174" name="Grafik 164">
                      <a:extLst>
                        <a:ext uri="{FF2B5EF4-FFF2-40B4-BE49-F238E27FC236}">
                          <a16:creationId xmlns:a16="http://schemas.microsoft.com/office/drawing/2014/main" id="{02C2677B-DF50-A0AC-AA8B-D4217B2943B5}"/>
                        </a:ext>
                      </a:extLst>
                    </p:cNvPr>
                    <p:cNvGrpSpPr/>
                    <p:nvPr/>
                  </p:nvGrpSpPr>
                  <p:grpSpPr>
                    <a:xfrm>
                      <a:off x="4059000" y="3629342"/>
                      <a:ext cx="276692" cy="163488"/>
                      <a:chOff x="4059000" y="3629342"/>
                      <a:chExt cx="276692" cy="163488"/>
                    </a:xfrm>
                    <a:grpFill/>
                  </p:grpSpPr>
                  <p:sp>
                    <p:nvSpPr>
                      <p:cNvPr id="175" name="Freihandform: Form 174">
                        <a:extLst>
                          <a:ext uri="{FF2B5EF4-FFF2-40B4-BE49-F238E27FC236}">
                            <a16:creationId xmlns:a16="http://schemas.microsoft.com/office/drawing/2014/main" id="{A9F8603C-7573-ACAF-DDB9-798251239A39}"/>
                          </a:ext>
                        </a:extLst>
                      </p:cNvPr>
                      <p:cNvSpPr/>
                      <p:nvPr/>
                    </p:nvSpPr>
                    <p:spPr>
                      <a:xfrm rot="-2699514">
                        <a:off x="4059000" y="362934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176" name="Freihandform: Form 175">
                        <a:extLst>
                          <a:ext uri="{FF2B5EF4-FFF2-40B4-BE49-F238E27FC236}">
                            <a16:creationId xmlns:a16="http://schemas.microsoft.com/office/drawing/2014/main" id="{3B517220-477C-8C2D-CE8C-E876C3020B93}"/>
                          </a:ext>
                        </a:extLst>
                      </p:cNvPr>
                      <p:cNvSpPr/>
                      <p:nvPr/>
                    </p:nvSpPr>
                    <p:spPr>
                      <a:xfrm rot="-2700000">
                        <a:off x="4176983" y="3750810"/>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177" name="Freihandform: Form 176">
                        <a:extLst>
                          <a:ext uri="{FF2B5EF4-FFF2-40B4-BE49-F238E27FC236}">
                            <a16:creationId xmlns:a16="http://schemas.microsoft.com/office/drawing/2014/main" id="{D435C683-0A76-835C-A13F-6BCD772DAE89}"/>
                          </a:ext>
                        </a:extLst>
                      </p:cNvPr>
                      <p:cNvSpPr/>
                      <p:nvPr/>
                    </p:nvSpPr>
                    <p:spPr>
                      <a:xfrm rot="-2700486">
                        <a:off x="4138571" y="3707435"/>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178" name="Freihandform: Form 177">
                        <a:extLst>
                          <a:ext uri="{FF2B5EF4-FFF2-40B4-BE49-F238E27FC236}">
                            <a16:creationId xmlns:a16="http://schemas.microsoft.com/office/drawing/2014/main" id="{31224C94-32C7-5D7E-1FBC-6058B7230657}"/>
                          </a:ext>
                        </a:extLst>
                      </p:cNvPr>
                      <p:cNvSpPr/>
                      <p:nvPr/>
                    </p:nvSpPr>
                    <p:spPr>
                      <a:xfrm>
                        <a:off x="4099764" y="3666795"/>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179" name="Freihandform: Form 178">
                        <a:extLst>
                          <a:ext uri="{FF2B5EF4-FFF2-40B4-BE49-F238E27FC236}">
                            <a16:creationId xmlns:a16="http://schemas.microsoft.com/office/drawing/2014/main" id="{A09133A5-10CA-54DC-5EF8-5CFCE5B88883}"/>
                          </a:ext>
                        </a:extLst>
                      </p:cNvPr>
                      <p:cNvSpPr/>
                      <p:nvPr/>
                    </p:nvSpPr>
                    <p:spPr>
                      <a:xfrm rot="-2700486">
                        <a:off x="4293672" y="3632801"/>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180" name="Freihandform: Form 179">
                        <a:extLst>
                          <a:ext uri="{FF2B5EF4-FFF2-40B4-BE49-F238E27FC236}">
                            <a16:creationId xmlns:a16="http://schemas.microsoft.com/office/drawing/2014/main" id="{07C12A16-1BBF-D9E8-D9FD-27BCC2AE5A04}"/>
                          </a:ext>
                        </a:extLst>
                      </p:cNvPr>
                      <p:cNvSpPr/>
                      <p:nvPr/>
                    </p:nvSpPr>
                    <p:spPr>
                      <a:xfrm rot="-2699514">
                        <a:off x="4218148" y="362934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181" name="Freihandform: Form 180">
                        <a:extLst>
                          <a:ext uri="{FF2B5EF4-FFF2-40B4-BE49-F238E27FC236}">
                            <a16:creationId xmlns:a16="http://schemas.microsoft.com/office/drawing/2014/main" id="{D543893B-E249-2BE0-5AA3-C6ADB0BD8997}"/>
                          </a:ext>
                        </a:extLst>
                      </p:cNvPr>
                      <p:cNvSpPr/>
                      <p:nvPr/>
                    </p:nvSpPr>
                    <p:spPr>
                      <a:xfrm rot="-2700486">
                        <a:off x="4253529" y="367459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182" name="Freihandform: Form 181">
                        <a:extLst>
                          <a:ext uri="{FF2B5EF4-FFF2-40B4-BE49-F238E27FC236}">
                            <a16:creationId xmlns:a16="http://schemas.microsoft.com/office/drawing/2014/main" id="{6724708C-D26D-AA6D-8FB1-51AAA1AB0816}"/>
                          </a:ext>
                        </a:extLst>
                      </p:cNvPr>
                      <p:cNvSpPr/>
                      <p:nvPr/>
                    </p:nvSpPr>
                    <p:spPr>
                      <a:xfrm>
                        <a:off x="4172588" y="3661851"/>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183" name="Freihandform: Form 182">
                        <a:extLst>
                          <a:ext uri="{FF2B5EF4-FFF2-40B4-BE49-F238E27FC236}">
                            <a16:creationId xmlns:a16="http://schemas.microsoft.com/office/drawing/2014/main" id="{33A498B0-0660-33A6-7EDB-31A088E7E8FB}"/>
                          </a:ext>
                        </a:extLst>
                      </p:cNvPr>
                      <p:cNvSpPr/>
                      <p:nvPr/>
                    </p:nvSpPr>
                    <p:spPr>
                      <a:xfrm>
                        <a:off x="4211567" y="3711668"/>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grpSp>
              </p:grpSp>
            </p:grpSp>
            <p:grpSp>
              <p:nvGrpSpPr>
                <p:cNvPr id="184" name="Grafik 164">
                  <a:extLst>
                    <a:ext uri="{FF2B5EF4-FFF2-40B4-BE49-F238E27FC236}">
                      <a16:creationId xmlns:a16="http://schemas.microsoft.com/office/drawing/2014/main" id="{6D65A240-7F53-6E20-B51D-68A5CEA3CA2B}"/>
                    </a:ext>
                  </a:extLst>
                </p:cNvPr>
                <p:cNvGrpSpPr/>
                <p:nvPr/>
              </p:nvGrpSpPr>
              <p:grpSpPr>
                <a:xfrm rot="10800000">
                  <a:off x="6050998" y="2528742"/>
                  <a:ext cx="202652" cy="163232"/>
                  <a:chOff x="4059000" y="3629342"/>
                  <a:chExt cx="276692" cy="163488"/>
                </a:xfrm>
                <a:solidFill>
                  <a:srgbClr val="5CB68A"/>
                </a:solidFill>
              </p:grpSpPr>
              <p:grpSp>
                <p:nvGrpSpPr>
                  <p:cNvPr id="185" name="Grafik 164">
                    <a:extLst>
                      <a:ext uri="{FF2B5EF4-FFF2-40B4-BE49-F238E27FC236}">
                        <a16:creationId xmlns:a16="http://schemas.microsoft.com/office/drawing/2014/main" id="{8D8EA785-78D3-58F9-0D31-3E602300D4F4}"/>
                      </a:ext>
                    </a:extLst>
                  </p:cNvPr>
                  <p:cNvGrpSpPr/>
                  <p:nvPr/>
                </p:nvGrpSpPr>
                <p:grpSpPr>
                  <a:xfrm>
                    <a:off x="4059000" y="3629342"/>
                    <a:ext cx="276692" cy="163488"/>
                    <a:chOff x="4059000" y="3629342"/>
                    <a:chExt cx="276692" cy="163488"/>
                  </a:xfrm>
                  <a:grpFill/>
                </p:grpSpPr>
                <p:grpSp>
                  <p:nvGrpSpPr>
                    <p:cNvPr id="186" name="Grafik 164">
                      <a:extLst>
                        <a:ext uri="{FF2B5EF4-FFF2-40B4-BE49-F238E27FC236}">
                          <a16:creationId xmlns:a16="http://schemas.microsoft.com/office/drawing/2014/main" id="{45EF7941-0392-63CA-3349-A94BE14ECF64}"/>
                        </a:ext>
                      </a:extLst>
                    </p:cNvPr>
                    <p:cNvGrpSpPr/>
                    <p:nvPr/>
                  </p:nvGrpSpPr>
                  <p:grpSpPr>
                    <a:xfrm>
                      <a:off x="4059000" y="3629342"/>
                      <a:ext cx="276692" cy="163488"/>
                      <a:chOff x="4059000" y="3629342"/>
                      <a:chExt cx="276692" cy="163488"/>
                    </a:xfrm>
                    <a:grpFill/>
                  </p:grpSpPr>
                  <p:sp>
                    <p:nvSpPr>
                      <p:cNvPr id="187" name="Freihandform: Form 186">
                        <a:extLst>
                          <a:ext uri="{FF2B5EF4-FFF2-40B4-BE49-F238E27FC236}">
                            <a16:creationId xmlns:a16="http://schemas.microsoft.com/office/drawing/2014/main" id="{D1FE85DD-677C-0E6A-50CB-4EFCA584F01C}"/>
                          </a:ext>
                        </a:extLst>
                      </p:cNvPr>
                      <p:cNvSpPr/>
                      <p:nvPr/>
                    </p:nvSpPr>
                    <p:spPr>
                      <a:xfrm rot="-2699514">
                        <a:off x="4059000" y="362934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188" name="Freihandform: Form 187">
                        <a:extLst>
                          <a:ext uri="{FF2B5EF4-FFF2-40B4-BE49-F238E27FC236}">
                            <a16:creationId xmlns:a16="http://schemas.microsoft.com/office/drawing/2014/main" id="{F6BB1747-F6A0-1BCB-DFA8-8F8B78C30D86}"/>
                          </a:ext>
                        </a:extLst>
                      </p:cNvPr>
                      <p:cNvSpPr/>
                      <p:nvPr/>
                    </p:nvSpPr>
                    <p:spPr>
                      <a:xfrm rot="-2700000">
                        <a:off x="4176983" y="3750810"/>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189" name="Freihandform: Form 188">
                        <a:extLst>
                          <a:ext uri="{FF2B5EF4-FFF2-40B4-BE49-F238E27FC236}">
                            <a16:creationId xmlns:a16="http://schemas.microsoft.com/office/drawing/2014/main" id="{E58497F2-30D8-F89C-840B-1EA4539E4BF5}"/>
                          </a:ext>
                        </a:extLst>
                      </p:cNvPr>
                      <p:cNvSpPr/>
                      <p:nvPr/>
                    </p:nvSpPr>
                    <p:spPr>
                      <a:xfrm rot="-2700486">
                        <a:off x="4138571" y="3707435"/>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190" name="Freihandform: Form 189">
                        <a:extLst>
                          <a:ext uri="{FF2B5EF4-FFF2-40B4-BE49-F238E27FC236}">
                            <a16:creationId xmlns:a16="http://schemas.microsoft.com/office/drawing/2014/main" id="{C07293B7-2D54-C14B-0CFC-1E2936558295}"/>
                          </a:ext>
                        </a:extLst>
                      </p:cNvPr>
                      <p:cNvSpPr/>
                      <p:nvPr/>
                    </p:nvSpPr>
                    <p:spPr>
                      <a:xfrm>
                        <a:off x="4099764" y="3666795"/>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191" name="Freihandform: Form 190">
                        <a:extLst>
                          <a:ext uri="{FF2B5EF4-FFF2-40B4-BE49-F238E27FC236}">
                            <a16:creationId xmlns:a16="http://schemas.microsoft.com/office/drawing/2014/main" id="{DCA00349-E476-110E-EC92-FD5506F609F0}"/>
                          </a:ext>
                        </a:extLst>
                      </p:cNvPr>
                      <p:cNvSpPr/>
                      <p:nvPr/>
                    </p:nvSpPr>
                    <p:spPr>
                      <a:xfrm rot="-2700486">
                        <a:off x="4293672" y="3632801"/>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192" name="Freihandform: Form 191">
                        <a:extLst>
                          <a:ext uri="{FF2B5EF4-FFF2-40B4-BE49-F238E27FC236}">
                            <a16:creationId xmlns:a16="http://schemas.microsoft.com/office/drawing/2014/main" id="{F0F750F7-FE77-6D78-AE85-35A882B8944F}"/>
                          </a:ext>
                        </a:extLst>
                      </p:cNvPr>
                      <p:cNvSpPr/>
                      <p:nvPr/>
                    </p:nvSpPr>
                    <p:spPr>
                      <a:xfrm rot="-2699514">
                        <a:off x="4218148" y="362934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193" name="Freihandform: Form 192">
                        <a:extLst>
                          <a:ext uri="{FF2B5EF4-FFF2-40B4-BE49-F238E27FC236}">
                            <a16:creationId xmlns:a16="http://schemas.microsoft.com/office/drawing/2014/main" id="{DB847224-B4E4-57D2-9133-461987FCA120}"/>
                          </a:ext>
                        </a:extLst>
                      </p:cNvPr>
                      <p:cNvSpPr/>
                      <p:nvPr/>
                    </p:nvSpPr>
                    <p:spPr>
                      <a:xfrm rot="-2700486">
                        <a:off x="4253529" y="367459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194" name="Freihandform: Form 193">
                        <a:extLst>
                          <a:ext uri="{FF2B5EF4-FFF2-40B4-BE49-F238E27FC236}">
                            <a16:creationId xmlns:a16="http://schemas.microsoft.com/office/drawing/2014/main" id="{19CFDFAB-DFED-2091-FC47-2409DBE35C10}"/>
                          </a:ext>
                        </a:extLst>
                      </p:cNvPr>
                      <p:cNvSpPr/>
                      <p:nvPr/>
                    </p:nvSpPr>
                    <p:spPr>
                      <a:xfrm>
                        <a:off x="4172588" y="3661851"/>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11" name="Freihandform: Form 210">
                        <a:extLst>
                          <a:ext uri="{FF2B5EF4-FFF2-40B4-BE49-F238E27FC236}">
                            <a16:creationId xmlns:a16="http://schemas.microsoft.com/office/drawing/2014/main" id="{41002EA9-78DC-F621-5416-067FC5BEE250}"/>
                          </a:ext>
                        </a:extLst>
                      </p:cNvPr>
                      <p:cNvSpPr/>
                      <p:nvPr/>
                    </p:nvSpPr>
                    <p:spPr>
                      <a:xfrm>
                        <a:off x="4211567" y="3711668"/>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grpSp>
              </p:grpSp>
            </p:grpSp>
            <p:grpSp>
              <p:nvGrpSpPr>
                <p:cNvPr id="224" name="Grafik 164">
                  <a:extLst>
                    <a:ext uri="{FF2B5EF4-FFF2-40B4-BE49-F238E27FC236}">
                      <a16:creationId xmlns:a16="http://schemas.microsoft.com/office/drawing/2014/main" id="{FDADBE6B-61E8-9EFA-4CBE-BCC3871DD3B1}"/>
                    </a:ext>
                  </a:extLst>
                </p:cNvPr>
                <p:cNvGrpSpPr/>
                <p:nvPr/>
              </p:nvGrpSpPr>
              <p:grpSpPr>
                <a:xfrm rot="10800000">
                  <a:off x="6261257" y="2562735"/>
                  <a:ext cx="202652" cy="163232"/>
                  <a:chOff x="4059000" y="3629342"/>
                  <a:chExt cx="276692" cy="163488"/>
                </a:xfrm>
                <a:solidFill>
                  <a:schemeClr val="bg1"/>
                </a:solidFill>
              </p:grpSpPr>
              <p:grpSp>
                <p:nvGrpSpPr>
                  <p:cNvPr id="225" name="Grafik 164">
                    <a:extLst>
                      <a:ext uri="{FF2B5EF4-FFF2-40B4-BE49-F238E27FC236}">
                        <a16:creationId xmlns:a16="http://schemas.microsoft.com/office/drawing/2014/main" id="{F8D56EA4-447C-41E7-DD1B-9048B97131E0}"/>
                      </a:ext>
                    </a:extLst>
                  </p:cNvPr>
                  <p:cNvGrpSpPr/>
                  <p:nvPr/>
                </p:nvGrpSpPr>
                <p:grpSpPr>
                  <a:xfrm>
                    <a:off x="4059000" y="3629342"/>
                    <a:ext cx="276692" cy="163488"/>
                    <a:chOff x="4059000" y="3629342"/>
                    <a:chExt cx="276692" cy="163488"/>
                  </a:xfrm>
                  <a:grpFill/>
                </p:grpSpPr>
                <p:grpSp>
                  <p:nvGrpSpPr>
                    <p:cNvPr id="226" name="Grafik 164">
                      <a:extLst>
                        <a:ext uri="{FF2B5EF4-FFF2-40B4-BE49-F238E27FC236}">
                          <a16:creationId xmlns:a16="http://schemas.microsoft.com/office/drawing/2014/main" id="{33477ED7-807E-FD10-308E-14E2BA7A209A}"/>
                        </a:ext>
                      </a:extLst>
                    </p:cNvPr>
                    <p:cNvGrpSpPr/>
                    <p:nvPr/>
                  </p:nvGrpSpPr>
                  <p:grpSpPr>
                    <a:xfrm>
                      <a:off x="4059000" y="3629342"/>
                      <a:ext cx="276692" cy="163488"/>
                      <a:chOff x="4059000" y="3629342"/>
                      <a:chExt cx="276692" cy="163488"/>
                    </a:xfrm>
                    <a:grpFill/>
                  </p:grpSpPr>
                  <p:sp>
                    <p:nvSpPr>
                      <p:cNvPr id="227" name="Freihandform: Form 226">
                        <a:extLst>
                          <a:ext uri="{FF2B5EF4-FFF2-40B4-BE49-F238E27FC236}">
                            <a16:creationId xmlns:a16="http://schemas.microsoft.com/office/drawing/2014/main" id="{5B7F21D5-44F6-6EF6-3D41-610F326B9DC3}"/>
                          </a:ext>
                        </a:extLst>
                      </p:cNvPr>
                      <p:cNvSpPr/>
                      <p:nvPr/>
                    </p:nvSpPr>
                    <p:spPr>
                      <a:xfrm rot="-2699514">
                        <a:off x="4059000" y="362934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28" name="Freihandform: Form 227">
                        <a:extLst>
                          <a:ext uri="{FF2B5EF4-FFF2-40B4-BE49-F238E27FC236}">
                            <a16:creationId xmlns:a16="http://schemas.microsoft.com/office/drawing/2014/main" id="{E5234DA1-566F-3D7E-82B6-061BBF2EA598}"/>
                          </a:ext>
                        </a:extLst>
                      </p:cNvPr>
                      <p:cNvSpPr/>
                      <p:nvPr/>
                    </p:nvSpPr>
                    <p:spPr>
                      <a:xfrm rot="-2700000">
                        <a:off x="4176983" y="3750810"/>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29" name="Freihandform: Form 228">
                        <a:extLst>
                          <a:ext uri="{FF2B5EF4-FFF2-40B4-BE49-F238E27FC236}">
                            <a16:creationId xmlns:a16="http://schemas.microsoft.com/office/drawing/2014/main" id="{7F5B918D-7C7E-7464-7AB1-866C9652A017}"/>
                          </a:ext>
                        </a:extLst>
                      </p:cNvPr>
                      <p:cNvSpPr/>
                      <p:nvPr/>
                    </p:nvSpPr>
                    <p:spPr>
                      <a:xfrm rot="-2700486">
                        <a:off x="4138571" y="3707435"/>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30" name="Freihandform: Form 229">
                        <a:extLst>
                          <a:ext uri="{FF2B5EF4-FFF2-40B4-BE49-F238E27FC236}">
                            <a16:creationId xmlns:a16="http://schemas.microsoft.com/office/drawing/2014/main" id="{F1581E51-5125-F03E-B2D9-2180488A0551}"/>
                          </a:ext>
                        </a:extLst>
                      </p:cNvPr>
                      <p:cNvSpPr/>
                      <p:nvPr/>
                    </p:nvSpPr>
                    <p:spPr>
                      <a:xfrm>
                        <a:off x="4099764" y="3666795"/>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31" name="Freihandform: Form 230">
                        <a:extLst>
                          <a:ext uri="{FF2B5EF4-FFF2-40B4-BE49-F238E27FC236}">
                            <a16:creationId xmlns:a16="http://schemas.microsoft.com/office/drawing/2014/main" id="{B9C87F2C-1F8F-54FC-977D-24452DD8F2AC}"/>
                          </a:ext>
                        </a:extLst>
                      </p:cNvPr>
                      <p:cNvSpPr/>
                      <p:nvPr/>
                    </p:nvSpPr>
                    <p:spPr>
                      <a:xfrm rot="-2700486">
                        <a:off x="4293672" y="3632801"/>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32" name="Freihandform: Form 231">
                        <a:extLst>
                          <a:ext uri="{FF2B5EF4-FFF2-40B4-BE49-F238E27FC236}">
                            <a16:creationId xmlns:a16="http://schemas.microsoft.com/office/drawing/2014/main" id="{48D61A45-1E5E-D93A-3E5C-38B3BDB5E9E6}"/>
                          </a:ext>
                        </a:extLst>
                      </p:cNvPr>
                      <p:cNvSpPr/>
                      <p:nvPr/>
                    </p:nvSpPr>
                    <p:spPr>
                      <a:xfrm rot="-2699514">
                        <a:off x="4218148" y="362934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33" name="Freihandform: Form 232">
                        <a:extLst>
                          <a:ext uri="{FF2B5EF4-FFF2-40B4-BE49-F238E27FC236}">
                            <a16:creationId xmlns:a16="http://schemas.microsoft.com/office/drawing/2014/main" id="{4CF64148-E216-16C9-81BC-BD28C13FB002}"/>
                          </a:ext>
                        </a:extLst>
                      </p:cNvPr>
                      <p:cNvSpPr/>
                      <p:nvPr/>
                    </p:nvSpPr>
                    <p:spPr>
                      <a:xfrm rot="-2700486">
                        <a:off x="4253529" y="367459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34" name="Freihandform: Form 233">
                        <a:extLst>
                          <a:ext uri="{FF2B5EF4-FFF2-40B4-BE49-F238E27FC236}">
                            <a16:creationId xmlns:a16="http://schemas.microsoft.com/office/drawing/2014/main" id="{EC87FEDB-B5EB-76BE-B4B5-35B2874FA741}"/>
                          </a:ext>
                        </a:extLst>
                      </p:cNvPr>
                      <p:cNvSpPr/>
                      <p:nvPr/>
                    </p:nvSpPr>
                    <p:spPr>
                      <a:xfrm>
                        <a:off x="4172588" y="3661851"/>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38" name="Freihandform: Form 237">
                        <a:extLst>
                          <a:ext uri="{FF2B5EF4-FFF2-40B4-BE49-F238E27FC236}">
                            <a16:creationId xmlns:a16="http://schemas.microsoft.com/office/drawing/2014/main" id="{BA29878E-6089-A26D-ACFF-F3D2D104A683}"/>
                          </a:ext>
                        </a:extLst>
                      </p:cNvPr>
                      <p:cNvSpPr/>
                      <p:nvPr/>
                    </p:nvSpPr>
                    <p:spPr>
                      <a:xfrm>
                        <a:off x="4211567" y="3711668"/>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grpSp>
              </p:grpSp>
            </p:grpSp>
            <p:grpSp>
              <p:nvGrpSpPr>
                <p:cNvPr id="239" name="Grafik 164">
                  <a:extLst>
                    <a:ext uri="{FF2B5EF4-FFF2-40B4-BE49-F238E27FC236}">
                      <a16:creationId xmlns:a16="http://schemas.microsoft.com/office/drawing/2014/main" id="{BFBF4DBF-581E-3A83-E52C-22902596153A}"/>
                    </a:ext>
                  </a:extLst>
                </p:cNvPr>
                <p:cNvGrpSpPr/>
                <p:nvPr/>
              </p:nvGrpSpPr>
              <p:grpSpPr>
                <a:xfrm rot="10800000">
                  <a:off x="6086063" y="2616713"/>
                  <a:ext cx="178658" cy="163639"/>
                  <a:chOff x="4059000" y="3629342"/>
                  <a:chExt cx="276692" cy="163488"/>
                </a:xfrm>
                <a:solidFill>
                  <a:srgbClr val="009252"/>
                </a:solidFill>
              </p:grpSpPr>
              <p:grpSp>
                <p:nvGrpSpPr>
                  <p:cNvPr id="240" name="Grafik 164">
                    <a:extLst>
                      <a:ext uri="{FF2B5EF4-FFF2-40B4-BE49-F238E27FC236}">
                        <a16:creationId xmlns:a16="http://schemas.microsoft.com/office/drawing/2014/main" id="{A9E63C91-7598-383C-7B98-79337DBA684A}"/>
                      </a:ext>
                    </a:extLst>
                  </p:cNvPr>
                  <p:cNvGrpSpPr/>
                  <p:nvPr/>
                </p:nvGrpSpPr>
                <p:grpSpPr>
                  <a:xfrm>
                    <a:off x="4059000" y="3629342"/>
                    <a:ext cx="276692" cy="163488"/>
                    <a:chOff x="4059000" y="3629342"/>
                    <a:chExt cx="276692" cy="163488"/>
                  </a:xfrm>
                  <a:grpFill/>
                </p:grpSpPr>
                <p:grpSp>
                  <p:nvGrpSpPr>
                    <p:cNvPr id="267" name="Grafik 164">
                      <a:extLst>
                        <a:ext uri="{FF2B5EF4-FFF2-40B4-BE49-F238E27FC236}">
                          <a16:creationId xmlns:a16="http://schemas.microsoft.com/office/drawing/2014/main" id="{D52CC668-4680-FD97-9BE1-21FF4E9B6384}"/>
                        </a:ext>
                      </a:extLst>
                    </p:cNvPr>
                    <p:cNvGrpSpPr/>
                    <p:nvPr/>
                  </p:nvGrpSpPr>
                  <p:grpSpPr>
                    <a:xfrm>
                      <a:off x="4059000" y="3629342"/>
                      <a:ext cx="276692" cy="163488"/>
                      <a:chOff x="4059000" y="3629342"/>
                      <a:chExt cx="276692" cy="163488"/>
                    </a:xfrm>
                    <a:grpFill/>
                  </p:grpSpPr>
                  <p:sp>
                    <p:nvSpPr>
                      <p:cNvPr id="268" name="Freihandform: Form 267">
                        <a:extLst>
                          <a:ext uri="{FF2B5EF4-FFF2-40B4-BE49-F238E27FC236}">
                            <a16:creationId xmlns:a16="http://schemas.microsoft.com/office/drawing/2014/main" id="{53C5C2F3-558B-CF02-D8C5-D93BEB4FDFCB}"/>
                          </a:ext>
                        </a:extLst>
                      </p:cNvPr>
                      <p:cNvSpPr/>
                      <p:nvPr/>
                    </p:nvSpPr>
                    <p:spPr>
                      <a:xfrm rot="-2699514">
                        <a:off x="4059000" y="362934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69" name="Freihandform: Form 268">
                        <a:extLst>
                          <a:ext uri="{FF2B5EF4-FFF2-40B4-BE49-F238E27FC236}">
                            <a16:creationId xmlns:a16="http://schemas.microsoft.com/office/drawing/2014/main" id="{DBFF42CA-365A-D590-CEEA-D86A3DB61B3D}"/>
                          </a:ext>
                        </a:extLst>
                      </p:cNvPr>
                      <p:cNvSpPr/>
                      <p:nvPr/>
                    </p:nvSpPr>
                    <p:spPr>
                      <a:xfrm rot="-2700000">
                        <a:off x="4176983" y="3750810"/>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81" name="Freihandform: Form 280">
                        <a:extLst>
                          <a:ext uri="{FF2B5EF4-FFF2-40B4-BE49-F238E27FC236}">
                            <a16:creationId xmlns:a16="http://schemas.microsoft.com/office/drawing/2014/main" id="{1C18818D-3850-4E8B-88D9-484B82DF8074}"/>
                          </a:ext>
                        </a:extLst>
                      </p:cNvPr>
                      <p:cNvSpPr/>
                      <p:nvPr/>
                    </p:nvSpPr>
                    <p:spPr>
                      <a:xfrm rot="-2700486">
                        <a:off x="4138571" y="3707435"/>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82" name="Freihandform: Form 281">
                        <a:extLst>
                          <a:ext uri="{FF2B5EF4-FFF2-40B4-BE49-F238E27FC236}">
                            <a16:creationId xmlns:a16="http://schemas.microsoft.com/office/drawing/2014/main" id="{47D1DD0E-22FC-198D-1751-B2CC0C105E54}"/>
                          </a:ext>
                        </a:extLst>
                      </p:cNvPr>
                      <p:cNvSpPr/>
                      <p:nvPr/>
                    </p:nvSpPr>
                    <p:spPr>
                      <a:xfrm>
                        <a:off x="4099764" y="3666795"/>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83" name="Freihandform: Form 282">
                        <a:extLst>
                          <a:ext uri="{FF2B5EF4-FFF2-40B4-BE49-F238E27FC236}">
                            <a16:creationId xmlns:a16="http://schemas.microsoft.com/office/drawing/2014/main" id="{83F1350F-5CB3-395F-00C7-B3D5BEDF4F98}"/>
                          </a:ext>
                        </a:extLst>
                      </p:cNvPr>
                      <p:cNvSpPr/>
                      <p:nvPr/>
                    </p:nvSpPr>
                    <p:spPr>
                      <a:xfrm rot="-2700486">
                        <a:off x="4293672" y="3632801"/>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302" name="Freihandform: Form 301">
                        <a:extLst>
                          <a:ext uri="{FF2B5EF4-FFF2-40B4-BE49-F238E27FC236}">
                            <a16:creationId xmlns:a16="http://schemas.microsoft.com/office/drawing/2014/main" id="{F68ACDE9-9A67-5959-CDAF-A6325AE157B7}"/>
                          </a:ext>
                        </a:extLst>
                      </p:cNvPr>
                      <p:cNvSpPr/>
                      <p:nvPr/>
                    </p:nvSpPr>
                    <p:spPr>
                      <a:xfrm rot="-2699514">
                        <a:off x="4218148" y="362934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321" name="Freihandform: Form 320">
                        <a:extLst>
                          <a:ext uri="{FF2B5EF4-FFF2-40B4-BE49-F238E27FC236}">
                            <a16:creationId xmlns:a16="http://schemas.microsoft.com/office/drawing/2014/main" id="{D0216A1E-A88E-9A66-F92F-23E1A09EED5B}"/>
                          </a:ext>
                        </a:extLst>
                      </p:cNvPr>
                      <p:cNvSpPr/>
                      <p:nvPr/>
                    </p:nvSpPr>
                    <p:spPr>
                      <a:xfrm rot="-2700486">
                        <a:off x="4253529" y="367459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322" name="Freihandform: Form 321">
                        <a:extLst>
                          <a:ext uri="{FF2B5EF4-FFF2-40B4-BE49-F238E27FC236}">
                            <a16:creationId xmlns:a16="http://schemas.microsoft.com/office/drawing/2014/main" id="{CF651665-987E-4FF0-7EF1-E958D044622B}"/>
                          </a:ext>
                        </a:extLst>
                      </p:cNvPr>
                      <p:cNvSpPr/>
                      <p:nvPr/>
                    </p:nvSpPr>
                    <p:spPr>
                      <a:xfrm>
                        <a:off x="4172588" y="3661851"/>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323" name="Freihandform: Form 322">
                        <a:extLst>
                          <a:ext uri="{FF2B5EF4-FFF2-40B4-BE49-F238E27FC236}">
                            <a16:creationId xmlns:a16="http://schemas.microsoft.com/office/drawing/2014/main" id="{F863C401-4897-6877-03B2-D5A5126A490B}"/>
                          </a:ext>
                        </a:extLst>
                      </p:cNvPr>
                      <p:cNvSpPr/>
                      <p:nvPr/>
                    </p:nvSpPr>
                    <p:spPr>
                      <a:xfrm>
                        <a:off x="4211567" y="3711668"/>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grpSp>
              </p:grpSp>
            </p:grpSp>
          </p:grpSp>
        </p:grpSp>
        <p:grpSp>
          <p:nvGrpSpPr>
            <p:cNvPr id="354" name="Grafik 164">
              <a:extLst>
                <a:ext uri="{FF2B5EF4-FFF2-40B4-BE49-F238E27FC236}">
                  <a16:creationId xmlns:a16="http://schemas.microsoft.com/office/drawing/2014/main" id="{E077129F-8A8E-E9F0-1671-4DFC1A12EDF2}"/>
                </a:ext>
              </a:extLst>
            </p:cNvPr>
            <p:cNvGrpSpPr/>
            <p:nvPr/>
          </p:nvGrpSpPr>
          <p:grpSpPr>
            <a:xfrm rot="10800000">
              <a:off x="6213737" y="2617034"/>
              <a:ext cx="178658" cy="163639"/>
              <a:chOff x="4059000" y="3629342"/>
              <a:chExt cx="276692" cy="163488"/>
            </a:xfrm>
            <a:solidFill>
              <a:schemeClr val="bg1"/>
            </a:solidFill>
          </p:grpSpPr>
          <p:grpSp>
            <p:nvGrpSpPr>
              <p:cNvPr id="355" name="Grafik 164">
                <a:extLst>
                  <a:ext uri="{FF2B5EF4-FFF2-40B4-BE49-F238E27FC236}">
                    <a16:creationId xmlns:a16="http://schemas.microsoft.com/office/drawing/2014/main" id="{93B1CE3E-4601-0571-74DF-A69AC9F2AE4C}"/>
                  </a:ext>
                </a:extLst>
              </p:cNvPr>
              <p:cNvGrpSpPr/>
              <p:nvPr/>
            </p:nvGrpSpPr>
            <p:grpSpPr>
              <a:xfrm>
                <a:off x="4059000" y="3629342"/>
                <a:ext cx="276692" cy="163488"/>
                <a:chOff x="4059000" y="3629342"/>
                <a:chExt cx="276692" cy="163488"/>
              </a:xfrm>
              <a:grpFill/>
            </p:grpSpPr>
            <p:grpSp>
              <p:nvGrpSpPr>
                <p:cNvPr id="356" name="Grafik 164">
                  <a:extLst>
                    <a:ext uri="{FF2B5EF4-FFF2-40B4-BE49-F238E27FC236}">
                      <a16:creationId xmlns:a16="http://schemas.microsoft.com/office/drawing/2014/main" id="{DE21F128-951C-6E66-B6F3-C3CB2E3593A0}"/>
                    </a:ext>
                  </a:extLst>
                </p:cNvPr>
                <p:cNvGrpSpPr/>
                <p:nvPr/>
              </p:nvGrpSpPr>
              <p:grpSpPr>
                <a:xfrm>
                  <a:off x="4059000" y="3629342"/>
                  <a:ext cx="276692" cy="163488"/>
                  <a:chOff x="4059000" y="3629342"/>
                  <a:chExt cx="276692" cy="163488"/>
                </a:xfrm>
                <a:grpFill/>
              </p:grpSpPr>
              <p:sp>
                <p:nvSpPr>
                  <p:cNvPr id="357" name="Freihandform: Form 356">
                    <a:extLst>
                      <a:ext uri="{FF2B5EF4-FFF2-40B4-BE49-F238E27FC236}">
                        <a16:creationId xmlns:a16="http://schemas.microsoft.com/office/drawing/2014/main" id="{A0054DA0-1D39-9C0B-9900-B435CECDF2D8}"/>
                      </a:ext>
                    </a:extLst>
                  </p:cNvPr>
                  <p:cNvSpPr/>
                  <p:nvPr/>
                </p:nvSpPr>
                <p:spPr>
                  <a:xfrm rot="-2699514">
                    <a:off x="4059000" y="362934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358" name="Freihandform: Form 357">
                    <a:extLst>
                      <a:ext uri="{FF2B5EF4-FFF2-40B4-BE49-F238E27FC236}">
                        <a16:creationId xmlns:a16="http://schemas.microsoft.com/office/drawing/2014/main" id="{3293CC5E-DAED-2173-BF48-C5E4BC5421BA}"/>
                      </a:ext>
                    </a:extLst>
                  </p:cNvPr>
                  <p:cNvSpPr/>
                  <p:nvPr/>
                </p:nvSpPr>
                <p:spPr>
                  <a:xfrm rot="-2700000">
                    <a:off x="4176983" y="3750810"/>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359" name="Freihandform: Form 358">
                    <a:extLst>
                      <a:ext uri="{FF2B5EF4-FFF2-40B4-BE49-F238E27FC236}">
                        <a16:creationId xmlns:a16="http://schemas.microsoft.com/office/drawing/2014/main" id="{85B1FDD1-52B8-A39E-73AE-761C48F37624}"/>
                      </a:ext>
                    </a:extLst>
                  </p:cNvPr>
                  <p:cNvSpPr/>
                  <p:nvPr/>
                </p:nvSpPr>
                <p:spPr>
                  <a:xfrm rot="-2700486">
                    <a:off x="4138571" y="3707435"/>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360" name="Freihandform: Form 359">
                    <a:extLst>
                      <a:ext uri="{FF2B5EF4-FFF2-40B4-BE49-F238E27FC236}">
                        <a16:creationId xmlns:a16="http://schemas.microsoft.com/office/drawing/2014/main" id="{82423325-7F18-938D-D7FB-4FB9494517BB}"/>
                      </a:ext>
                    </a:extLst>
                  </p:cNvPr>
                  <p:cNvSpPr/>
                  <p:nvPr/>
                </p:nvSpPr>
                <p:spPr>
                  <a:xfrm>
                    <a:off x="4099764" y="3666795"/>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361" name="Freihandform: Form 360">
                    <a:extLst>
                      <a:ext uri="{FF2B5EF4-FFF2-40B4-BE49-F238E27FC236}">
                        <a16:creationId xmlns:a16="http://schemas.microsoft.com/office/drawing/2014/main" id="{B0C8C03B-0EC7-EDEA-4BA7-931D600E9F8F}"/>
                      </a:ext>
                    </a:extLst>
                  </p:cNvPr>
                  <p:cNvSpPr/>
                  <p:nvPr/>
                </p:nvSpPr>
                <p:spPr>
                  <a:xfrm rot="-2700486">
                    <a:off x="4293672" y="3632801"/>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362" name="Freihandform: Form 361">
                    <a:extLst>
                      <a:ext uri="{FF2B5EF4-FFF2-40B4-BE49-F238E27FC236}">
                        <a16:creationId xmlns:a16="http://schemas.microsoft.com/office/drawing/2014/main" id="{4A431AE4-4DBE-5FF9-8A12-7145066DE403}"/>
                      </a:ext>
                    </a:extLst>
                  </p:cNvPr>
                  <p:cNvSpPr/>
                  <p:nvPr/>
                </p:nvSpPr>
                <p:spPr>
                  <a:xfrm rot="-2699514">
                    <a:off x="4218148" y="362934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363" name="Freihandform: Form 362">
                    <a:extLst>
                      <a:ext uri="{FF2B5EF4-FFF2-40B4-BE49-F238E27FC236}">
                        <a16:creationId xmlns:a16="http://schemas.microsoft.com/office/drawing/2014/main" id="{A55B6324-2785-3EFB-9722-74178B03E2C6}"/>
                      </a:ext>
                    </a:extLst>
                  </p:cNvPr>
                  <p:cNvSpPr/>
                  <p:nvPr/>
                </p:nvSpPr>
                <p:spPr>
                  <a:xfrm rot="-2700486">
                    <a:off x="4253529" y="367459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364" name="Freihandform: Form 363">
                    <a:extLst>
                      <a:ext uri="{FF2B5EF4-FFF2-40B4-BE49-F238E27FC236}">
                        <a16:creationId xmlns:a16="http://schemas.microsoft.com/office/drawing/2014/main" id="{23D1312A-7BFE-1FFF-9BFC-B415EF1C7B11}"/>
                      </a:ext>
                    </a:extLst>
                  </p:cNvPr>
                  <p:cNvSpPr/>
                  <p:nvPr/>
                </p:nvSpPr>
                <p:spPr>
                  <a:xfrm>
                    <a:off x="4172588" y="3661851"/>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365" name="Freihandform: Form 364">
                    <a:extLst>
                      <a:ext uri="{FF2B5EF4-FFF2-40B4-BE49-F238E27FC236}">
                        <a16:creationId xmlns:a16="http://schemas.microsoft.com/office/drawing/2014/main" id="{77D70224-51D8-C49D-257E-2EC2645F91C6}"/>
                      </a:ext>
                    </a:extLst>
                  </p:cNvPr>
                  <p:cNvSpPr/>
                  <p:nvPr/>
                </p:nvSpPr>
                <p:spPr>
                  <a:xfrm>
                    <a:off x="4211567" y="3711668"/>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grpSp>
          </p:grpSp>
        </p:grpSp>
      </p:grpSp>
      <p:sp>
        <p:nvSpPr>
          <p:cNvPr id="378" name="Text Box 25">
            <a:extLst>
              <a:ext uri="{FF2B5EF4-FFF2-40B4-BE49-F238E27FC236}">
                <a16:creationId xmlns:a16="http://schemas.microsoft.com/office/drawing/2014/main" id="{576E490B-88E6-CE79-3DB2-F106D19AB5AD}"/>
              </a:ext>
            </a:extLst>
          </p:cNvPr>
          <p:cNvSpPr txBox="1">
            <a:spLocks noChangeArrowheads="1"/>
          </p:cNvSpPr>
          <p:nvPr/>
        </p:nvSpPr>
        <p:spPr bwMode="auto">
          <a:xfrm>
            <a:off x="1408322" y="3073830"/>
            <a:ext cx="1114572" cy="268149"/>
          </a:xfrm>
          <a:prstGeom prst="rect">
            <a:avLst/>
          </a:prstGeom>
          <a:noFill/>
          <a:ln w="12700">
            <a:noFill/>
            <a:miter lim="800000"/>
            <a:headEnd/>
            <a:tailEnd/>
          </a:ln>
        </p:spPr>
        <p:txBody>
          <a:bodyPr lIns="62308" tIns="29908" rIns="62308" bIns="29908">
            <a:spAutoFit/>
          </a:bodyPr>
          <a:lstStyle/>
          <a:p>
            <a:pPr>
              <a:spcBef>
                <a:spcPct val="50000"/>
              </a:spcBef>
            </a:pPr>
            <a:r>
              <a:rPr kumimoji="1" lang="en-GB" sz="675" noProof="0" dirty="0">
                <a:solidFill>
                  <a:srgbClr val="41474C"/>
                </a:solidFill>
                <a:latin typeface="Calibri" panose="020F0502020204030204" pitchFamily="34" charset="0"/>
                <a:cs typeface="Arial" charset="0"/>
              </a:rPr>
              <a:t>Recycling</a:t>
            </a:r>
            <a:br>
              <a:rPr kumimoji="1" lang="en-GB" sz="675" noProof="0" dirty="0">
                <a:solidFill>
                  <a:srgbClr val="41474C"/>
                </a:solidFill>
                <a:latin typeface="Calibri" panose="020F0502020204030204" pitchFamily="34" charset="0"/>
                <a:cs typeface="Arial" charset="0"/>
              </a:rPr>
            </a:br>
            <a:r>
              <a:rPr kumimoji="1" lang="en-GB" sz="675" noProof="0" dirty="0">
                <a:solidFill>
                  <a:srgbClr val="41474C"/>
                </a:solidFill>
                <a:latin typeface="Calibri" panose="020F0502020204030204" pitchFamily="34" charset="0"/>
                <a:cs typeface="Arial" charset="0"/>
              </a:rPr>
              <a:t>yards (MRF)</a:t>
            </a:r>
            <a:endParaRPr lang="en-GB" sz="675" noProof="0" dirty="0"/>
          </a:p>
        </p:txBody>
      </p:sp>
      <p:grpSp>
        <p:nvGrpSpPr>
          <p:cNvPr id="414" name="Grafik 42">
            <a:extLst>
              <a:ext uri="{FF2B5EF4-FFF2-40B4-BE49-F238E27FC236}">
                <a16:creationId xmlns:a16="http://schemas.microsoft.com/office/drawing/2014/main" id="{16A88DE0-CCAC-E56F-0C53-254D7374A5CD}"/>
              </a:ext>
            </a:extLst>
          </p:cNvPr>
          <p:cNvGrpSpPr>
            <a:grpSpLocks noChangeAspect="1"/>
          </p:cNvGrpSpPr>
          <p:nvPr/>
        </p:nvGrpSpPr>
        <p:grpSpPr>
          <a:xfrm>
            <a:off x="3333825" y="2074854"/>
            <a:ext cx="360000" cy="360000"/>
            <a:chOff x="1890251" y="3930400"/>
            <a:chExt cx="540000" cy="540000"/>
          </a:xfrm>
          <a:solidFill>
            <a:schemeClr val="accent1"/>
          </a:solidFill>
        </p:grpSpPr>
        <p:grpSp>
          <p:nvGrpSpPr>
            <p:cNvPr id="415" name="Grafik 42">
              <a:extLst>
                <a:ext uri="{FF2B5EF4-FFF2-40B4-BE49-F238E27FC236}">
                  <a16:creationId xmlns:a16="http://schemas.microsoft.com/office/drawing/2014/main" id="{1325FA2A-FF9B-2285-56E5-C8E629D73240}"/>
                </a:ext>
              </a:extLst>
            </p:cNvPr>
            <p:cNvGrpSpPr/>
            <p:nvPr/>
          </p:nvGrpSpPr>
          <p:grpSpPr>
            <a:xfrm>
              <a:off x="1890251" y="3930400"/>
              <a:ext cx="539429" cy="538859"/>
              <a:chOff x="1890251" y="3930400"/>
              <a:chExt cx="539429" cy="538859"/>
            </a:xfrm>
            <a:grpFill/>
          </p:grpSpPr>
          <p:grpSp>
            <p:nvGrpSpPr>
              <p:cNvPr id="416" name="Grafik 42">
                <a:extLst>
                  <a:ext uri="{FF2B5EF4-FFF2-40B4-BE49-F238E27FC236}">
                    <a16:creationId xmlns:a16="http://schemas.microsoft.com/office/drawing/2014/main" id="{37693011-697F-37BE-827D-6A0749CD1B04}"/>
                  </a:ext>
                </a:extLst>
              </p:cNvPr>
              <p:cNvGrpSpPr/>
              <p:nvPr/>
            </p:nvGrpSpPr>
            <p:grpSpPr>
              <a:xfrm>
                <a:off x="1890251" y="4151914"/>
                <a:ext cx="539429" cy="317345"/>
                <a:chOff x="1890251" y="4151914"/>
                <a:chExt cx="539429" cy="317345"/>
              </a:xfrm>
              <a:grpFill/>
            </p:grpSpPr>
            <p:sp>
              <p:nvSpPr>
                <p:cNvPr id="417" name="Freihandform: Form 416">
                  <a:extLst>
                    <a:ext uri="{FF2B5EF4-FFF2-40B4-BE49-F238E27FC236}">
                      <a16:creationId xmlns:a16="http://schemas.microsoft.com/office/drawing/2014/main" id="{CCCD5855-A494-A5E7-ACBD-F6BD0E6995BE}"/>
                    </a:ext>
                  </a:extLst>
                </p:cNvPr>
                <p:cNvSpPr/>
                <p:nvPr/>
              </p:nvSpPr>
              <p:spPr>
                <a:xfrm>
                  <a:off x="2014032" y="4381984"/>
                  <a:ext cx="52098" cy="52098"/>
                </a:xfrm>
                <a:custGeom>
                  <a:avLst/>
                  <a:gdLst>
                    <a:gd name="connsiteX0" fmla="*/ 26049 w 52098"/>
                    <a:gd name="connsiteY0" fmla="*/ 0 h 52098"/>
                    <a:gd name="connsiteX1" fmla="*/ 0 w 52098"/>
                    <a:gd name="connsiteY1" fmla="*/ 26049 h 52098"/>
                    <a:gd name="connsiteX2" fmla="*/ 26049 w 52098"/>
                    <a:gd name="connsiteY2" fmla="*/ 52099 h 52098"/>
                    <a:gd name="connsiteX3" fmla="*/ 52099 w 52098"/>
                    <a:gd name="connsiteY3" fmla="*/ 26049 h 52098"/>
                    <a:gd name="connsiteX4" fmla="*/ 26049 w 52098"/>
                    <a:gd name="connsiteY4" fmla="*/ 0 h 52098"/>
                    <a:gd name="connsiteX5" fmla="*/ 26049 w 52098"/>
                    <a:gd name="connsiteY5" fmla="*/ 35366 h 52098"/>
                    <a:gd name="connsiteX6" fmla="*/ 16732 w 52098"/>
                    <a:gd name="connsiteY6" fmla="*/ 26049 h 52098"/>
                    <a:gd name="connsiteX7" fmla="*/ 26049 w 52098"/>
                    <a:gd name="connsiteY7" fmla="*/ 16732 h 52098"/>
                    <a:gd name="connsiteX8" fmla="*/ 35366 w 52098"/>
                    <a:gd name="connsiteY8" fmla="*/ 26049 h 52098"/>
                    <a:gd name="connsiteX9" fmla="*/ 26049 w 52098"/>
                    <a:gd name="connsiteY9" fmla="*/ 35366 h 52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098" h="52098">
                      <a:moveTo>
                        <a:pt x="26049" y="0"/>
                      </a:moveTo>
                      <a:cubicBezTo>
                        <a:pt x="11789" y="0"/>
                        <a:pt x="0" y="11599"/>
                        <a:pt x="0" y="26049"/>
                      </a:cubicBezTo>
                      <a:cubicBezTo>
                        <a:pt x="0" y="40310"/>
                        <a:pt x="11599" y="52099"/>
                        <a:pt x="26049" y="52099"/>
                      </a:cubicBezTo>
                      <a:cubicBezTo>
                        <a:pt x="40310" y="52099"/>
                        <a:pt x="52099" y="40500"/>
                        <a:pt x="52099" y="26049"/>
                      </a:cubicBezTo>
                      <a:cubicBezTo>
                        <a:pt x="51908" y="11789"/>
                        <a:pt x="40310" y="0"/>
                        <a:pt x="26049" y="0"/>
                      </a:cubicBezTo>
                      <a:close/>
                      <a:moveTo>
                        <a:pt x="26049" y="35366"/>
                      </a:moveTo>
                      <a:cubicBezTo>
                        <a:pt x="20915" y="35366"/>
                        <a:pt x="16732" y="31183"/>
                        <a:pt x="16732" y="26049"/>
                      </a:cubicBezTo>
                      <a:cubicBezTo>
                        <a:pt x="16732" y="20915"/>
                        <a:pt x="20915" y="16732"/>
                        <a:pt x="26049" y="16732"/>
                      </a:cubicBezTo>
                      <a:cubicBezTo>
                        <a:pt x="31183" y="16732"/>
                        <a:pt x="35366" y="20915"/>
                        <a:pt x="35366" y="26049"/>
                      </a:cubicBezTo>
                      <a:cubicBezTo>
                        <a:pt x="35366" y="31183"/>
                        <a:pt x="31183" y="35366"/>
                        <a:pt x="26049" y="35366"/>
                      </a:cubicBezTo>
                      <a:close/>
                    </a:path>
                  </a:pathLst>
                </a:custGeom>
                <a:grpFill/>
                <a:ln w="1878" cap="flat">
                  <a:noFill/>
                  <a:prstDash val="solid"/>
                  <a:miter/>
                </a:ln>
              </p:spPr>
              <p:txBody>
                <a:bodyPr rtlCol="0" anchor="ctr"/>
                <a:lstStyle/>
                <a:p>
                  <a:endParaRPr lang="en-GB" noProof="0" dirty="0"/>
                </a:p>
              </p:txBody>
            </p:sp>
            <p:sp>
              <p:nvSpPr>
                <p:cNvPr id="418" name="Freihandform: Form 417">
                  <a:extLst>
                    <a:ext uri="{FF2B5EF4-FFF2-40B4-BE49-F238E27FC236}">
                      <a16:creationId xmlns:a16="http://schemas.microsoft.com/office/drawing/2014/main" id="{2B64E83C-4CE1-0811-53A9-EDF823DFCAED}"/>
                    </a:ext>
                  </a:extLst>
                </p:cNvPr>
                <p:cNvSpPr/>
                <p:nvPr/>
              </p:nvSpPr>
              <p:spPr>
                <a:xfrm>
                  <a:off x="2288786" y="4381984"/>
                  <a:ext cx="52098" cy="52098"/>
                </a:xfrm>
                <a:custGeom>
                  <a:avLst/>
                  <a:gdLst>
                    <a:gd name="connsiteX0" fmla="*/ 26049 w 52098"/>
                    <a:gd name="connsiteY0" fmla="*/ 0 h 52098"/>
                    <a:gd name="connsiteX1" fmla="*/ 0 w 52098"/>
                    <a:gd name="connsiteY1" fmla="*/ 26049 h 52098"/>
                    <a:gd name="connsiteX2" fmla="*/ 26049 w 52098"/>
                    <a:gd name="connsiteY2" fmla="*/ 52099 h 52098"/>
                    <a:gd name="connsiteX3" fmla="*/ 52099 w 52098"/>
                    <a:gd name="connsiteY3" fmla="*/ 26049 h 52098"/>
                    <a:gd name="connsiteX4" fmla="*/ 26049 w 52098"/>
                    <a:gd name="connsiteY4" fmla="*/ 0 h 52098"/>
                    <a:gd name="connsiteX5" fmla="*/ 26049 w 52098"/>
                    <a:gd name="connsiteY5" fmla="*/ 35366 h 52098"/>
                    <a:gd name="connsiteX6" fmla="*/ 16732 w 52098"/>
                    <a:gd name="connsiteY6" fmla="*/ 26049 h 52098"/>
                    <a:gd name="connsiteX7" fmla="*/ 26049 w 52098"/>
                    <a:gd name="connsiteY7" fmla="*/ 16732 h 52098"/>
                    <a:gd name="connsiteX8" fmla="*/ 35366 w 52098"/>
                    <a:gd name="connsiteY8" fmla="*/ 26049 h 52098"/>
                    <a:gd name="connsiteX9" fmla="*/ 26049 w 52098"/>
                    <a:gd name="connsiteY9" fmla="*/ 35366 h 52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098" h="52098">
                      <a:moveTo>
                        <a:pt x="26049" y="0"/>
                      </a:moveTo>
                      <a:cubicBezTo>
                        <a:pt x="11789" y="0"/>
                        <a:pt x="0" y="11599"/>
                        <a:pt x="0" y="26049"/>
                      </a:cubicBezTo>
                      <a:cubicBezTo>
                        <a:pt x="0" y="40310"/>
                        <a:pt x="11599" y="52099"/>
                        <a:pt x="26049" y="52099"/>
                      </a:cubicBezTo>
                      <a:cubicBezTo>
                        <a:pt x="40310" y="52099"/>
                        <a:pt x="52099" y="40500"/>
                        <a:pt x="52099" y="26049"/>
                      </a:cubicBezTo>
                      <a:cubicBezTo>
                        <a:pt x="51908" y="11789"/>
                        <a:pt x="40310" y="0"/>
                        <a:pt x="26049" y="0"/>
                      </a:cubicBezTo>
                      <a:close/>
                      <a:moveTo>
                        <a:pt x="26049" y="35366"/>
                      </a:moveTo>
                      <a:cubicBezTo>
                        <a:pt x="20915" y="35366"/>
                        <a:pt x="16732" y="31183"/>
                        <a:pt x="16732" y="26049"/>
                      </a:cubicBezTo>
                      <a:cubicBezTo>
                        <a:pt x="16732" y="20915"/>
                        <a:pt x="20915" y="16732"/>
                        <a:pt x="26049" y="16732"/>
                      </a:cubicBezTo>
                      <a:cubicBezTo>
                        <a:pt x="31183" y="16732"/>
                        <a:pt x="35366" y="20915"/>
                        <a:pt x="35366" y="26049"/>
                      </a:cubicBezTo>
                      <a:cubicBezTo>
                        <a:pt x="35366" y="31183"/>
                        <a:pt x="31183" y="35366"/>
                        <a:pt x="26049" y="35366"/>
                      </a:cubicBezTo>
                      <a:close/>
                    </a:path>
                  </a:pathLst>
                </a:custGeom>
                <a:grpFill/>
                <a:ln w="1878" cap="flat">
                  <a:noFill/>
                  <a:prstDash val="solid"/>
                  <a:miter/>
                </a:ln>
              </p:spPr>
              <p:txBody>
                <a:bodyPr rtlCol="0" anchor="ctr"/>
                <a:lstStyle/>
                <a:p>
                  <a:endParaRPr lang="en-GB" noProof="0" dirty="0"/>
                </a:p>
              </p:txBody>
            </p:sp>
            <p:sp>
              <p:nvSpPr>
                <p:cNvPr id="419" name="Freihandform: Form 418">
                  <a:extLst>
                    <a:ext uri="{FF2B5EF4-FFF2-40B4-BE49-F238E27FC236}">
                      <a16:creationId xmlns:a16="http://schemas.microsoft.com/office/drawing/2014/main" id="{621C7F22-5423-510B-B85C-0A82D36E9C1D}"/>
                    </a:ext>
                  </a:extLst>
                </p:cNvPr>
                <p:cNvSpPr/>
                <p:nvPr/>
              </p:nvSpPr>
              <p:spPr>
                <a:xfrm>
                  <a:off x="1890251" y="4151914"/>
                  <a:ext cx="539429" cy="317345"/>
                </a:xfrm>
                <a:custGeom>
                  <a:avLst/>
                  <a:gdLst>
                    <a:gd name="connsiteX0" fmla="*/ 530113 w 539429"/>
                    <a:gd name="connsiteY0" fmla="*/ 214669 h 317345"/>
                    <a:gd name="connsiteX1" fmla="*/ 530113 w 539429"/>
                    <a:gd name="connsiteY1" fmla="*/ 150782 h 317345"/>
                    <a:gd name="connsiteX2" fmla="*/ 524218 w 539429"/>
                    <a:gd name="connsiteY2" fmla="*/ 128725 h 317345"/>
                    <a:gd name="connsiteX3" fmla="*/ 477254 w 539429"/>
                    <a:gd name="connsiteY3" fmla="*/ 48296 h 317345"/>
                    <a:gd name="connsiteX4" fmla="*/ 439606 w 539429"/>
                    <a:gd name="connsiteY4" fmla="*/ 26620 h 317345"/>
                    <a:gd name="connsiteX5" fmla="*/ 380282 w 539429"/>
                    <a:gd name="connsiteY5" fmla="*/ 26620 h 317345"/>
                    <a:gd name="connsiteX6" fmla="*/ 363169 w 539429"/>
                    <a:gd name="connsiteY6" fmla="*/ 43732 h 317345"/>
                    <a:gd name="connsiteX7" fmla="*/ 363169 w 539429"/>
                    <a:gd name="connsiteY7" fmla="*/ 194704 h 317345"/>
                    <a:gd name="connsiteX8" fmla="*/ 344345 w 539429"/>
                    <a:gd name="connsiteY8" fmla="*/ 194704 h 317345"/>
                    <a:gd name="connsiteX9" fmla="*/ 344345 w 539429"/>
                    <a:gd name="connsiteY9" fmla="*/ 26049 h 317345"/>
                    <a:gd name="connsiteX10" fmla="*/ 318296 w 539429"/>
                    <a:gd name="connsiteY10" fmla="*/ 0 h 317345"/>
                    <a:gd name="connsiteX11" fmla="*/ 26049 w 539429"/>
                    <a:gd name="connsiteY11" fmla="*/ 0 h 317345"/>
                    <a:gd name="connsiteX12" fmla="*/ 0 w 539429"/>
                    <a:gd name="connsiteY12" fmla="*/ 26049 h 317345"/>
                    <a:gd name="connsiteX13" fmla="*/ 0 w 539429"/>
                    <a:gd name="connsiteY13" fmla="*/ 238246 h 317345"/>
                    <a:gd name="connsiteX14" fmla="*/ 26049 w 539429"/>
                    <a:gd name="connsiteY14" fmla="*/ 264296 h 317345"/>
                    <a:gd name="connsiteX15" fmla="*/ 89176 w 539429"/>
                    <a:gd name="connsiteY15" fmla="*/ 264296 h 317345"/>
                    <a:gd name="connsiteX16" fmla="*/ 150021 w 539429"/>
                    <a:gd name="connsiteY16" fmla="*/ 317345 h 317345"/>
                    <a:gd name="connsiteX17" fmla="*/ 210866 w 539429"/>
                    <a:gd name="connsiteY17" fmla="*/ 264296 h 317345"/>
                    <a:gd name="connsiteX18" fmla="*/ 364120 w 539429"/>
                    <a:gd name="connsiteY18" fmla="*/ 264296 h 317345"/>
                    <a:gd name="connsiteX19" fmla="*/ 424965 w 539429"/>
                    <a:gd name="connsiteY19" fmla="*/ 317345 h 317345"/>
                    <a:gd name="connsiteX20" fmla="*/ 485810 w 539429"/>
                    <a:gd name="connsiteY20" fmla="*/ 264296 h 317345"/>
                    <a:gd name="connsiteX21" fmla="*/ 522317 w 539429"/>
                    <a:gd name="connsiteY21" fmla="*/ 264296 h 317345"/>
                    <a:gd name="connsiteX22" fmla="*/ 539430 w 539429"/>
                    <a:gd name="connsiteY22" fmla="*/ 247183 h 317345"/>
                    <a:gd name="connsiteX23" fmla="*/ 539430 w 539429"/>
                    <a:gd name="connsiteY23" fmla="*/ 229500 h 317345"/>
                    <a:gd name="connsiteX24" fmla="*/ 530113 w 539429"/>
                    <a:gd name="connsiteY24" fmla="*/ 214669 h 317345"/>
                    <a:gd name="connsiteX25" fmla="*/ 16542 w 539429"/>
                    <a:gd name="connsiteY25" fmla="*/ 175880 h 317345"/>
                    <a:gd name="connsiteX26" fmla="*/ 35366 w 539429"/>
                    <a:gd name="connsiteY26" fmla="*/ 175880 h 317345"/>
                    <a:gd name="connsiteX27" fmla="*/ 35366 w 539429"/>
                    <a:gd name="connsiteY27" fmla="*/ 202880 h 317345"/>
                    <a:gd name="connsiteX28" fmla="*/ 26049 w 539429"/>
                    <a:gd name="connsiteY28" fmla="*/ 212197 h 317345"/>
                    <a:gd name="connsiteX29" fmla="*/ 16542 w 539429"/>
                    <a:gd name="connsiteY29" fmla="*/ 212197 h 317345"/>
                    <a:gd name="connsiteX30" fmla="*/ 16542 w 539429"/>
                    <a:gd name="connsiteY30" fmla="*/ 175880 h 317345"/>
                    <a:gd name="connsiteX31" fmla="*/ 149831 w 539429"/>
                    <a:gd name="connsiteY31" fmla="*/ 300803 h 317345"/>
                    <a:gd name="connsiteX32" fmla="*/ 105148 w 539429"/>
                    <a:gd name="connsiteY32" fmla="*/ 256120 h 317345"/>
                    <a:gd name="connsiteX33" fmla="*/ 105148 w 539429"/>
                    <a:gd name="connsiteY33" fmla="*/ 256120 h 317345"/>
                    <a:gd name="connsiteX34" fmla="*/ 105148 w 539429"/>
                    <a:gd name="connsiteY34" fmla="*/ 256120 h 317345"/>
                    <a:gd name="connsiteX35" fmla="*/ 149831 w 539429"/>
                    <a:gd name="connsiteY35" fmla="*/ 211437 h 317345"/>
                    <a:gd name="connsiteX36" fmla="*/ 194704 w 539429"/>
                    <a:gd name="connsiteY36" fmla="*/ 256120 h 317345"/>
                    <a:gd name="connsiteX37" fmla="*/ 149831 w 539429"/>
                    <a:gd name="connsiteY37" fmla="*/ 300803 h 317345"/>
                    <a:gd name="connsiteX38" fmla="*/ 327803 w 539429"/>
                    <a:gd name="connsiteY38" fmla="*/ 247754 h 317345"/>
                    <a:gd name="connsiteX39" fmla="*/ 210486 w 539429"/>
                    <a:gd name="connsiteY39" fmla="*/ 247754 h 317345"/>
                    <a:gd name="connsiteX40" fmla="*/ 149641 w 539429"/>
                    <a:gd name="connsiteY40" fmla="*/ 194704 h 317345"/>
                    <a:gd name="connsiteX41" fmla="*/ 88796 w 539429"/>
                    <a:gd name="connsiteY41" fmla="*/ 247754 h 317345"/>
                    <a:gd name="connsiteX42" fmla="*/ 26049 w 539429"/>
                    <a:gd name="connsiteY42" fmla="*/ 247754 h 317345"/>
                    <a:gd name="connsiteX43" fmla="*/ 16732 w 539429"/>
                    <a:gd name="connsiteY43" fmla="*/ 238437 h 317345"/>
                    <a:gd name="connsiteX44" fmla="*/ 16732 w 539429"/>
                    <a:gd name="connsiteY44" fmla="*/ 229120 h 317345"/>
                    <a:gd name="connsiteX45" fmla="*/ 26049 w 539429"/>
                    <a:gd name="connsiteY45" fmla="*/ 229120 h 317345"/>
                    <a:gd name="connsiteX46" fmla="*/ 52099 w 539429"/>
                    <a:gd name="connsiteY46" fmla="*/ 203070 h 317345"/>
                    <a:gd name="connsiteX47" fmla="*/ 52099 w 539429"/>
                    <a:gd name="connsiteY47" fmla="*/ 167704 h 317345"/>
                    <a:gd name="connsiteX48" fmla="*/ 43732 w 539429"/>
                    <a:gd name="connsiteY48" fmla="*/ 159338 h 317345"/>
                    <a:gd name="connsiteX49" fmla="*/ 16542 w 539429"/>
                    <a:gd name="connsiteY49" fmla="*/ 159338 h 317345"/>
                    <a:gd name="connsiteX50" fmla="*/ 16542 w 539429"/>
                    <a:gd name="connsiteY50" fmla="*/ 26049 h 317345"/>
                    <a:gd name="connsiteX51" fmla="*/ 25859 w 539429"/>
                    <a:gd name="connsiteY51" fmla="*/ 16732 h 317345"/>
                    <a:gd name="connsiteX52" fmla="*/ 318296 w 539429"/>
                    <a:gd name="connsiteY52" fmla="*/ 16732 h 317345"/>
                    <a:gd name="connsiteX53" fmla="*/ 327613 w 539429"/>
                    <a:gd name="connsiteY53" fmla="*/ 26049 h 317345"/>
                    <a:gd name="connsiteX54" fmla="*/ 327613 w 539429"/>
                    <a:gd name="connsiteY54" fmla="*/ 247754 h 317345"/>
                    <a:gd name="connsiteX55" fmla="*/ 363169 w 539429"/>
                    <a:gd name="connsiteY55" fmla="*/ 247754 h 317345"/>
                    <a:gd name="connsiteX56" fmla="*/ 344345 w 539429"/>
                    <a:gd name="connsiteY56" fmla="*/ 247754 h 317345"/>
                    <a:gd name="connsiteX57" fmla="*/ 344345 w 539429"/>
                    <a:gd name="connsiteY57" fmla="*/ 211246 h 317345"/>
                    <a:gd name="connsiteX58" fmla="*/ 363169 w 539429"/>
                    <a:gd name="connsiteY58" fmla="*/ 211246 h 317345"/>
                    <a:gd name="connsiteX59" fmla="*/ 363169 w 539429"/>
                    <a:gd name="connsiteY59" fmla="*/ 247754 h 317345"/>
                    <a:gd name="connsiteX60" fmla="*/ 379711 w 539429"/>
                    <a:gd name="connsiteY60" fmla="*/ 43923 h 317345"/>
                    <a:gd name="connsiteX61" fmla="*/ 380282 w 539429"/>
                    <a:gd name="connsiteY61" fmla="*/ 43352 h 317345"/>
                    <a:gd name="connsiteX62" fmla="*/ 439606 w 539429"/>
                    <a:gd name="connsiteY62" fmla="*/ 43352 h 317345"/>
                    <a:gd name="connsiteX63" fmla="*/ 462993 w 539429"/>
                    <a:gd name="connsiteY63" fmla="*/ 56852 h 317345"/>
                    <a:gd name="connsiteX64" fmla="*/ 466035 w 539429"/>
                    <a:gd name="connsiteY64" fmla="*/ 62176 h 317345"/>
                    <a:gd name="connsiteX65" fmla="*/ 379711 w 539429"/>
                    <a:gd name="connsiteY65" fmla="*/ 62176 h 317345"/>
                    <a:gd name="connsiteX66" fmla="*/ 379711 w 539429"/>
                    <a:gd name="connsiteY66" fmla="*/ 43923 h 317345"/>
                    <a:gd name="connsiteX67" fmla="*/ 379711 w 539429"/>
                    <a:gd name="connsiteY67" fmla="*/ 78718 h 317345"/>
                    <a:gd name="connsiteX68" fmla="*/ 475732 w 539429"/>
                    <a:gd name="connsiteY68" fmla="*/ 78718 h 317345"/>
                    <a:gd name="connsiteX69" fmla="*/ 509768 w 539429"/>
                    <a:gd name="connsiteY69" fmla="*/ 137092 h 317345"/>
                    <a:gd name="connsiteX70" fmla="*/ 513380 w 539429"/>
                    <a:gd name="connsiteY70" fmla="*/ 150782 h 317345"/>
                    <a:gd name="connsiteX71" fmla="*/ 513380 w 539429"/>
                    <a:gd name="connsiteY71" fmla="*/ 159528 h 317345"/>
                    <a:gd name="connsiteX72" fmla="*/ 497218 w 539429"/>
                    <a:gd name="connsiteY72" fmla="*/ 159528 h 317345"/>
                    <a:gd name="connsiteX73" fmla="*/ 484289 w 539429"/>
                    <a:gd name="connsiteY73" fmla="*/ 154204 h 317345"/>
                    <a:gd name="connsiteX74" fmla="*/ 473261 w 539429"/>
                    <a:gd name="connsiteY74" fmla="*/ 143176 h 317345"/>
                    <a:gd name="connsiteX75" fmla="*/ 448732 w 539429"/>
                    <a:gd name="connsiteY75" fmla="*/ 132908 h 317345"/>
                    <a:gd name="connsiteX76" fmla="*/ 379521 w 539429"/>
                    <a:gd name="connsiteY76" fmla="*/ 132908 h 317345"/>
                    <a:gd name="connsiteX77" fmla="*/ 379521 w 539429"/>
                    <a:gd name="connsiteY77" fmla="*/ 78718 h 317345"/>
                    <a:gd name="connsiteX78" fmla="*/ 424585 w 539429"/>
                    <a:gd name="connsiteY78" fmla="*/ 300803 h 317345"/>
                    <a:gd name="connsiteX79" fmla="*/ 379901 w 539429"/>
                    <a:gd name="connsiteY79" fmla="*/ 255930 h 317345"/>
                    <a:gd name="connsiteX80" fmla="*/ 424585 w 539429"/>
                    <a:gd name="connsiteY80" fmla="*/ 211246 h 317345"/>
                    <a:gd name="connsiteX81" fmla="*/ 469268 w 539429"/>
                    <a:gd name="connsiteY81" fmla="*/ 255930 h 317345"/>
                    <a:gd name="connsiteX82" fmla="*/ 424585 w 539429"/>
                    <a:gd name="connsiteY82" fmla="*/ 300803 h 317345"/>
                    <a:gd name="connsiteX83" fmla="*/ 486951 w 539429"/>
                    <a:gd name="connsiteY83" fmla="*/ 229500 h 317345"/>
                    <a:gd name="connsiteX84" fmla="*/ 486951 w 539429"/>
                    <a:gd name="connsiteY84" fmla="*/ 247754 h 317345"/>
                    <a:gd name="connsiteX85" fmla="*/ 485239 w 539429"/>
                    <a:gd name="connsiteY85" fmla="*/ 247754 h 317345"/>
                    <a:gd name="connsiteX86" fmla="*/ 424394 w 539429"/>
                    <a:gd name="connsiteY86" fmla="*/ 194704 h 317345"/>
                    <a:gd name="connsiteX87" fmla="*/ 379711 w 539429"/>
                    <a:gd name="connsiteY87" fmla="*/ 214099 h 317345"/>
                    <a:gd name="connsiteX88" fmla="*/ 379711 w 539429"/>
                    <a:gd name="connsiteY88" fmla="*/ 149261 h 317345"/>
                    <a:gd name="connsiteX89" fmla="*/ 448923 w 539429"/>
                    <a:gd name="connsiteY89" fmla="*/ 149261 h 317345"/>
                    <a:gd name="connsiteX90" fmla="*/ 461852 w 539429"/>
                    <a:gd name="connsiteY90" fmla="*/ 154585 h 317345"/>
                    <a:gd name="connsiteX91" fmla="*/ 472880 w 539429"/>
                    <a:gd name="connsiteY91" fmla="*/ 165613 h 317345"/>
                    <a:gd name="connsiteX92" fmla="*/ 497408 w 539429"/>
                    <a:gd name="connsiteY92" fmla="*/ 175880 h 317345"/>
                    <a:gd name="connsiteX93" fmla="*/ 513570 w 539429"/>
                    <a:gd name="connsiteY93" fmla="*/ 175880 h 317345"/>
                    <a:gd name="connsiteX94" fmla="*/ 513570 w 539429"/>
                    <a:gd name="connsiteY94" fmla="*/ 212387 h 317345"/>
                    <a:gd name="connsiteX95" fmla="*/ 504254 w 539429"/>
                    <a:gd name="connsiteY95" fmla="*/ 212387 h 317345"/>
                    <a:gd name="connsiteX96" fmla="*/ 486951 w 539429"/>
                    <a:gd name="connsiteY96" fmla="*/ 229500 h 317345"/>
                    <a:gd name="connsiteX97" fmla="*/ 522317 w 539429"/>
                    <a:gd name="connsiteY97" fmla="*/ 247183 h 317345"/>
                    <a:gd name="connsiteX98" fmla="*/ 521746 w 539429"/>
                    <a:gd name="connsiteY98" fmla="*/ 247754 h 317345"/>
                    <a:gd name="connsiteX99" fmla="*/ 503493 w 539429"/>
                    <a:gd name="connsiteY99" fmla="*/ 247754 h 317345"/>
                    <a:gd name="connsiteX100" fmla="*/ 503493 w 539429"/>
                    <a:gd name="connsiteY100" fmla="*/ 229500 h 317345"/>
                    <a:gd name="connsiteX101" fmla="*/ 504063 w 539429"/>
                    <a:gd name="connsiteY101" fmla="*/ 228930 h 317345"/>
                    <a:gd name="connsiteX102" fmla="*/ 521746 w 539429"/>
                    <a:gd name="connsiteY102" fmla="*/ 228930 h 317345"/>
                    <a:gd name="connsiteX103" fmla="*/ 522317 w 539429"/>
                    <a:gd name="connsiteY103" fmla="*/ 229500 h 317345"/>
                    <a:gd name="connsiteX104" fmla="*/ 522317 w 539429"/>
                    <a:gd name="connsiteY104" fmla="*/ 247183 h 317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539429" h="317345">
                      <a:moveTo>
                        <a:pt x="530113" y="214669"/>
                      </a:moveTo>
                      <a:lnTo>
                        <a:pt x="530113" y="150782"/>
                      </a:lnTo>
                      <a:cubicBezTo>
                        <a:pt x="530113" y="142986"/>
                        <a:pt x="528021" y="135380"/>
                        <a:pt x="524218" y="128725"/>
                      </a:cubicBezTo>
                      <a:lnTo>
                        <a:pt x="477254" y="48296"/>
                      </a:lnTo>
                      <a:cubicBezTo>
                        <a:pt x="469458" y="34986"/>
                        <a:pt x="455007" y="26620"/>
                        <a:pt x="439606" y="26620"/>
                      </a:cubicBezTo>
                      <a:lnTo>
                        <a:pt x="380282" y="26620"/>
                      </a:lnTo>
                      <a:cubicBezTo>
                        <a:pt x="370775" y="26620"/>
                        <a:pt x="363169" y="34225"/>
                        <a:pt x="363169" y="43732"/>
                      </a:cubicBezTo>
                      <a:lnTo>
                        <a:pt x="363169" y="194704"/>
                      </a:lnTo>
                      <a:lnTo>
                        <a:pt x="344345" y="194704"/>
                      </a:lnTo>
                      <a:lnTo>
                        <a:pt x="344345" y="26049"/>
                      </a:lnTo>
                      <a:cubicBezTo>
                        <a:pt x="344345" y="11789"/>
                        <a:pt x="332746" y="0"/>
                        <a:pt x="318296" y="0"/>
                      </a:cubicBezTo>
                      <a:lnTo>
                        <a:pt x="26049" y="0"/>
                      </a:lnTo>
                      <a:cubicBezTo>
                        <a:pt x="11789" y="0"/>
                        <a:pt x="0" y="11599"/>
                        <a:pt x="0" y="26049"/>
                      </a:cubicBezTo>
                      <a:lnTo>
                        <a:pt x="0" y="238246"/>
                      </a:lnTo>
                      <a:cubicBezTo>
                        <a:pt x="0" y="252507"/>
                        <a:pt x="11599" y="264296"/>
                        <a:pt x="26049" y="264296"/>
                      </a:cubicBezTo>
                      <a:lnTo>
                        <a:pt x="89176" y="264296"/>
                      </a:lnTo>
                      <a:cubicBezTo>
                        <a:pt x="93169" y="294148"/>
                        <a:pt x="118838" y="317345"/>
                        <a:pt x="150021" y="317345"/>
                      </a:cubicBezTo>
                      <a:cubicBezTo>
                        <a:pt x="181014" y="317345"/>
                        <a:pt x="206683" y="294148"/>
                        <a:pt x="210866" y="264296"/>
                      </a:cubicBezTo>
                      <a:lnTo>
                        <a:pt x="364120" y="264296"/>
                      </a:lnTo>
                      <a:cubicBezTo>
                        <a:pt x="368113" y="294148"/>
                        <a:pt x="393972" y="317345"/>
                        <a:pt x="424965" y="317345"/>
                      </a:cubicBezTo>
                      <a:cubicBezTo>
                        <a:pt x="455958" y="317345"/>
                        <a:pt x="481627" y="294148"/>
                        <a:pt x="485810" y="264296"/>
                      </a:cubicBezTo>
                      <a:lnTo>
                        <a:pt x="522317" y="264296"/>
                      </a:lnTo>
                      <a:cubicBezTo>
                        <a:pt x="531824" y="264296"/>
                        <a:pt x="539430" y="256690"/>
                        <a:pt x="539430" y="247183"/>
                      </a:cubicBezTo>
                      <a:lnTo>
                        <a:pt x="539430" y="229500"/>
                      </a:lnTo>
                      <a:cubicBezTo>
                        <a:pt x="539049" y="223225"/>
                        <a:pt x="535437" y="217521"/>
                        <a:pt x="530113" y="214669"/>
                      </a:cubicBezTo>
                      <a:close/>
                      <a:moveTo>
                        <a:pt x="16542" y="175880"/>
                      </a:moveTo>
                      <a:lnTo>
                        <a:pt x="35366" y="175880"/>
                      </a:lnTo>
                      <a:lnTo>
                        <a:pt x="35366" y="202880"/>
                      </a:lnTo>
                      <a:cubicBezTo>
                        <a:pt x="35366" y="208014"/>
                        <a:pt x="31183" y="212197"/>
                        <a:pt x="26049" y="212197"/>
                      </a:cubicBezTo>
                      <a:lnTo>
                        <a:pt x="16542" y="212197"/>
                      </a:lnTo>
                      <a:lnTo>
                        <a:pt x="16542" y="175880"/>
                      </a:lnTo>
                      <a:close/>
                      <a:moveTo>
                        <a:pt x="149831" y="300803"/>
                      </a:moveTo>
                      <a:cubicBezTo>
                        <a:pt x="125113" y="300803"/>
                        <a:pt x="105148" y="280648"/>
                        <a:pt x="105148" y="256120"/>
                      </a:cubicBezTo>
                      <a:lnTo>
                        <a:pt x="105148" y="256120"/>
                      </a:lnTo>
                      <a:lnTo>
                        <a:pt x="105148" y="256120"/>
                      </a:lnTo>
                      <a:cubicBezTo>
                        <a:pt x="105148" y="231401"/>
                        <a:pt x="125303" y="211437"/>
                        <a:pt x="149831" y="211437"/>
                      </a:cubicBezTo>
                      <a:cubicBezTo>
                        <a:pt x="174549" y="211437"/>
                        <a:pt x="194704" y="231592"/>
                        <a:pt x="194704" y="256120"/>
                      </a:cubicBezTo>
                      <a:cubicBezTo>
                        <a:pt x="194514" y="280838"/>
                        <a:pt x="174549" y="300803"/>
                        <a:pt x="149831" y="300803"/>
                      </a:cubicBezTo>
                      <a:close/>
                      <a:moveTo>
                        <a:pt x="327803" y="247754"/>
                      </a:moveTo>
                      <a:lnTo>
                        <a:pt x="210486" y="247754"/>
                      </a:lnTo>
                      <a:cubicBezTo>
                        <a:pt x="206493" y="217901"/>
                        <a:pt x="180634" y="194704"/>
                        <a:pt x="149641" y="194704"/>
                      </a:cubicBezTo>
                      <a:cubicBezTo>
                        <a:pt x="118648" y="194704"/>
                        <a:pt x="92979" y="217901"/>
                        <a:pt x="88796" y="247754"/>
                      </a:cubicBezTo>
                      <a:lnTo>
                        <a:pt x="26049" y="247754"/>
                      </a:lnTo>
                      <a:cubicBezTo>
                        <a:pt x="20915" y="247754"/>
                        <a:pt x="16732" y="243570"/>
                        <a:pt x="16732" y="238437"/>
                      </a:cubicBezTo>
                      <a:lnTo>
                        <a:pt x="16732" y="229120"/>
                      </a:lnTo>
                      <a:lnTo>
                        <a:pt x="26049" y="229120"/>
                      </a:lnTo>
                      <a:cubicBezTo>
                        <a:pt x="40310" y="229120"/>
                        <a:pt x="52099" y="217521"/>
                        <a:pt x="52099" y="203070"/>
                      </a:cubicBezTo>
                      <a:lnTo>
                        <a:pt x="52099" y="167704"/>
                      </a:lnTo>
                      <a:cubicBezTo>
                        <a:pt x="52099" y="163141"/>
                        <a:pt x="48296" y="159338"/>
                        <a:pt x="43732" y="159338"/>
                      </a:cubicBezTo>
                      <a:lnTo>
                        <a:pt x="16542" y="159338"/>
                      </a:lnTo>
                      <a:lnTo>
                        <a:pt x="16542" y="26049"/>
                      </a:lnTo>
                      <a:cubicBezTo>
                        <a:pt x="16542" y="20915"/>
                        <a:pt x="20725" y="16732"/>
                        <a:pt x="25859" y="16732"/>
                      </a:cubicBezTo>
                      <a:lnTo>
                        <a:pt x="318296" y="16732"/>
                      </a:lnTo>
                      <a:cubicBezTo>
                        <a:pt x="323430" y="16732"/>
                        <a:pt x="327613" y="20915"/>
                        <a:pt x="327613" y="26049"/>
                      </a:cubicBezTo>
                      <a:lnTo>
                        <a:pt x="327613" y="247754"/>
                      </a:lnTo>
                      <a:close/>
                      <a:moveTo>
                        <a:pt x="363169" y="247754"/>
                      </a:moveTo>
                      <a:lnTo>
                        <a:pt x="344345" y="247754"/>
                      </a:lnTo>
                      <a:lnTo>
                        <a:pt x="344345" y="211246"/>
                      </a:lnTo>
                      <a:lnTo>
                        <a:pt x="363169" y="211246"/>
                      </a:lnTo>
                      <a:lnTo>
                        <a:pt x="363169" y="247754"/>
                      </a:lnTo>
                      <a:close/>
                      <a:moveTo>
                        <a:pt x="379711" y="43923"/>
                      </a:moveTo>
                      <a:cubicBezTo>
                        <a:pt x="379711" y="43542"/>
                        <a:pt x="379901" y="43352"/>
                        <a:pt x="380282" y="43352"/>
                      </a:cubicBezTo>
                      <a:lnTo>
                        <a:pt x="439606" y="43352"/>
                      </a:lnTo>
                      <a:cubicBezTo>
                        <a:pt x="449303" y="43352"/>
                        <a:pt x="458239" y="48486"/>
                        <a:pt x="462993" y="56852"/>
                      </a:cubicBezTo>
                      <a:lnTo>
                        <a:pt x="466035" y="62176"/>
                      </a:lnTo>
                      <a:lnTo>
                        <a:pt x="379711" y="62176"/>
                      </a:lnTo>
                      <a:lnTo>
                        <a:pt x="379711" y="43923"/>
                      </a:lnTo>
                      <a:close/>
                      <a:moveTo>
                        <a:pt x="379711" y="78718"/>
                      </a:moveTo>
                      <a:lnTo>
                        <a:pt x="475732" y="78718"/>
                      </a:lnTo>
                      <a:lnTo>
                        <a:pt x="509768" y="137092"/>
                      </a:lnTo>
                      <a:cubicBezTo>
                        <a:pt x="512239" y="141275"/>
                        <a:pt x="513380" y="146028"/>
                        <a:pt x="513380" y="150782"/>
                      </a:cubicBezTo>
                      <a:lnTo>
                        <a:pt x="513380" y="159528"/>
                      </a:lnTo>
                      <a:lnTo>
                        <a:pt x="497218" y="159528"/>
                      </a:lnTo>
                      <a:cubicBezTo>
                        <a:pt x="492275" y="159528"/>
                        <a:pt x="487711" y="157627"/>
                        <a:pt x="484289" y="154204"/>
                      </a:cubicBezTo>
                      <a:lnTo>
                        <a:pt x="473261" y="143176"/>
                      </a:lnTo>
                      <a:cubicBezTo>
                        <a:pt x="466606" y="136521"/>
                        <a:pt x="457859" y="132908"/>
                        <a:pt x="448732" y="132908"/>
                      </a:cubicBezTo>
                      <a:lnTo>
                        <a:pt x="379521" y="132908"/>
                      </a:lnTo>
                      <a:lnTo>
                        <a:pt x="379521" y="78718"/>
                      </a:lnTo>
                      <a:close/>
                      <a:moveTo>
                        <a:pt x="424585" y="300803"/>
                      </a:moveTo>
                      <a:cubicBezTo>
                        <a:pt x="399866" y="300803"/>
                        <a:pt x="379901" y="280648"/>
                        <a:pt x="379901" y="255930"/>
                      </a:cubicBezTo>
                      <a:cubicBezTo>
                        <a:pt x="379901" y="231211"/>
                        <a:pt x="400056" y="211246"/>
                        <a:pt x="424585" y="211246"/>
                      </a:cubicBezTo>
                      <a:cubicBezTo>
                        <a:pt x="449303" y="211246"/>
                        <a:pt x="469268" y="231401"/>
                        <a:pt x="469268" y="255930"/>
                      </a:cubicBezTo>
                      <a:cubicBezTo>
                        <a:pt x="469268" y="280838"/>
                        <a:pt x="449303" y="300803"/>
                        <a:pt x="424585" y="300803"/>
                      </a:cubicBezTo>
                      <a:close/>
                      <a:moveTo>
                        <a:pt x="486951" y="229500"/>
                      </a:moveTo>
                      <a:lnTo>
                        <a:pt x="486951" y="247754"/>
                      </a:lnTo>
                      <a:lnTo>
                        <a:pt x="485239" y="247754"/>
                      </a:lnTo>
                      <a:cubicBezTo>
                        <a:pt x="481247" y="217901"/>
                        <a:pt x="455387" y="194704"/>
                        <a:pt x="424394" y="194704"/>
                      </a:cubicBezTo>
                      <a:cubicBezTo>
                        <a:pt x="406711" y="194704"/>
                        <a:pt x="390739" y="202120"/>
                        <a:pt x="379711" y="214099"/>
                      </a:cubicBezTo>
                      <a:lnTo>
                        <a:pt x="379711" y="149261"/>
                      </a:lnTo>
                      <a:lnTo>
                        <a:pt x="448923" y="149261"/>
                      </a:lnTo>
                      <a:cubicBezTo>
                        <a:pt x="453866" y="149261"/>
                        <a:pt x="458430" y="151162"/>
                        <a:pt x="461852" y="154585"/>
                      </a:cubicBezTo>
                      <a:lnTo>
                        <a:pt x="472880" y="165613"/>
                      </a:lnTo>
                      <a:cubicBezTo>
                        <a:pt x="479535" y="172268"/>
                        <a:pt x="488282" y="175880"/>
                        <a:pt x="497408" y="175880"/>
                      </a:cubicBezTo>
                      <a:lnTo>
                        <a:pt x="513570" y="175880"/>
                      </a:lnTo>
                      <a:lnTo>
                        <a:pt x="513570" y="212387"/>
                      </a:lnTo>
                      <a:lnTo>
                        <a:pt x="504254" y="212387"/>
                      </a:lnTo>
                      <a:cubicBezTo>
                        <a:pt x="494747" y="212387"/>
                        <a:pt x="486951" y="220183"/>
                        <a:pt x="486951" y="229500"/>
                      </a:cubicBezTo>
                      <a:close/>
                      <a:moveTo>
                        <a:pt x="522317" y="247183"/>
                      </a:moveTo>
                      <a:cubicBezTo>
                        <a:pt x="522317" y="247563"/>
                        <a:pt x="522127" y="247754"/>
                        <a:pt x="521746" y="247754"/>
                      </a:cubicBezTo>
                      <a:lnTo>
                        <a:pt x="503493" y="247754"/>
                      </a:lnTo>
                      <a:lnTo>
                        <a:pt x="503493" y="229500"/>
                      </a:lnTo>
                      <a:cubicBezTo>
                        <a:pt x="503493" y="229120"/>
                        <a:pt x="503683" y="228930"/>
                        <a:pt x="504063" y="228930"/>
                      </a:cubicBezTo>
                      <a:lnTo>
                        <a:pt x="521746" y="228930"/>
                      </a:lnTo>
                      <a:cubicBezTo>
                        <a:pt x="522127" y="228930"/>
                        <a:pt x="522317" y="229120"/>
                        <a:pt x="522317" y="229500"/>
                      </a:cubicBezTo>
                      <a:lnTo>
                        <a:pt x="522317" y="247183"/>
                      </a:lnTo>
                      <a:close/>
                    </a:path>
                  </a:pathLst>
                </a:custGeom>
                <a:grpFill/>
                <a:ln w="1878" cap="flat">
                  <a:noFill/>
                  <a:prstDash val="solid"/>
                  <a:miter/>
                </a:ln>
              </p:spPr>
              <p:txBody>
                <a:bodyPr rtlCol="0" anchor="ctr"/>
                <a:lstStyle/>
                <a:p>
                  <a:endParaRPr lang="en-GB" noProof="0" dirty="0"/>
                </a:p>
              </p:txBody>
            </p:sp>
          </p:grpSp>
        </p:grpSp>
      </p:grpSp>
      <p:pic>
        <p:nvPicPr>
          <p:cNvPr id="420" name="Grafik 419">
            <a:extLst>
              <a:ext uri="{FF2B5EF4-FFF2-40B4-BE49-F238E27FC236}">
                <a16:creationId xmlns:a16="http://schemas.microsoft.com/office/drawing/2014/main" id="{D18F82A6-6F11-83DD-A854-3F53600F5E5C}"/>
              </a:ext>
            </a:extLst>
          </p:cNvPr>
          <p:cNvPicPr>
            <a:picLocks noChangeAspect="1"/>
          </p:cNvPicPr>
          <p:nvPr/>
        </p:nvPicPr>
        <p:blipFill>
          <a:blip r:embed="rId3"/>
          <a:stretch>
            <a:fillRect/>
          </a:stretch>
        </p:blipFill>
        <p:spPr>
          <a:xfrm>
            <a:off x="3355475" y="2132740"/>
            <a:ext cx="193947" cy="89790"/>
          </a:xfrm>
          <a:prstGeom prst="rect">
            <a:avLst/>
          </a:prstGeom>
        </p:spPr>
      </p:pic>
      <p:grpSp>
        <p:nvGrpSpPr>
          <p:cNvPr id="10" name="Gruppieren 9">
            <a:extLst>
              <a:ext uri="{FF2B5EF4-FFF2-40B4-BE49-F238E27FC236}">
                <a16:creationId xmlns:a16="http://schemas.microsoft.com/office/drawing/2014/main" id="{7455BA73-CA2A-D3C6-EDDE-134F55F0016B}"/>
              </a:ext>
            </a:extLst>
          </p:cNvPr>
          <p:cNvGrpSpPr/>
          <p:nvPr/>
        </p:nvGrpSpPr>
        <p:grpSpPr>
          <a:xfrm>
            <a:off x="3333612" y="2535569"/>
            <a:ext cx="360000" cy="360000"/>
            <a:chOff x="3326505" y="2872156"/>
            <a:chExt cx="360000" cy="360000"/>
          </a:xfrm>
        </p:grpSpPr>
        <p:grpSp>
          <p:nvGrpSpPr>
            <p:cNvPr id="284" name="Grafik 42">
              <a:extLst>
                <a:ext uri="{FF2B5EF4-FFF2-40B4-BE49-F238E27FC236}">
                  <a16:creationId xmlns:a16="http://schemas.microsoft.com/office/drawing/2014/main" id="{A979AEC3-5887-A6F4-F14D-08847AEB6C2C}"/>
                </a:ext>
              </a:extLst>
            </p:cNvPr>
            <p:cNvGrpSpPr>
              <a:grpSpLocks noChangeAspect="1"/>
            </p:cNvGrpSpPr>
            <p:nvPr/>
          </p:nvGrpSpPr>
          <p:grpSpPr>
            <a:xfrm>
              <a:off x="3326505" y="2872156"/>
              <a:ext cx="360000" cy="360000"/>
              <a:chOff x="1890251" y="3930400"/>
              <a:chExt cx="540000" cy="540000"/>
            </a:xfrm>
            <a:solidFill>
              <a:schemeClr val="accent1"/>
            </a:solidFill>
          </p:grpSpPr>
          <p:grpSp>
            <p:nvGrpSpPr>
              <p:cNvPr id="285" name="Grafik 42">
                <a:extLst>
                  <a:ext uri="{FF2B5EF4-FFF2-40B4-BE49-F238E27FC236}">
                    <a16:creationId xmlns:a16="http://schemas.microsoft.com/office/drawing/2014/main" id="{F90BD688-CF99-1119-2D1A-C221B6EA4680}"/>
                  </a:ext>
                </a:extLst>
              </p:cNvPr>
              <p:cNvGrpSpPr/>
              <p:nvPr/>
            </p:nvGrpSpPr>
            <p:grpSpPr>
              <a:xfrm>
                <a:off x="1890251" y="3930400"/>
                <a:ext cx="539429" cy="538859"/>
                <a:chOff x="1890251" y="3930400"/>
                <a:chExt cx="539429" cy="538859"/>
              </a:xfrm>
              <a:grpFill/>
            </p:grpSpPr>
            <p:grpSp>
              <p:nvGrpSpPr>
                <p:cNvPr id="286" name="Grafik 42">
                  <a:extLst>
                    <a:ext uri="{FF2B5EF4-FFF2-40B4-BE49-F238E27FC236}">
                      <a16:creationId xmlns:a16="http://schemas.microsoft.com/office/drawing/2014/main" id="{1B1C603A-B1E6-FD15-3799-F91791ABAA84}"/>
                    </a:ext>
                  </a:extLst>
                </p:cNvPr>
                <p:cNvGrpSpPr/>
                <p:nvPr/>
              </p:nvGrpSpPr>
              <p:grpSpPr>
                <a:xfrm>
                  <a:off x="1890251" y="4151914"/>
                  <a:ext cx="539429" cy="317345"/>
                  <a:chOff x="1890251" y="4151914"/>
                  <a:chExt cx="539429" cy="317345"/>
                </a:xfrm>
                <a:grpFill/>
              </p:grpSpPr>
              <p:sp>
                <p:nvSpPr>
                  <p:cNvPr id="287" name="Freihandform: Form 286">
                    <a:extLst>
                      <a:ext uri="{FF2B5EF4-FFF2-40B4-BE49-F238E27FC236}">
                        <a16:creationId xmlns:a16="http://schemas.microsoft.com/office/drawing/2014/main" id="{66B33D53-E55B-853A-C8C1-84F027925C88}"/>
                      </a:ext>
                    </a:extLst>
                  </p:cNvPr>
                  <p:cNvSpPr/>
                  <p:nvPr/>
                </p:nvSpPr>
                <p:spPr>
                  <a:xfrm>
                    <a:off x="2014032" y="4381984"/>
                    <a:ext cx="52098" cy="52098"/>
                  </a:xfrm>
                  <a:custGeom>
                    <a:avLst/>
                    <a:gdLst>
                      <a:gd name="connsiteX0" fmla="*/ 26049 w 52098"/>
                      <a:gd name="connsiteY0" fmla="*/ 0 h 52098"/>
                      <a:gd name="connsiteX1" fmla="*/ 0 w 52098"/>
                      <a:gd name="connsiteY1" fmla="*/ 26049 h 52098"/>
                      <a:gd name="connsiteX2" fmla="*/ 26049 w 52098"/>
                      <a:gd name="connsiteY2" fmla="*/ 52099 h 52098"/>
                      <a:gd name="connsiteX3" fmla="*/ 52099 w 52098"/>
                      <a:gd name="connsiteY3" fmla="*/ 26049 h 52098"/>
                      <a:gd name="connsiteX4" fmla="*/ 26049 w 52098"/>
                      <a:gd name="connsiteY4" fmla="*/ 0 h 52098"/>
                      <a:gd name="connsiteX5" fmla="*/ 26049 w 52098"/>
                      <a:gd name="connsiteY5" fmla="*/ 35366 h 52098"/>
                      <a:gd name="connsiteX6" fmla="*/ 16732 w 52098"/>
                      <a:gd name="connsiteY6" fmla="*/ 26049 h 52098"/>
                      <a:gd name="connsiteX7" fmla="*/ 26049 w 52098"/>
                      <a:gd name="connsiteY7" fmla="*/ 16732 h 52098"/>
                      <a:gd name="connsiteX8" fmla="*/ 35366 w 52098"/>
                      <a:gd name="connsiteY8" fmla="*/ 26049 h 52098"/>
                      <a:gd name="connsiteX9" fmla="*/ 26049 w 52098"/>
                      <a:gd name="connsiteY9" fmla="*/ 35366 h 52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098" h="52098">
                        <a:moveTo>
                          <a:pt x="26049" y="0"/>
                        </a:moveTo>
                        <a:cubicBezTo>
                          <a:pt x="11789" y="0"/>
                          <a:pt x="0" y="11599"/>
                          <a:pt x="0" y="26049"/>
                        </a:cubicBezTo>
                        <a:cubicBezTo>
                          <a:pt x="0" y="40310"/>
                          <a:pt x="11599" y="52099"/>
                          <a:pt x="26049" y="52099"/>
                        </a:cubicBezTo>
                        <a:cubicBezTo>
                          <a:pt x="40310" y="52099"/>
                          <a:pt x="52099" y="40500"/>
                          <a:pt x="52099" y="26049"/>
                        </a:cubicBezTo>
                        <a:cubicBezTo>
                          <a:pt x="51908" y="11789"/>
                          <a:pt x="40310" y="0"/>
                          <a:pt x="26049" y="0"/>
                        </a:cubicBezTo>
                        <a:close/>
                        <a:moveTo>
                          <a:pt x="26049" y="35366"/>
                        </a:moveTo>
                        <a:cubicBezTo>
                          <a:pt x="20915" y="35366"/>
                          <a:pt x="16732" y="31183"/>
                          <a:pt x="16732" y="26049"/>
                        </a:cubicBezTo>
                        <a:cubicBezTo>
                          <a:pt x="16732" y="20915"/>
                          <a:pt x="20915" y="16732"/>
                          <a:pt x="26049" y="16732"/>
                        </a:cubicBezTo>
                        <a:cubicBezTo>
                          <a:pt x="31183" y="16732"/>
                          <a:pt x="35366" y="20915"/>
                          <a:pt x="35366" y="26049"/>
                        </a:cubicBezTo>
                        <a:cubicBezTo>
                          <a:pt x="35366" y="31183"/>
                          <a:pt x="31183" y="35366"/>
                          <a:pt x="26049" y="35366"/>
                        </a:cubicBezTo>
                        <a:close/>
                      </a:path>
                    </a:pathLst>
                  </a:custGeom>
                  <a:grpFill/>
                  <a:ln w="1878" cap="flat">
                    <a:noFill/>
                    <a:prstDash val="solid"/>
                    <a:miter/>
                  </a:ln>
                </p:spPr>
                <p:txBody>
                  <a:bodyPr rtlCol="0" anchor="ctr"/>
                  <a:lstStyle/>
                  <a:p>
                    <a:endParaRPr lang="en-GB" noProof="0" dirty="0"/>
                  </a:p>
                </p:txBody>
              </p:sp>
              <p:sp>
                <p:nvSpPr>
                  <p:cNvPr id="288" name="Freihandform: Form 287">
                    <a:extLst>
                      <a:ext uri="{FF2B5EF4-FFF2-40B4-BE49-F238E27FC236}">
                        <a16:creationId xmlns:a16="http://schemas.microsoft.com/office/drawing/2014/main" id="{43F10E0E-D9AD-7CBC-F97B-A311827C3177}"/>
                      </a:ext>
                    </a:extLst>
                  </p:cNvPr>
                  <p:cNvSpPr/>
                  <p:nvPr/>
                </p:nvSpPr>
                <p:spPr>
                  <a:xfrm>
                    <a:off x="2288786" y="4381984"/>
                    <a:ext cx="52098" cy="52098"/>
                  </a:xfrm>
                  <a:custGeom>
                    <a:avLst/>
                    <a:gdLst>
                      <a:gd name="connsiteX0" fmla="*/ 26049 w 52098"/>
                      <a:gd name="connsiteY0" fmla="*/ 0 h 52098"/>
                      <a:gd name="connsiteX1" fmla="*/ 0 w 52098"/>
                      <a:gd name="connsiteY1" fmla="*/ 26049 h 52098"/>
                      <a:gd name="connsiteX2" fmla="*/ 26049 w 52098"/>
                      <a:gd name="connsiteY2" fmla="*/ 52099 h 52098"/>
                      <a:gd name="connsiteX3" fmla="*/ 52099 w 52098"/>
                      <a:gd name="connsiteY3" fmla="*/ 26049 h 52098"/>
                      <a:gd name="connsiteX4" fmla="*/ 26049 w 52098"/>
                      <a:gd name="connsiteY4" fmla="*/ 0 h 52098"/>
                      <a:gd name="connsiteX5" fmla="*/ 26049 w 52098"/>
                      <a:gd name="connsiteY5" fmla="*/ 35366 h 52098"/>
                      <a:gd name="connsiteX6" fmla="*/ 16732 w 52098"/>
                      <a:gd name="connsiteY6" fmla="*/ 26049 h 52098"/>
                      <a:gd name="connsiteX7" fmla="*/ 26049 w 52098"/>
                      <a:gd name="connsiteY7" fmla="*/ 16732 h 52098"/>
                      <a:gd name="connsiteX8" fmla="*/ 35366 w 52098"/>
                      <a:gd name="connsiteY8" fmla="*/ 26049 h 52098"/>
                      <a:gd name="connsiteX9" fmla="*/ 26049 w 52098"/>
                      <a:gd name="connsiteY9" fmla="*/ 35366 h 52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098" h="52098">
                        <a:moveTo>
                          <a:pt x="26049" y="0"/>
                        </a:moveTo>
                        <a:cubicBezTo>
                          <a:pt x="11789" y="0"/>
                          <a:pt x="0" y="11599"/>
                          <a:pt x="0" y="26049"/>
                        </a:cubicBezTo>
                        <a:cubicBezTo>
                          <a:pt x="0" y="40310"/>
                          <a:pt x="11599" y="52099"/>
                          <a:pt x="26049" y="52099"/>
                        </a:cubicBezTo>
                        <a:cubicBezTo>
                          <a:pt x="40310" y="52099"/>
                          <a:pt x="52099" y="40500"/>
                          <a:pt x="52099" y="26049"/>
                        </a:cubicBezTo>
                        <a:cubicBezTo>
                          <a:pt x="51908" y="11789"/>
                          <a:pt x="40310" y="0"/>
                          <a:pt x="26049" y="0"/>
                        </a:cubicBezTo>
                        <a:close/>
                        <a:moveTo>
                          <a:pt x="26049" y="35366"/>
                        </a:moveTo>
                        <a:cubicBezTo>
                          <a:pt x="20915" y="35366"/>
                          <a:pt x="16732" y="31183"/>
                          <a:pt x="16732" y="26049"/>
                        </a:cubicBezTo>
                        <a:cubicBezTo>
                          <a:pt x="16732" y="20915"/>
                          <a:pt x="20915" y="16732"/>
                          <a:pt x="26049" y="16732"/>
                        </a:cubicBezTo>
                        <a:cubicBezTo>
                          <a:pt x="31183" y="16732"/>
                          <a:pt x="35366" y="20915"/>
                          <a:pt x="35366" y="26049"/>
                        </a:cubicBezTo>
                        <a:cubicBezTo>
                          <a:pt x="35366" y="31183"/>
                          <a:pt x="31183" y="35366"/>
                          <a:pt x="26049" y="35366"/>
                        </a:cubicBezTo>
                        <a:close/>
                      </a:path>
                    </a:pathLst>
                  </a:custGeom>
                  <a:grpFill/>
                  <a:ln w="1878" cap="flat">
                    <a:noFill/>
                    <a:prstDash val="solid"/>
                    <a:miter/>
                  </a:ln>
                </p:spPr>
                <p:txBody>
                  <a:bodyPr rtlCol="0" anchor="ctr"/>
                  <a:lstStyle/>
                  <a:p>
                    <a:endParaRPr lang="en-GB" noProof="0" dirty="0"/>
                  </a:p>
                </p:txBody>
              </p:sp>
              <p:sp>
                <p:nvSpPr>
                  <p:cNvPr id="289" name="Freihandform: Form 288">
                    <a:extLst>
                      <a:ext uri="{FF2B5EF4-FFF2-40B4-BE49-F238E27FC236}">
                        <a16:creationId xmlns:a16="http://schemas.microsoft.com/office/drawing/2014/main" id="{24D07A24-6D40-4C9C-8EFA-571CCAFD11A3}"/>
                      </a:ext>
                    </a:extLst>
                  </p:cNvPr>
                  <p:cNvSpPr/>
                  <p:nvPr/>
                </p:nvSpPr>
                <p:spPr>
                  <a:xfrm>
                    <a:off x="1890251" y="4151914"/>
                    <a:ext cx="539429" cy="317345"/>
                  </a:xfrm>
                  <a:custGeom>
                    <a:avLst/>
                    <a:gdLst>
                      <a:gd name="connsiteX0" fmla="*/ 530113 w 539429"/>
                      <a:gd name="connsiteY0" fmla="*/ 214669 h 317345"/>
                      <a:gd name="connsiteX1" fmla="*/ 530113 w 539429"/>
                      <a:gd name="connsiteY1" fmla="*/ 150782 h 317345"/>
                      <a:gd name="connsiteX2" fmla="*/ 524218 w 539429"/>
                      <a:gd name="connsiteY2" fmla="*/ 128725 h 317345"/>
                      <a:gd name="connsiteX3" fmla="*/ 477254 w 539429"/>
                      <a:gd name="connsiteY3" fmla="*/ 48296 h 317345"/>
                      <a:gd name="connsiteX4" fmla="*/ 439606 w 539429"/>
                      <a:gd name="connsiteY4" fmla="*/ 26620 h 317345"/>
                      <a:gd name="connsiteX5" fmla="*/ 380282 w 539429"/>
                      <a:gd name="connsiteY5" fmla="*/ 26620 h 317345"/>
                      <a:gd name="connsiteX6" fmla="*/ 363169 w 539429"/>
                      <a:gd name="connsiteY6" fmla="*/ 43732 h 317345"/>
                      <a:gd name="connsiteX7" fmla="*/ 363169 w 539429"/>
                      <a:gd name="connsiteY7" fmla="*/ 194704 h 317345"/>
                      <a:gd name="connsiteX8" fmla="*/ 344345 w 539429"/>
                      <a:gd name="connsiteY8" fmla="*/ 194704 h 317345"/>
                      <a:gd name="connsiteX9" fmla="*/ 344345 w 539429"/>
                      <a:gd name="connsiteY9" fmla="*/ 26049 h 317345"/>
                      <a:gd name="connsiteX10" fmla="*/ 318296 w 539429"/>
                      <a:gd name="connsiteY10" fmla="*/ 0 h 317345"/>
                      <a:gd name="connsiteX11" fmla="*/ 26049 w 539429"/>
                      <a:gd name="connsiteY11" fmla="*/ 0 h 317345"/>
                      <a:gd name="connsiteX12" fmla="*/ 0 w 539429"/>
                      <a:gd name="connsiteY12" fmla="*/ 26049 h 317345"/>
                      <a:gd name="connsiteX13" fmla="*/ 0 w 539429"/>
                      <a:gd name="connsiteY13" fmla="*/ 238246 h 317345"/>
                      <a:gd name="connsiteX14" fmla="*/ 26049 w 539429"/>
                      <a:gd name="connsiteY14" fmla="*/ 264296 h 317345"/>
                      <a:gd name="connsiteX15" fmla="*/ 89176 w 539429"/>
                      <a:gd name="connsiteY15" fmla="*/ 264296 h 317345"/>
                      <a:gd name="connsiteX16" fmla="*/ 150021 w 539429"/>
                      <a:gd name="connsiteY16" fmla="*/ 317345 h 317345"/>
                      <a:gd name="connsiteX17" fmla="*/ 210866 w 539429"/>
                      <a:gd name="connsiteY17" fmla="*/ 264296 h 317345"/>
                      <a:gd name="connsiteX18" fmla="*/ 364120 w 539429"/>
                      <a:gd name="connsiteY18" fmla="*/ 264296 h 317345"/>
                      <a:gd name="connsiteX19" fmla="*/ 424965 w 539429"/>
                      <a:gd name="connsiteY19" fmla="*/ 317345 h 317345"/>
                      <a:gd name="connsiteX20" fmla="*/ 485810 w 539429"/>
                      <a:gd name="connsiteY20" fmla="*/ 264296 h 317345"/>
                      <a:gd name="connsiteX21" fmla="*/ 522317 w 539429"/>
                      <a:gd name="connsiteY21" fmla="*/ 264296 h 317345"/>
                      <a:gd name="connsiteX22" fmla="*/ 539430 w 539429"/>
                      <a:gd name="connsiteY22" fmla="*/ 247183 h 317345"/>
                      <a:gd name="connsiteX23" fmla="*/ 539430 w 539429"/>
                      <a:gd name="connsiteY23" fmla="*/ 229500 h 317345"/>
                      <a:gd name="connsiteX24" fmla="*/ 530113 w 539429"/>
                      <a:gd name="connsiteY24" fmla="*/ 214669 h 317345"/>
                      <a:gd name="connsiteX25" fmla="*/ 16542 w 539429"/>
                      <a:gd name="connsiteY25" fmla="*/ 175880 h 317345"/>
                      <a:gd name="connsiteX26" fmla="*/ 35366 w 539429"/>
                      <a:gd name="connsiteY26" fmla="*/ 175880 h 317345"/>
                      <a:gd name="connsiteX27" fmla="*/ 35366 w 539429"/>
                      <a:gd name="connsiteY27" fmla="*/ 202880 h 317345"/>
                      <a:gd name="connsiteX28" fmla="*/ 26049 w 539429"/>
                      <a:gd name="connsiteY28" fmla="*/ 212197 h 317345"/>
                      <a:gd name="connsiteX29" fmla="*/ 16542 w 539429"/>
                      <a:gd name="connsiteY29" fmla="*/ 212197 h 317345"/>
                      <a:gd name="connsiteX30" fmla="*/ 16542 w 539429"/>
                      <a:gd name="connsiteY30" fmla="*/ 175880 h 317345"/>
                      <a:gd name="connsiteX31" fmla="*/ 149831 w 539429"/>
                      <a:gd name="connsiteY31" fmla="*/ 300803 h 317345"/>
                      <a:gd name="connsiteX32" fmla="*/ 105148 w 539429"/>
                      <a:gd name="connsiteY32" fmla="*/ 256120 h 317345"/>
                      <a:gd name="connsiteX33" fmla="*/ 105148 w 539429"/>
                      <a:gd name="connsiteY33" fmla="*/ 256120 h 317345"/>
                      <a:gd name="connsiteX34" fmla="*/ 105148 w 539429"/>
                      <a:gd name="connsiteY34" fmla="*/ 256120 h 317345"/>
                      <a:gd name="connsiteX35" fmla="*/ 149831 w 539429"/>
                      <a:gd name="connsiteY35" fmla="*/ 211437 h 317345"/>
                      <a:gd name="connsiteX36" fmla="*/ 194704 w 539429"/>
                      <a:gd name="connsiteY36" fmla="*/ 256120 h 317345"/>
                      <a:gd name="connsiteX37" fmla="*/ 149831 w 539429"/>
                      <a:gd name="connsiteY37" fmla="*/ 300803 h 317345"/>
                      <a:gd name="connsiteX38" fmla="*/ 327803 w 539429"/>
                      <a:gd name="connsiteY38" fmla="*/ 247754 h 317345"/>
                      <a:gd name="connsiteX39" fmla="*/ 210486 w 539429"/>
                      <a:gd name="connsiteY39" fmla="*/ 247754 h 317345"/>
                      <a:gd name="connsiteX40" fmla="*/ 149641 w 539429"/>
                      <a:gd name="connsiteY40" fmla="*/ 194704 h 317345"/>
                      <a:gd name="connsiteX41" fmla="*/ 88796 w 539429"/>
                      <a:gd name="connsiteY41" fmla="*/ 247754 h 317345"/>
                      <a:gd name="connsiteX42" fmla="*/ 26049 w 539429"/>
                      <a:gd name="connsiteY42" fmla="*/ 247754 h 317345"/>
                      <a:gd name="connsiteX43" fmla="*/ 16732 w 539429"/>
                      <a:gd name="connsiteY43" fmla="*/ 238437 h 317345"/>
                      <a:gd name="connsiteX44" fmla="*/ 16732 w 539429"/>
                      <a:gd name="connsiteY44" fmla="*/ 229120 h 317345"/>
                      <a:gd name="connsiteX45" fmla="*/ 26049 w 539429"/>
                      <a:gd name="connsiteY45" fmla="*/ 229120 h 317345"/>
                      <a:gd name="connsiteX46" fmla="*/ 52099 w 539429"/>
                      <a:gd name="connsiteY46" fmla="*/ 203070 h 317345"/>
                      <a:gd name="connsiteX47" fmla="*/ 52099 w 539429"/>
                      <a:gd name="connsiteY47" fmla="*/ 167704 h 317345"/>
                      <a:gd name="connsiteX48" fmla="*/ 43732 w 539429"/>
                      <a:gd name="connsiteY48" fmla="*/ 159338 h 317345"/>
                      <a:gd name="connsiteX49" fmla="*/ 16542 w 539429"/>
                      <a:gd name="connsiteY49" fmla="*/ 159338 h 317345"/>
                      <a:gd name="connsiteX50" fmla="*/ 16542 w 539429"/>
                      <a:gd name="connsiteY50" fmla="*/ 26049 h 317345"/>
                      <a:gd name="connsiteX51" fmla="*/ 25859 w 539429"/>
                      <a:gd name="connsiteY51" fmla="*/ 16732 h 317345"/>
                      <a:gd name="connsiteX52" fmla="*/ 318296 w 539429"/>
                      <a:gd name="connsiteY52" fmla="*/ 16732 h 317345"/>
                      <a:gd name="connsiteX53" fmla="*/ 327613 w 539429"/>
                      <a:gd name="connsiteY53" fmla="*/ 26049 h 317345"/>
                      <a:gd name="connsiteX54" fmla="*/ 327613 w 539429"/>
                      <a:gd name="connsiteY54" fmla="*/ 247754 h 317345"/>
                      <a:gd name="connsiteX55" fmla="*/ 363169 w 539429"/>
                      <a:gd name="connsiteY55" fmla="*/ 247754 h 317345"/>
                      <a:gd name="connsiteX56" fmla="*/ 344345 w 539429"/>
                      <a:gd name="connsiteY56" fmla="*/ 247754 h 317345"/>
                      <a:gd name="connsiteX57" fmla="*/ 344345 w 539429"/>
                      <a:gd name="connsiteY57" fmla="*/ 211246 h 317345"/>
                      <a:gd name="connsiteX58" fmla="*/ 363169 w 539429"/>
                      <a:gd name="connsiteY58" fmla="*/ 211246 h 317345"/>
                      <a:gd name="connsiteX59" fmla="*/ 363169 w 539429"/>
                      <a:gd name="connsiteY59" fmla="*/ 247754 h 317345"/>
                      <a:gd name="connsiteX60" fmla="*/ 379711 w 539429"/>
                      <a:gd name="connsiteY60" fmla="*/ 43923 h 317345"/>
                      <a:gd name="connsiteX61" fmla="*/ 380282 w 539429"/>
                      <a:gd name="connsiteY61" fmla="*/ 43352 h 317345"/>
                      <a:gd name="connsiteX62" fmla="*/ 439606 w 539429"/>
                      <a:gd name="connsiteY62" fmla="*/ 43352 h 317345"/>
                      <a:gd name="connsiteX63" fmla="*/ 462993 w 539429"/>
                      <a:gd name="connsiteY63" fmla="*/ 56852 h 317345"/>
                      <a:gd name="connsiteX64" fmla="*/ 466035 w 539429"/>
                      <a:gd name="connsiteY64" fmla="*/ 62176 h 317345"/>
                      <a:gd name="connsiteX65" fmla="*/ 379711 w 539429"/>
                      <a:gd name="connsiteY65" fmla="*/ 62176 h 317345"/>
                      <a:gd name="connsiteX66" fmla="*/ 379711 w 539429"/>
                      <a:gd name="connsiteY66" fmla="*/ 43923 h 317345"/>
                      <a:gd name="connsiteX67" fmla="*/ 379711 w 539429"/>
                      <a:gd name="connsiteY67" fmla="*/ 78718 h 317345"/>
                      <a:gd name="connsiteX68" fmla="*/ 475732 w 539429"/>
                      <a:gd name="connsiteY68" fmla="*/ 78718 h 317345"/>
                      <a:gd name="connsiteX69" fmla="*/ 509768 w 539429"/>
                      <a:gd name="connsiteY69" fmla="*/ 137092 h 317345"/>
                      <a:gd name="connsiteX70" fmla="*/ 513380 w 539429"/>
                      <a:gd name="connsiteY70" fmla="*/ 150782 h 317345"/>
                      <a:gd name="connsiteX71" fmla="*/ 513380 w 539429"/>
                      <a:gd name="connsiteY71" fmla="*/ 159528 h 317345"/>
                      <a:gd name="connsiteX72" fmla="*/ 497218 w 539429"/>
                      <a:gd name="connsiteY72" fmla="*/ 159528 h 317345"/>
                      <a:gd name="connsiteX73" fmla="*/ 484289 w 539429"/>
                      <a:gd name="connsiteY73" fmla="*/ 154204 h 317345"/>
                      <a:gd name="connsiteX74" fmla="*/ 473261 w 539429"/>
                      <a:gd name="connsiteY74" fmla="*/ 143176 h 317345"/>
                      <a:gd name="connsiteX75" fmla="*/ 448732 w 539429"/>
                      <a:gd name="connsiteY75" fmla="*/ 132908 h 317345"/>
                      <a:gd name="connsiteX76" fmla="*/ 379521 w 539429"/>
                      <a:gd name="connsiteY76" fmla="*/ 132908 h 317345"/>
                      <a:gd name="connsiteX77" fmla="*/ 379521 w 539429"/>
                      <a:gd name="connsiteY77" fmla="*/ 78718 h 317345"/>
                      <a:gd name="connsiteX78" fmla="*/ 424585 w 539429"/>
                      <a:gd name="connsiteY78" fmla="*/ 300803 h 317345"/>
                      <a:gd name="connsiteX79" fmla="*/ 379901 w 539429"/>
                      <a:gd name="connsiteY79" fmla="*/ 255930 h 317345"/>
                      <a:gd name="connsiteX80" fmla="*/ 424585 w 539429"/>
                      <a:gd name="connsiteY80" fmla="*/ 211246 h 317345"/>
                      <a:gd name="connsiteX81" fmla="*/ 469268 w 539429"/>
                      <a:gd name="connsiteY81" fmla="*/ 255930 h 317345"/>
                      <a:gd name="connsiteX82" fmla="*/ 424585 w 539429"/>
                      <a:gd name="connsiteY82" fmla="*/ 300803 h 317345"/>
                      <a:gd name="connsiteX83" fmla="*/ 486951 w 539429"/>
                      <a:gd name="connsiteY83" fmla="*/ 229500 h 317345"/>
                      <a:gd name="connsiteX84" fmla="*/ 486951 w 539429"/>
                      <a:gd name="connsiteY84" fmla="*/ 247754 h 317345"/>
                      <a:gd name="connsiteX85" fmla="*/ 485239 w 539429"/>
                      <a:gd name="connsiteY85" fmla="*/ 247754 h 317345"/>
                      <a:gd name="connsiteX86" fmla="*/ 424394 w 539429"/>
                      <a:gd name="connsiteY86" fmla="*/ 194704 h 317345"/>
                      <a:gd name="connsiteX87" fmla="*/ 379711 w 539429"/>
                      <a:gd name="connsiteY87" fmla="*/ 214099 h 317345"/>
                      <a:gd name="connsiteX88" fmla="*/ 379711 w 539429"/>
                      <a:gd name="connsiteY88" fmla="*/ 149261 h 317345"/>
                      <a:gd name="connsiteX89" fmla="*/ 448923 w 539429"/>
                      <a:gd name="connsiteY89" fmla="*/ 149261 h 317345"/>
                      <a:gd name="connsiteX90" fmla="*/ 461852 w 539429"/>
                      <a:gd name="connsiteY90" fmla="*/ 154585 h 317345"/>
                      <a:gd name="connsiteX91" fmla="*/ 472880 w 539429"/>
                      <a:gd name="connsiteY91" fmla="*/ 165613 h 317345"/>
                      <a:gd name="connsiteX92" fmla="*/ 497408 w 539429"/>
                      <a:gd name="connsiteY92" fmla="*/ 175880 h 317345"/>
                      <a:gd name="connsiteX93" fmla="*/ 513570 w 539429"/>
                      <a:gd name="connsiteY93" fmla="*/ 175880 h 317345"/>
                      <a:gd name="connsiteX94" fmla="*/ 513570 w 539429"/>
                      <a:gd name="connsiteY94" fmla="*/ 212387 h 317345"/>
                      <a:gd name="connsiteX95" fmla="*/ 504254 w 539429"/>
                      <a:gd name="connsiteY95" fmla="*/ 212387 h 317345"/>
                      <a:gd name="connsiteX96" fmla="*/ 486951 w 539429"/>
                      <a:gd name="connsiteY96" fmla="*/ 229500 h 317345"/>
                      <a:gd name="connsiteX97" fmla="*/ 522317 w 539429"/>
                      <a:gd name="connsiteY97" fmla="*/ 247183 h 317345"/>
                      <a:gd name="connsiteX98" fmla="*/ 521746 w 539429"/>
                      <a:gd name="connsiteY98" fmla="*/ 247754 h 317345"/>
                      <a:gd name="connsiteX99" fmla="*/ 503493 w 539429"/>
                      <a:gd name="connsiteY99" fmla="*/ 247754 h 317345"/>
                      <a:gd name="connsiteX100" fmla="*/ 503493 w 539429"/>
                      <a:gd name="connsiteY100" fmla="*/ 229500 h 317345"/>
                      <a:gd name="connsiteX101" fmla="*/ 504063 w 539429"/>
                      <a:gd name="connsiteY101" fmla="*/ 228930 h 317345"/>
                      <a:gd name="connsiteX102" fmla="*/ 521746 w 539429"/>
                      <a:gd name="connsiteY102" fmla="*/ 228930 h 317345"/>
                      <a:gd name="connsiteX103" fmla="*/ 522317 w 539429"/>
                      <a:gd name="connsiteY103" fmla="*/ 229500 h 317345"/>
                      <a:gd name="connsiteX104" fmla="*/ 522317 w 539429"/>
                      <a:gd name="connsiteY104" fmla="*/ 247183 h 317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539429" h="317345">
                        <a:moveTo>
                          <a:pt x="530113" y="214669"/>
                        </a:moveTo>
                        <a:lnTo>
                          <a:pt x="530113" y="150782"/>
                        </a:lnTo>
                        <a:cubicBezTo>
                          <a:pt x="530113" y="142986"/>
                          <a:pt x="528021" y="135380"/>
                          <a:pt x="524218" y="128725"/>
                        </a:cubicBezTo>
                        <a:lnTo>
                          <a:pt x="477254" y="48296"/>
                        </a:lnTo>
                        <a:cubicBezTo>
                          <a:pt x="469458" y="34986"/>
                          <a:pt x="455007" y="26620"/>
                          <a:pt x="439606" y="26620"/>
                        </a:cubicBezTo>
                        <a:lnTo>
                          <a:pt x="380282" y="26620"/>
                        </a:lnTo>
                        <a:cubicBezTo>
                          <a:pt x="370775" y="26620"/>
                          <a:pt x="363169" y="34225"/>
                          <a:pt x="363169" y="43732"/>
                        </a:cubicBezTo>
                        <a:lnTo>
                          <a:pt x="363169" y="194704"/>
                        </a:lnTo>
                        <a:lnTo>
                          <a:pt x="344345" y="194704"/>
                        </a:lnTo>
                        <a:lnTo>
                          <a:pt x="344345" y="26049"/>
                        </a:lnTo>
                        <a:cubicBezTo>
                          <a:pt x="344345" y="11789"/>
                          <a:pt x="332746" y="0"/>
                          <a:pt x="318296" y="0"/>
                        </a:cubicBezTo>
                        <a:lnTo>
                          <a:pt x="26049" y="0"/>
                        </a:lnTo>
                        <a:cubicBezTo>
                          <a:pt x="11789" y="0"/>
                          <a:pt x="0" y="11599"/>
                          <a:pt x="0" y="26049"/>
                        </a:cubicBezTo>
                        <a:lnTo>
                          <a:pt x="0" y="238246"/>
                        </a:lnTo>
                        <a:cubicBezTo>
                          <a:pt x="0" y="252507"/>
                          <a:pt x="11599" y="264296"/>
                          <a:pt x="26049" y="264296"/>
                        </a:cubicBezTo>
                        <a:lnTo>
                          <a:pt x="89176" y="264296"/>
                        </a:lnTo>
                        <a:cubicBezTo>
                          <a:pt x="93169" y="294148"/>
                          <a:pt x="118838" y="317345"/>
                          <a:pt x="150021" y="317345"/>
                        </a:cubicBezTo>
                        <a:cubicBezTo>
                          <a:pt x="181014" y="317345"/>
                          <a:pt x="206683" y="294148"/>
                          <a:pt x="210866" y="264296"/>
                        </a:cubicBezTo>
                        <a:lnTo>
                          <a:pt x="364120" y="264296"/>
                        </a:lnTo>
                        <a:cubicBezTo>
                          <a:pt x="368113" y="294148"/>
                          <a:pt x="393972" y="317345"/>
                          <a:pt x="424965" y="317345"/>
                        </a:cubicBezTo>
                        <a:cubicBezTo>
                          <a:pt x="455958" y="317345"/>
                          <a:pt x="481627" y="294148"/>
                          <a:pt x="485810" y="264296"/>
                        </a:cubicBezTo>
                        <a:lnTo>
                          <a:pt x="522317" y="264296"/>
                        </a:lnTo>
                        <a:cubicBezTo>
                          <a:pt x="531824" y="264296"/>
                          <a:pt x="539430" y="256690"/>
                          <a:pt x="539430" y="247183"/>
                        </a:cubicBezTo>
                        <a:lnTo>
                          <a:pt x="539430" y="229500"/>
                        </a:lnTo>
                        <a:cubicBezTo>
                          <a:pt x="539049" y="223225"/>
                          <a:pt x="535437" y="217521"/>
                          <a:pt x="530113" y="214669"/>
                        </a:cubicBezTo>
                        <a:close/>
                        <a:moveTo>
                          <a:pt x="16542" y="175880"/>
                        </a:moveTo>
                        <a:lnTo>
                          <a:pt x="35366" y="175880"/>
                        </a:lnTo>
                        <a:lnTo>
                          <a:pt x="35366" y="202880"/>
                        </a:lnTo>
                        <a:cubicBezTo>
                          <a:pt x="35366" y="208014"/>
                          <a:pt x="31183" y="212197"/>
                          <a:pt x="26049" y="212197"/>
                        </a:cubicBezTo>
                        <a:lnTo>
                          <a:pt x="16542" y="212197"/>
                        </a:lnTo>
                        <a:lnTo>
                          <a:pt x="16542" y="175880"/>
                        </a:lnTo>
                        <a:close/>
                        <a:moveTo>
                          <a:pt x="149831" y="300803"/>
                        </a:moveTo>
                        <a:cubicBezTo>
                          <a:pt x="125113" y="300803"/>
                          <a:pt x="105148" y="280648"/>
                          <a:pt x="105148" y="256120"/>
                        </a:cubicBezTo>
                        <a:lnTo>
                          <a:pt x="105148" y="256120"/>
                        </a:lnTo>
                        <a:lnTo>
                          <a:pt x="105148" y="256120"/>
                        </a:lnTo>
                        <a:cubicBezTo>
                          <a:pt x="105148" y="231401"/>
                          <a:pt x="125303" y="211437"/>
                          <a:pt x="149831" y="211437"/>
                        </a:cubicBezTo>
                        <a:cubicBezTo>
                          <a:pt x="174549" y="211437"/>
                          <a:pt x="194704" y="231592"/>
                          <a:pt x="194704" y="256120"/>
                        </a:cubicBezTo>
                        <a:cubicBezTo>
                          <a:pt x="194514" y="280838"/>
                          <a:pt x="174549" y="300803"/>
                          <a:pt x="149831" y="300803"/>
                        </a:cubicBezTo>
                        <a:close/>
                        <a:moveTo>
                          <a:pt x="327803" y="247754"/>
                        </a:moveTo>
                        <a:lnTo>
                          <a:pt x="210486" y="247754"/>
                        </a:lnTo>
                        <a:cubicBezTo>
                          <a:pt x="206493" y="217901"/>
                          <a:pt x="180634" y="194704"/>
                          <a:pt x="149641" y="194704"/>
                        </a:cubicBezTo>
                        <a:cubicBezTo>
                          <a:pt x="118648" y="194704"/>
                          <a:pt x="92979" y="217901"/>
                          <a:pt x="88796" y="247754"/>
                        </a:cubicBezTo>
                        <a:lnTo>
                          <a:pt x="26049" y="247754"/>
                        </a:lnTo>
                        <a:cubicBezTo>
                          <a:pt x="20915" y="247754"/>
                          <a:pt x="16732" y="243570"/>
                          <a:pt x="16732" y="238437"/>
                        </a:cubicBezTo>
                        <a:lnTo>
                          <a:pt x="16732" y="229120"/>
                        </a:lnTo>
                        <a:lnTo>
                          <a:pt x="26049" y="229120"/>
                        </a:lnTo>
                        <a:cubicBezTo>
                          <a:pt x="40310" y="229120"/>
                          <a:pt x="52099" y="217521"/>
                          <a:pt x="52099" y="203070"/>
                        </a:cubicBezTo>
                        <a:lnTo>
                          <a:pt x="52099" y="167704"/>
                        </a:lnTo>
                        <a:cubicBezTo>
                          <a:pt x="52099" y="163141"/>
                          <a:pt x="48296" y="159338"/>
                          <a:pt x="43732" y="159338"/>
                        </a:cubicBezTo>
                        <a:lnTo>
                          <a:pt x="16542" y="159338"/>
                        </a:lnTo>
                        <a:lnTo>
                          <a:pt x="16542" y="26049"/>
                        </a:lnTo>
                        <a:cubicBezTo>
                          <a:pt x="16542" y="20915"/>
                          <a:pt x="20725" y="16732"/>
                          <a:pt x="25859" y="16732"/>
                        </a:cubicBezTo>
                        <a:lnTo>
                          <a:pt x="318296" y="16732"/>
                        </a:lnTo>
                        <a:cubicBezTo>
                          <a:pt x="323430" y="16732"/>
                          <a:pt x="327613" y="20915"/>
                          <a:pt x="327613" y="26049"/>
                        </a:cubicBezTo>
                        <a:lnTo>
                          <a:pt x="327613" y="247754"/>
                        </a:lnTo>
                        <a:close/>
                        <a:moveTo>
                          <a:pt x="363169" y="247754"/>
                        </a:moveTo>
                        <a:lnTo>
                          <a:pt x="344345" y="247754"/>
                        </a:lnTo>
                        <a:lnTo>
                          <a:pt x="344345" y="211246"/>
                        </a:lnTo>
                        <a:lnTo>
                          <a:pt x="363169" y="211246"/>
                        </a:lnTo>
                        <a:lnTo>
                          <a:pt x="363169" y="247754"/>
                        </a:lnTo>
                        <a:close/>
                        <a:moveTo>
                          <a:pt x="379711" y="43923"/>
                        </a:moveTo>
                        <a:cubicBezTo>
                          <a:pt x="379711" y="43542"/>
                          <a:pt x="379901" y="43352"/>
                          <a:pt x="380282" y="43352"/>
                        </a:cubicBezTo>
                        <a:lnTo>
                          <a:pt x="439606" y="43352"/>
                        </a:lnTo>
                        <a:cubicBezTo>
                          <a:pt x="449303" y="43352"/>
                          <a:pt x="458239" y="48486"/>
                          <a:pt x="462993" y="56852"/>
                        </a:cubicBezTo>
                        <a:lnTo>
                          <a:pt x="466035" y="62176"/>
                        </a:lnTo>
                        <a:lnTo>
                          <a:pt x="379711" y="62176"/>
                        </a:lnTo>
                        <a:lnTo>
                          <a:pt x="379711" y="43923"/>
                        </a:lnTo>
                        <a:close/>
                        <a:moveTo>
                          <a:pt x="379711" y="78718"/>
                        </a:moveTo>
                        <a:lnTo>
                          <a:pt x="475732" y="78718"/>
                        </a:lnTo>
                        <a:lnTo>
                          <a:pt x="509768" y="137092"/>
                        </a:lnTo>
                        <a:cubicBezTo>
                          <a:pt x="512239" y="141275"/>
                          <a:pt x="513380" y="146028"/>
                          <a:pt x="513380" y="150782"/>
                        </a:cubicBezTo>
                        <a:lnTo>
                          <a:pt x="513380" y="159528"/>
                        </a:lnTo>
                        <a:lnTo>
                          <a:pt x="497218" y="159528"/>
                        </a:lnTo>
                        <a:cubicBezTo>
                          <a:pt x="492275" y="159528"/>
                          <a:pt x="487711" y="157627"/>
                          <a:pt x="484289" y="154204"/>
                        </a:cubicBezTo>
                        <a:lnTo>
                          <a:pt x="473261" y="143176"/>
                        </a:lnTo>
                        <a:cubicBezTo>
                          <a:pt x="466606" y="136521"/>
                          <a:pt x="457859" y="132908"/>
                          <a:pt x="448732" y="132908"/>
                        </a:cubicBezTo>
                        <a:lnTo>
                          <a:pt x="379521" y="132908"/>
                        </a:lnTo>
                        <a:lnTo>
                          <a:pt x="379521" y="78718"/>
                        </a:lnTo>
                        <a:close/>
                        <a:moveTo>
                          <a:pt x="424585" y="300803"/>
                        </a:moveTo>
                        <a:cubicBezTo>
                          <a:pt x="399866" y="300803"/>
                          <a:pt x="379901" y="280648"/>
                          <a:pt x="379901" y="255930"/>
                        </a:cubicBezTo>
                        <a:cubicBezTo>
                          <a:pt x="379901" y="231211"/>
                          <a:pt x="400056" y="211246"/>
                          <a:pt x="424585" y="211246"/>
                        </a:cubicBezTo>
                        <a:cubicBezTo>
                          <a:pt x="449303" y="211246"/>
                          <a:pt x="469268" y="231401"/>
                          <a:pt x="469268" y="255930"/>
                        </a:cubicBezTo>
                        <a:cubicBezTo>
                          <a:pt x="469268" y="280838"/>
                          <a:pt x="449303" y="300803"/>
                          <a:pt x="424585" y="300803"/>
                        </a:cubicBezTo>
                        <a:close/>
                        <a:moveTo>
                          <a:pt x="486951" y="229500"/>
                        </a:moveTo>
                        <a:lnTo>
                          <a:pt x="486951" y="247754"/>
                        </a:lnTo>
                        <a:lnTo>
                          <a:pt x="485239" y="247754"/>
                        </a:lnTo>
                        <a:cubicBezTo>
                          <a:pt x="481247" y="217901"/>
                          <a:pt x="455387" y="194704"/>
                          <a:pt x="424394" y="194704"/>
                        </a:cubicBezTo>
                        <a:cubicBezTo>
                          <a:pt x="406711" y="194704"/>
                          <a:pt x="390739" y="202120"/>
                          <a:pt x="379711" y="214099"/>
                        </a:cubicBezTo>
                        <a:lnTo>
                          <a:pt x="379711" y="149261"/>
                        </a:lnTo>
                        <a:lnTo>
                          <a:pt x="448923" y="149261"/>
                        </a:lnTo>
                        <a:cubicBezTo>
                          <a:pt x="453866" y="149261"/>
                          <a:pt x="458430" y="151162"/>
                          <a:pt x="461852" y="154585"/>
                        </a:cubicBezTo>
                        <a:lnTo>
                          <a:pt x="472880" y="165613"/>
                        </a:lnTo>
                        <a:cubicBezTo>
                          <a:pt x="479535" y="172268"/>
                          <a:pt x="488282" y="175880"/>
                          <a:pt x="497408" y="175880"/>
                        </a:cubicBezTo>
                        <a:lnTo>
                          <a:pt x="513570" y="175880"/>
                        </a:lnTo>
                        <a:lnTo>
                          <a:pt x="513570" y="212387"/>
                        </a:lnTo>
                        <a:lnTo>
                          <a:pt x="504254" y="212387"/>
                        </a:lnTo>
                        <a:cubicBezTo>
                          <a:pt x="494747" y="212387"/>
                          <a:pt x="486951" y="220183"/>
                          <a:pt x="486951" y="229500"/>
                        </a:cubicBezTo>
                        <a:close/>
                        <a:moveTo>
                          <a:pt x="522317" y="247183"/>
                        </a:moveTo>
                        <a:cubicBezTo>
                          <a:pt x="522317" y="247563"/>
                          <a:pt x="522127" y="247754"/>
                          <a:pt x="521746" y="247754"/>
                        </a:cubicBezTo>
                        <a:lnTo>
                          <a:pt x="503493" y="247754"/>
                        </a:lnTo>
                        <a:lnTo>
                          <a:pt x="503493" y="229500"/>
                        </a:lnTo>
                        <a:cubicBezTo>
                          <a:pt x="503493" y="229120"/>
                          <a:pt x="503683" y="228930"/>
                          <a:pt x="504063" y="228930"/>
                        </a:cubicBezTo>
                        <a:lnTo>
                          <a:pt x="521746" y="228930"/>
                        </a:lnTo>
                        <a:cubicBezTo>
                          <a:pt x="522127" y="228930"/>
                          <a:pt x="522317" y="229120"/>
                          <a:pt x="522317" y="229500"/>
                        </a:cubicBezTo>
                        <a:lnTo>
                          <a:pt x="522317" y="247183"/>
                        </a:lnTo>
                        <a:close/>
                      </a:path>
                    </a:pathLst>
                  </a:custGeom>
                  <a:grpFill/>
                  <a:ln w="1878" cap="flat">
                    <a:noFill/>
                    <a:prstDash val="solid"/>
                    <a:miter/>
                  </a:ln>
                </p:spPr>
                <p:txBody>
                  <a:bodyPr rtlCol="0" anchor="ctr"/>
                  <a:lstStyle/>
                  <a:p>
                    <a:endParaRPr lang="en-GB" noProof="0" dirty="0"/>
                  </a:p>
                </p:txBody>
              </p:sp>
            </p:grpSp>
          </p:grpSp>
        </p:grpSp>
        <p:pic>
          <p:nvPicPr>
            <p:cNvPr id="421" name="Grafik 420">
              <a:extLst>
                <a:ext uri="{FF2B5EF4-FFF2-40B4-BE49-F238E27FC236}">
                  <a16:creationId xmlns:a16="http://schemas.microsoft.com/office/drawing/2014/main" id="{33233826-1C02-EB53-F9C0-42C5A74540A3}"/>
                </a:ext>
              </a:extLst>
            </p:cNvPr>
            <p:cNvPicPr>
              <a:picLocks noChangeAspect="1"/>
            </p:cNvPicPr>
            <p:nvPr/>
          </p:nvPicPr>
          <p:blipFill>
            <a:blip r:embed="rId3"/>
            <a:stretch>
              <a:fillRect/>
            </a:stretch>
          </p:blipFill>
          <p:spPr>
            <a:xfrm>
              <a:off x="3351373" y="2929234"/>
              <a:ext cx="193947" cy="89790"/>
            </a:xfrm>
            <a:prstGeom prst="rect">
              <a:avLst/>
            </a:prstGeom>
          </p:spPr>
        </p:pic>
      </p:grpSp>
      <p:sp>
        <p:nvSpPr>
          <p:cNvPr id="23" name="Freihandform: Form 22">
            <a:extLst>
              <a:ext uri="{FF2B5EF4-FFF2-40B4-BE49-F238E27FC236}">
                <a16:creationId xmlns:a16="http://schemas.microsoft.com/office/drawing/2014/main" id="{94EA941E-1571-EB04-340F-C63203BB4813}"/>
              </a:ext>
            </a:extLst>
          </p:cNvPr>
          <p:cNvSpPr/>
          <p:nvPr/>
        </p:nvSpPr>
        <p:spPr>
          <a:xfrm>
            <a:off x="2365868" y="2633918"/>
            <a:ext cx="294690" cy="253732"/>
          </a:xfrm>
          <a:custGeom>
            <a:avLst/>
            <a:gdLst>
              <a:gd name="connsiteX0" fmla="*/ 538479 w 539049"/>
              <a:gd name="connsiteY0" fmla="*/ 203641 h 538098"/>
              <a:gd name="connsiteX1" fmla="*/ 538479 w 539049"/>
              <a:gd name="connsiteY1" fmla="*/ 192613 h 538098"/>
              <a:gd name="connsiteX2" fmla="*/ 537528 w 539049"/>
              <a:gd name="connsiteY2" fmla="*/ 192613 h 538098"/>
              <a:gd name="connsiteX3" fmla="*/ 538479 w 539049"/>
              <a:gd name="connsiteY3" fmla="*/ 192232 h 538098"/>
              <a:gd name="connsiteX4" fmla="*/ 487141 w 539049"/>
              <a:gd name="connsiteY4" fmla="*/ 82521 h 538098"/>
              <a:gd name="connsiteX5" fmla="*/ 345676 w 539049"/>
              <a:gd name="connsiteY5" fmla="*/ 82521 h 538098"/>
              <a:gd name="connsiteX6" fmla="*/ 345676 w 539049"/>
              <a:gd name="connsiteY6" fmla="*/ 65408 h 538098"/>
              <a:gd name="connsiteX7" fmla="*/ 370394 w 539049"/>
              <a:gd name="connsiteY7" fmla="*/ 33275 h 538098"/>
              <a:gd name="connsiteX8" fmla="*/ 337310 w 539049"/>
              <a:gd name="connsiteY8" fmla="*/ 0 h 538098"/>
              <a:gd name="connsiteX9" fmla="*/ 304035 w 539049"/>
              <a:gd name="connsiteY9" fmla="*/ 33275 h 538098"/>
              <a:gd name="connsiteX10" fmla="*/ 328563 w 539049"/>
              <a:gd name="connsiteY10" fmla="*/ 65408 h 538098"/>
              <a:gd name="connsiteX11" fmla="*/ 328563 w 539049"/>
              <a:gd name="connsiteY11" fmla="*/ 82521 h 538098"/>
              <a:gd name="connsiteX12" fmla="*/ 215810 w 539049"/>
              <a:gd name="connsiteY12" fmla="*/ 82521 h 538098"/>
              <a:gd name="connsiteX13" fmla="*/ 215810 w 539049"/>
              <a:gd name="connsiteY13" fmla="*/ 65789 h 538098"/>
              <a:gd name="connsiteX14" fmla="*/ 242239 w 539049"/>
              <a:gd name="connsiteY14" fmla="*/ 33275 h 538098"/>
              <a:gd name="connsiteX15" fmla="*/ 209155 w 539049"/>
              <a:gd name="connsiteY15" fmla="*/ 0 h 538098"/>
              <a:gd name="connsiteX16" fmla="*/ 176070 w 539049"/>
              <a:gd name="connsiteY16" fmla="*/ 33275 h 538098"/>
              <a:gd name="connsiteX17" fmla="*/ 198887 w 539049"/>
              <a:gd name="connsiteY17" fmla="*/ 64838 h 538098"/>
              <a:gd name="connsiteX18" fmla="*/ 198887 w 539049"/>
              <a:gd name="connsiteY18" fmla="*/ 82521 h 538098"/>
              <a:gd name="connsiteX19" fmla="*/ 56472 w 539049"/>
              <a:gd name="connsiteY19" fmla="*/ 82521 h 538098"/>
              <a:gd name="connsiteX20" fmla="*/ 0 w 539049"/>
              <a:gd name="connsiteY20" fmla="*/ 192232 h 538098"/>
              <a:gd name="connsiteX21" fmla="*/ 761 w 539049"/>
              <a:gd name="connsiteY21" fmla="*/ 192613 h 538098"/>
              <a:gd name="connsiteX22" fmla="*/ 0 w 539049"/>
              <a:gd name="connsiteY22" fmla="*/ 192613 h 538098"/>
              <a:gd name="connsiteX23" fmla="*/ 0 w 539049"/>
              <a:gd name="connsiteY23" fmla="*/ 523077 h 538098"/>
              <a:gd name="connsiteX24" fmla="*/ 19394 w 539049"/>
              <a:gd name="connsiteY24" fmla="*/ 523077 h 538098"/>
              <a:gd name="connsiteX25" fmla="*/ 19394 w 539049"/>
              <a:gd name="connsiteY25" fmla="*/ 538099 h 538098"/>
              <a:gd name="connsiteX26" fmla="*/ 522697 w 539049"/>
              <a:gd name="connsiteY26" fmla="*/ 538099 h 538098"/>
              <a:gd name="connsiteX27" fmla="*/ 522697 w 539049"/>
              <a:gd name="connsiteY27" fmla="*/ 523077 h 538098"/>
              <a:gd name="connsiteX28" fmla="*/ 538669 w 539049"/>
              <a:gd name="connsiteY28" fmla="*/ 523077 h 538098"/>
              <a:gd name="connsiteX29" fmla="*/ 538669 w 539049"/>
              <a:gd name="connsiteY29" fmla="*/ 204592 h 538098"/>
              <a:gd name="connsiteX30" fmla="*/ 539049 w 539049"/>
              <a:gd name="connsiteY30" fmla="*/ 204592 h 538098"/>
              <a:gd name="connsiteX31" fmla="*/ 538479 w 539049"/>
              <a:gd name="connsiteY31" fmla="*/ 203641 h 538098"/>
              <a:gd name="connsiteX32" fmla="*/ 321148 w 539049"/>
              <a:gd name="connsiteY32" fmla="*/ 33275 h 538098"/>
              <a:gd name="connsiteX33" fmla="*/ 337310 w 539049"/>
              <a:gd name="connsiteY33" fmla="*/ 17113 h 538098"/>
              <a:gd name="connsiteX34" fmla="*/ 353472 w 539049"/>
              <a:gd name="connsiteY34" fmla="*/ 33275 h 538098"/>
              <a:gd name="connsiteX35" fmla="*/ 337310 w 539049"/>
              <a:gd name="connsiteY35" fmla="*/ 49437 h 538098"/>
              <a:gd name="connsiteX36" fmla="*/ 321148 w 539049"/>
              <a:gd name="connsiteY36" fmla="*/ 33275 h 538098"/>
              <a:gd name="connsiteX37" fmla="*/ 193183 w 539049"/>
              <a:gd name="connsiteY37" fmla="*/ 33275 h 538098"/>
              <a:gd name="connsiteX38" fmla="*/ 209345 w 539049"/>
              <a:gd name="connsiteY38" fmla="*/ 17113 h 538098"/>
              <a:gd name="connsiteX39" fmla="*/ 225507 w 539049"/>
              <a:gd name="connsiteY39" fmla="*/ 33275 h 538098"/>
              <a:gd name="connsiteX40" fmla="*/ 209345 w 539049"/>
              <a:gd name="connsiteY40" fmla="*/ 49437 h 538098"/>
              <a:gd name="connsiteX41" fmla="*/ 193183 w 539049"/>
              <a:gd name="connsiteY41" fmla="*/ 33275 h 538098"/>
              <a:gd name="connsiteX42" fmla="*/ 521366 w 539049"/>
              <a:gd name="connsiteY42" fmla="*/ 251746 h 538098"/>
              <a:gd name="connsiteX43" fmla="*/ 277796 w 539049"/>
              <a:gd name="connsiteY43" fmla="*/ 251746 h 538098"/>
              <a:gd name="connsiteX44" fmla="*/ 277796 w 539049"/>
              <a:gd name="connsiteY44" fmla="*/ 209725 h 538098"/>
              <a:gd name="connsiteX45" fmla="*/ 521366 w 539049"/>
              <a:gd name="connsiteY45" fmla="*/ 209725 h 538098"/>
              <a:gd name="connsiteX46" fmla="*/ 521366 w 539049"/>
              <a:gd name="connsiteY46" fmla="*/ 251746 h 538098"/>
              <a:gd name="connsiteX47" fmla="*/ 521366 w 539049"/>
              <a:gd name="connsiteY47" fmla="*/ 406331 h 538098"/>
              <a:gd name="connsiteX48" fmla="*/ 277796 w 539049"/>
              <a:gd name="connsiteY48" fmla="*/ 406331 h 538098"/>
              <a:gd name="connsiteX49" fmla="*/ 277796 w 539049"/>
              <a:gd name="connsiteY49" fmla="*/ 268669 h 538098"/>
              <a:gd name="connsiteX50" fmla="*/ 521366 w 539049"/>
              <a:gd name="connsiteY50" fmla="*/ 268669 h 538098"/>
              <a:gd name="connsiteX51" fmla="*/ 521366 w 539049"/>
              <a:gd name="connsiteY51" fmla="*/ 406331 h 538098"/>
              <a:gd name="connsiteX52" fmla="*/ 17113 w 539049"/>
              <a:gd name="connsiteY52" fmla="*/ 268859 h 538098"/>
              <a:gd name="connsiteX53" fmla="*/ 260683 w 539049"/>
              <a:gd name="connsiteY53" fmla="*/ 268859 h 538098"/>
              <a:gd name="connsiteX54" fmla="*/ 260683 w 539049"/>
              <a:gd name="connsiteY54" fmla="*/ 406521 h 538098"/>
              <a:gd name="connsiteX55" fmla="*/ 17113 w 539049"/>
              <a:gd name="connsiteY55" fmla="*/ 406521 h 538098"/>
              <a:gd name="connsiteX56" fmla="*/ 17113 w 539049"/>
              <a:gd name="connsiteY56" fmla="*/ 268859 h 538098"/>
              <a:gd name="connsiteX57" fmla="*/ 421923 w 539049"/>
              <a:gd name="connsiteY57" fmla="*/ 145648 h 538098"/>
              <a:gd name="connsiteX58" fmla="*/ 388077 w 539049"/>
              <a:gd name="connsiteY58" fmla="*/ 178542 h 538098"/>
              <a:gd name="connsiteX59" fmla="*/ 354232 w 539049"/>
              <a:gd name="connsiteY59" fmla="*/ 145648 h 538098"/>
              <a:gd name="connsiteX60" fmla="*/ 388077 w 539049"/>
              <a:gd name="connsiteY60" fmla="*/ 112754 h 538098"/>
              <a:gd name="connsiteX61" fmla="*/ 421923 w 539049"/>
              <a:gd name="connsiteY61" fmla="*/ 145648 h 538098"/>
              <a:gd name="connsiteX62" fmla="*/ 66930 w 539049"/>
              <a:gd name="connsiteY62" fmla="*/ 99634 h 538098"/>
              <a:gd name="connsiteX63" fmla="*/ 260683 w 539049"/>
              <a:gd name="connsiteY63" fmla="*/ 99634 h 538098"/>
              <a:gd name="connsiteX64" fmla="*/ 260683 w 539049"/>
              <a:gd name="connsiteY64" fmla="*/ 192613 h 538098"/>
              <a:gd name="connsiteX65" fmla="*/ 19014 w 539049"/>
              <a:gd name="connsiteY65" fmla="*/ 192613 h 538098"/>
              <a:gd name="connsiteX66" fmla="*/ 66930 w 539049"/>
              <a:gd name="connsiteY66" fmla="*/ 99634 h 538098"/>
              <a:gd name="connsiteX67" fmla="*/ 17113 w 539049"/>
              <a:gd name="connsiteY67" fmla="*/ 209725 h 538098"/>
              <a:gd name="connsiteX68" fmla="*/ 260683 w 539049"/>
              <a:gd name="connsiteY68" fmla="*/ 209725 h 538098"/>
              <a:gd name="connsiteX69" fmla="*/ 260683 w 539049"/>
              <a:gd name="connsiteY69" fmla="*/ 251746 h 538098"/>
              <a:gd name="connsiteX70" fmla="*/ 17113 w 539049"/>
              <a:gd name="connsiteY70" fmla="*/ 251746 h 538098"/>
              <a:gd name="connsiteX71" fmla="*/ 17113 w 539049"/>
              <a:gd name="connsiteY71" fmla="*/ 209725 h 538098"/>
              <a:gd name="connsiteX72" fmla="*/ 17113 w 539049"/>
              <a:gd name="connsiteY72" fmla="*/ 505965 h 538098"/>
              <a:gd name="connsiteX73" fmla="*/ 17113 w 539049"/>
              <a:gd name="connsiteY73" fmla="*/ 423634 h 538098"/>
              <a:gd name="connsiteX74" fmla="*/ 260683 w 539049"/>
              <a:gd name="connsiteY74" fmla="*/ 423634 h 538098"/>
              <a:gd name="connsiteX75" fmla="*/ 260683 w 539049"/>
              <a:gd name="connsiteY75" fmla="*/ 505965 h 538098"/>
              <a:gd name="connsiteX76" fmla="*/ 17113 w 539049"/>
              <a:gd name="connsiteY76" fmla="*/ 505965 h 538098"/>
              <a:gd name="connsiteX77" fmla="*/ 521366 w 539049"/>
              <a:gd name="connsiteY77" fmla="*/ 505965 h 538098"/>
              <a:gd name="connsiteX78" fmla="*/ 277796 w 539049"/>
              <a:gd name="connsiteY78" fmla="*/ 505965 h 538098"/>
              <a:gd name="connsiteX79" fmla="*/ 277796 w 539049"/>
              <a:gd name="connsiteY79" fmla="*/ 423634 h 538098"/>
              <a:gd name="connsiteX80" fmla="*/ 521366 w 539049"/>
              <a:gd name="connsiteY80" fmla="*/ 423634 h 538098"/>
              <a:gd name="connsiteX81" fmla="*/ 521366 w 539049"/>
              <a:gd name="connsiteY81" fmla="*/ 505965 h 538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539049" h="538098">
                <a:moveTo>
                  <a:pt x="538479" y="203641"/>
                </a:moveTo>
                <a:lnTo>
                  <a:pt x="538479" y="192613"/>
                </a:lnTo>
                <a:lnTo>
                  <a:pt x="537528" y="192613"/>
                </a:lnTo>
                <a:lnTo>
                  <a:pt x="538479" y="192232"/>
                </a:lnTo>
                <a:lnTo>
                  <a:pt x="487141" y="82521"/>
                </a:lnTo>
                <a:lnTo>
                  <a:pt x="345676" y="82521"/>
                </a:lnTo>
                <a:lnTo>
                  <a:pt x="345676" y="65408"/>
                </a:lnTo>
                <a:cubicBezTo>
                  <a:pt x="359746" y="61606"/>
                  <a:pt x="370394" y="48676"/>
                  <a:pt x="370394" y="33275"/>
                </a:cubicBezTo>
                <a:cubicBezTo>
                  <a:pt x="370394" y="15021"/>
                  <a:pt x="355563" y="0"/>
                  <a:pt x="337310" y="0"/>
                </a:cubicBezTo>
                <a:cubicBezTo>
                  <a:pt x="319056" y="0"/>
                  <a:pt x="304035" y="15021"/>
                  <a:pt x="304035" y="33275"/>
                </a:cubicBezTo>
                <a:cubicBezTo>
                  <a:pt x="304035" y="48676"/>
                  <a:pt x="314493" y="61606"/>
                  <a:pt x="328563" y="65408"/>
                </a:cubicBezTo>
                <a:lnTo>
                  <a:pt x="328563" y="82521"/>
                </a:lnTo>
                <a:lnTo>
                  <a:pt x="215810" y="82521"/>
                </a:lnTo>
                <a:lnTo>
                  <a:pt x="215810" y="65789"/>
                </a:lnTo>
                <a:cubicBezTo>
                  <a:pt x="230831" y="62746"/>
                  <a:pt x="242239" y="49246"/>
                  <a:pt x="242239" y="33275"/>
                </a:cubicBezTo>
                <a:cubicBezTo>
                  <a:pt x="242239" y="15021"/>
                  <a:pt x="227408" y="0"/>
                  <a:pt x="209155" y="0"/>
                </a:cubicBezTo>
                <a:cubicBezTo>
                  <a:pt x="190901" y="0"/>
                  <a:pt x="176070" y="14831"/>
                  <a:pt x="176070" y="33275"/>
                </a:cubicBezTo>
                <a:cubicBezTo>
                  <a:pt x="176070" y="47915"/>
                  <a:pt x="185577" y="60465"/>
                  <a:pt x="198887" y="64838"/>
                </a:cubicBezTo>
                <a:lnTo>
                  <a:pt x="198887" y="82521"/>
                </a:lnTo>
                <a:lnTo>
                  <a:pt x="56472" y="82521"/>
                </a:lnTo>
                <a:lnTo>
                  <a:pt x="0" y="192232"/>
                </a:lnTo>
                <a:lnTo>
                  <a:pt x="761" y="192613"/>
                </a:lnTo>
                <a:lnTo>
                  <a:pt x="0" y="192613"/>
                </a:lnTo>
                <a:lnTo>
                  <a:pt x="0" y="523077"/>
                </a:lnTo>
                <a:lnTo>
                  <a:pt x="19394" y="523077"/>
                </a:lnTo>
                <a:lnTo>
                  <a:pt x="19394" y="538099"/>
                </a:lnTo>
                <a:lnTo>
                  <a:pt x="522697" y="538099"/>
                </a:lnTo>
                <a:lnTo>
                  <a:pt x="522697" y="523077"/>
                </a:lnTo>
                <a:lnTo>
                  <a:pt x="538669" y="523077"/>
                </a:lnTo>
                <a:lnTo>
                  <a:pt x="538669" y="204592"/>
                </a:lnTo>
                <a:lnTo>
                  <a:pt x="539049" y="204592"/>
                </a:lnTo>
                <a:lnTo>
                  <a:pt x="538479" y="203641"/>
                </a:lnTo>
                <a:close/>
                <a:moveTo>
                  <a:pt x="321148" y="33275"/>
                </a:moveTo>
                <a:cubicBezTo>
                  <a:pt x="321148" y="24338"/>
                  <a:pt x="328373" y="17113"/>
                  <a:pt x="337310" y="17113"/>
                </a:cubicBezTo>
                <a:cubicBezTo>
                  <a:pt x="346247" y="17113"/>
                  <a:pt x="353472" y="24338"/>
                  <a:pt x="353472" y="33275"/>
                </a:cubicBezTo>
                <a:cubicBezTo>
                  <a:pt x="353472" y="42211"/>
                  <a:pt x="346247" y="49437"/>
                  <a:pt x="337310" y="49437"/>
                </a:cubicBezTo>
                <a:cubicBezTo>
                  <a:pt x="328373" y="49437"/>
                  <a:pt x="321148" y="42211"/>
                  <a:pt x="321148" y="33275"/>
                </a:cubicBezTo>
                <a:close/>
                <a:moveTo>
                  <a:pt x="193183" y="33275"/>
                </a:moveTo>
                <a:cubicBezTo>
                  <a:pt x="193183" y="24338"/>
                  <a:pt x="200408" y="17113"/>
                  <a:pt x="209345" y="17113"/>
                </a:cubicBezTo>
                <a:cubicBezTo>
                  <a:pt x="218282" y="17113"/>
                  <a:pt x="225507" y="24338"/>
                  <a:pt x="225507" y="33275"/>
                </a:cubicBezTo>
                <a:cubicBezTo>
                  <a:pt x="225507" y="42211"/>
                  <a:pt x="218282" y="49437"/>
                  <a:pt x="209345" y="49437"/>
                </a:cubicBezTo>
                <a:cubicBezTo>
                  <a:pt x="200408" y="49437"/>
                  <a:pt x="193183" y="42211"/>
                  <a:pt x="193183" y="33275"/>
                </a:cubicBezTo>
                <a:close/>
                <a:moveTo>
                  <a:pt x="521366" y="251746"/>
                </a:moveTo>
                <a:lnTo>
                  <a:pt x="277796" y="251746"/>
                </a:lnTo>
                <a:lnTo>
                  <a:pt x="277796" y="209725"/>
                </a:lnTo>
                <a:lnTo>
                  <a:pt x="521366" y="209725"/>
                </a:lnTo>
                <a:lnTo>
                  <a:pt x="521366" y="251746"/>
                </a:lnTo>
                <a:close/>
                <a:moveTo>
                  <a:pt x="521366" y="406331"/>
                </a:moveTo>
                <a:lnTo>
                  <a:pt x="277796" y="406331"/>
                </a:lnTo>
                <a:lnTo>
                  <a:pt x="277796" y="268669"/>
                </a:lnTo>
                <a:lnTo>
                  <a:pt x="521366" y="268669"/>
                </a:lnTo>
                <a:lnTo>
                  <a:pt x="521366" y="406331"/>
                </a:lnTo>
                <a:close/>
                <a:moveTo>
                  <a:pt x="17113" y="268859"/>
                </a:moveTo>
                <a:lnTo>
                  <a:pt x="260683" y="268859"/>
                </a:lnTo>
                <a:lnTo>
                  <a:pt x="260683" y="406521"/>
                </a:lnTo>
                <a:lnTo>
                  <a:pt x="17113" y="406521"/>
                </a:lnTo>
                <a:lnTo>
                  <a:pt x="17113" y="268859"/>
                </a:lnTo>
                <a:close/>
                <a:moveTo>
                  <a:pt x="421923" y="145648"/>
                </a:moveTo>
                <a:cubicBezTo>
                  <a:pt x="421923" y="163711"/>
                  <a:pt x="406711" y="178542"/>
                  <a:pt x="388077" y="178542"/>
                </a:cubicBezTo>
                <a:cubicBezTo>
                  <a:pt x="369444" y="178542"/>
                  <a:pt x="354232" y="163901"/>
                  <a:pt x="354232" y="145648"/>
                </a:cubicBezTo>
                <a:cubicBezTo>
                  <a:pt x="354232" y="127394"/>
                  <a:pt x="369444" y="112754"/>
                  <a:pt x="388077" y="112754"/>
                </a:cubicBezTo>
                <a:cubicBezTo>
                  <a:pt x="406711" y="112944"/>
                  <a:pt x="421923" y="127585"/>
                  <a:pt x="421923" y="145648"/>
                </a:cubicBezTo>
                <a:close/>
                <a:moveTo>
                  <a:pt x="66930" y="99634"/>
                </a:moveTo>
                <a:lnTo>
                  <a:pt x="260683" y="99634"/>
                </a:lnTo>
                <a:lnTo>
                  <a:pt x="260683" y="192613"/>
                </a:lnTo>
                <a:lnTo>
                  <a:pt x="19014" y="192613"/>
                </a:lnTo>
                <a:lnTo>
                  <a:pt x="66930" y="99634"/>
                </a:lnTo>
                <a:close/>
                <a:moveTo>
                  <a:pt x="17113" y="209725"/>
                </a:moveTo>
                <a:lnTo>
                  <a:pt x="260683" y="209725"/>
                </a:lnTo>
                <a:lnTo>
                  <a:pt x="260683" y="251746"/>
                </a:lnTo>
                <a:lnTo>
                  <a:pt x="17113" y="251746"/>
                </a:lnTo>
                <a:lnTo>
                  <a:pt x="17113" y="209725"/>
                </a:lnTo>
                <a:close/>
                <a:moveTo>
                  <a:pt x="17113" y="505965"/>
                </a:moveTo>
                <a:lnTo>
                  <a:pt x="17113" y="423634"/>
                </a:lnTo>
                <a:lnTo>
                  <a:pt x="260683" y="423634"/>
                </a:lnTo>
                <a:lnTo>
                  <a:pt x="260683" y="505965"/>
                </a:lnTo>
                <a:lnTo>
                  <a:pt x="17113" y="505965"/>
                </a:lnTo>
                <a:close/>
                <a:moveTo>
                  <a:pt x="521366" y="505965"/>
                </a:moveTo>
                <a:lnTo>
                  <a:pt x="277796" y="505965"/>
                </a:lnTo>
                <a:lnTo>
                  <a:pt x="277796" y="423634"/>
                </a:lnTo>
                <a:lnTo>
                  <a:pt x="521366" y="423634"/>
                </a:lnTo>
                <a:lnTo>
                  <a:pt x="521366" y="505965"/>
                </a:lnTo>
                <a:close/>
              </a:path>
            </a:pathLst>
          </a:custGeom>
          <a:solidFill>
            <a:srgbClr val="009252"/>
          </a:solidFill>
          <a:ln w="1878" cap="flat">
            <a:noFill/>
            <a:prstDash val="solid"/>
            <a:miter/>
          </a:ln>
        </p:spPr>
        <p:txBody>
          <a:bodyPr rtlCol="0" anchor="ctr"/>
          <a:lstStyle/>
          <a:p>
            <a:endParaRPr lang="en-GB" noProof="0" dirty="0"/>
          </a:p>
        </p:txBody>
      </p:sp>
      <p:sp>
        <p:nvSpPr>
          <p:cNvPr id="25" name="Freihandform: Form 24">
            <a:extLst>
              <a:ext uri="{FF2B5EF4-FFF2-40B4-BE49-F238E27FC236}">
                <a16:creationId xmlns:a16="http://schemas.microsoft.com/office/drawing/2014/main" id="{4A282446-45A4-3E32-AAF8-288A546E18E5}"/>
              </a:ext>
            </a:extLst>
          </p:cNvPr>
          <p:cNvSpPr/>
          <p:nvPr/>
        </p:nvSpPr>
        <p:spPr>
          <a:xfrm>
            <a:off x="2361303" y="2175075"/>
            <a:ext cx="294690" cy="253732"/>
          </a:xfrm>
          <a:custGeom>
            <a:avLst/>
            <a:gdLst>
              <a:gd name="connsiteX0" fmla="*/ 538479 w 539049"/>
              <a:gd name="connsiteY0" fmla="*/ 203641 h 538098"/>
              <a:gd name="connsiteX1" fmla="*/ 538479 w 539049"/>
              <a:gd name="connsiteY1" fmla="*/ 192613 h 538098"/>
              <a:gd name="connsiteX2" fmla="*/ 537528 w 539049"/>
              <a:gd name="connsiteY2" fmla="*/ 192613 h 538098"/>
              <a:gd name="connsiteX3" fmla="*/ 538479 w 539049"/>
              <a:gd name="connsiteY3" fmla="*/ 192232 h 538098"/>
              <a:gd name="connsiteX4" fmla="*/ 487141 w 539049"/>
              <a:gd name="connsiteY4" fmla="*/ 82521 h 538098"/>
              <a:gd name="connsiteX5" fmla="*/ 345676 w 539049"/>
              <a:gd name="connsiteY5" fmla="*/ 82521 h 538098"/>
              <a:gd name="connsiteX6" fmla="*/ 345676 w 539049"/>
              <a:gd name="connsiteY6" fmla="*/ 65408 h 538098"/>
              <a:gd name="connsiteX7" fmla="*/ 370394 w 539049"/>
              <a:gd name="connsiteY7" fmla="*/ 33275 h 538098"/>
              <a:gd name="connsiteX8" fmla="*/ 337310 w 539049"/>
              <a:gd name="connsiteY8" fmla="*/ 0 h 538098"/>
              <a:gd name="connsiteX9" fmla="*/ 304035 w 539049"/>
              <a:gd name="connsiteY9" fmla="*/ 33275 h 538098"/>
              <a:gd name="connsiteX10" fmla="*/ 328563 w 539049"/>
              <a:gd name="connsiteY10" fmla="*/ 65408 h 538098"/>
              <a:gd name="connsiteX11" fmla="*/ 328563 w 539049"/>
              <a:gd name="connsiteY11" fmla="*/ 82521 h 538098"/>
              <a:gd name="connsiteX12" fmla="*/ 215810 w 539049"/>
              <a:gd name="connsiteY12" fmla="*/ 82521 h 538098"/>
              <a:gd name="connsiteX13" fmla="*/ 215810 w 539049"/>
              <a:gd name="connsiteY13" fmla="*/ 65789 h 538098"/>
              <a:gd name="connsiteX14" fmla="*/ 242239 w 539049"/>
              <a:gd name="connsiteY14" fmla="*/ 33275 h 538098"/>
              <a:gd name="connsiteX15" fmla="*/ 209155 w 539049"/>
              <a:gd name="connsiteY15" fmla="*/ 0 h 538098"/>
              <a:gd name="connsiteX16" fmla="*/ 176070 w 539049"/>
              <a:gd name="connsiteY16" fmla="*/ 33275 h 538098"/>
              <a:gd name="connsiteX17" fmla="*/ 198887 w 539049"/>
              <a:gd name="connsiteY17" fmla="*/ 64838 h 538098"/>
              <a:gd name="connsiteX18" fmla="*/ 198887 w 539049"/>
              <a:gd name="connsiteY18" fmla="*/ 82521 h 538098"/>
              <a:gd name="connsiteX19" fmla="*/ 56472 w 539049"/>
              <a:gd name="connsiteY19" fmla="*/ 82521 h 538098"/>
              <a:gd name="connsiteX20" fmla="*/ 0 w 539049"/>
              <a:gd name="connsiteY20" fmla="*/ 192232 h 538098"/>
              <a:gd name="connsiteX21" fmla="*/ 761 w 539049"/>
              <a:gd name="connsiteY21" fmla="*/ 192613 h 538098"/>
              <a:gd name="connsiteX22" fmla="*/ 0 w 539049"/>
              <a:gd name="connsiteY22" fmla="*/ 192613 h 538098"/>
              <a:gd name="connsiteX23" fmla="*/ 0 w 539049"/>
              <a:gd name="connsiteY23" fmla="*/ 523077 h 538098"/>
              <a:gd name="connsiteX24" fmla="*/ 19394 w 539049"/>
              <a:gd name="connsiteY24" fmla="*/ 523077 h 538098"/>
              <a:gd name="connsiteX25" fmla="*/ 19394 w 539049"/>
              <a:gd name="connsiteY25" fmla="*/ 538099 h 538098"/>
              <a:gd name="connsiteX26" fmla="*/ 522697 w 539049"/>
              <a:gd name="connsiteY26" fmla="*/ 538099 h 538098"/>
              <a:gd name="connsiteX27" fmla="*/ 522697 w 539049"/>
              <a:gd name="connsiteY27" fmla="*/ 523077 h 538098"/>
              <a:gd name="connsiteX28" fmla="*/ 538669 w 539049"/>
              <a:gd name="connsiteY28" fmla="*/ 523077 h 538098"/>
              <a:gd name="connsiteX29" fmla="*/ 538669 w 539049"/>
              <a:gd name="connsiteY29" fmla="*/ 204592 h 538098"/>
              <a:gd name="connsiteX30" fmla="*/ 539049 w 539049"/>
              <a:gd name="connsiteY30" fmla="*/ 204592 h 538098"/>
              <a:gd name="connsiteX31" fmla="*/ 538479 w 539049"/>
              <a:gd name="connsiteY31" fmla="*/ 203641 h 538098"/>
              <a:gd name="connsiteX32" fmla="*/ 321148 w 539049"/>
              <a:gd name="connsiteY32" fmla="*/ 33275 h 538098"/>
              <a:gd name="connsiteX33" fmla="*/ 337310 w 539049"/>
              <a:gd name="connsiteY33" fmla="*/ 17113 h 538098"/>
              <a:gd name="connsiteX34" fmla="*/ 353472 w 539049"/>
              <a:gd name="connsiteY34" fmla="*/ 33275 h 538098"/>
              <a:gd name="connsiteX35" fmla="*/ 337310 w 539049"/>
              <a:gd name="connsiteY35" fmla="*/ 49437 h 538098"/>
              <a:gd name="connsiteX36" fmla="*/ 321148 w 539049"/>
              <a:gd name="connsiteY36" fmla="*/ 33275 h 538098"/>
              <a:gd name="connsiteX37" fmla="*/ 193183 w 539049"/>
              <a:gd name="connsiteY37" fmla="*/ 33275 h 538098"/>
              <a:gd name="connsiteX38" fmla="*/ 209345 w 539049"/>
              <a:gd name="connsiteY38" fmla="*/ 17113 h 538098"/>
              <a:gd name="connsiteX39" fmla="*/ 225507 w 539049"/>
              <a:gd name="connsiteY39" fmla="*/ 33275 h 538098"/>
              <a:gd name="connsiteX40" fmla="*/ 209345 w 539049"/>
              <a:gd name="connsiteY40" fmla="*/ 49437 h 538098"/>
              <a:gd name="connsiteX41" fmla="*/ 193183 w 539049"/>
              <a:gd name="connsiteY41" fmla="*/ 33275 h 538098"/>
              <a:gd name="connsiteX42" fmla="*/ 521366 w 539049"/>
              <a:gd name="connsiteY42" fmla="*/ 251746 h 538098"/>
              <a:gd name="connsiteX43" fmla="*/ 277796 w 539049"/>
              <a:gd name="connsiteY43" fmla="*/ 251746 h 538098"/>
              <a:gd name="connsiteX44" fmla="*/ 277796 w 539049"/>
              <a:gd name="connsiteY44" fmla="*/ 209725 h 538098"/>
              <a:gd name="connsiteX45" fmla="*/ 521366 w 539049"/>
              <a:gd name="connsiteY45" fmla="*/ 209725 h 538098"/>
              <a:gd name="connsiteX46" fmla="*/ 521366 w 539049"/>
              <a:gd name="connsiteY46" fmla="*/ 251746 h 538098"/>
              <a:gd name="connsiteX47" fmla="*/ 521366 w 539049"/>
              <a:gd name="connsiteY47" fmla="*/ 406331 h 538098"/>
              <a:gd name="connsiteX48" fmla="*/ 277796 w 539049"/>
              <a:gd name="connsiteY48" fmla="*/ 406331 h 538098"/>
              <a:gd name="connsiteX49" fmla="*/ 277796 w 539049"/>
              <a:gd name="connsiteY49" fmla="*/ 268669 h 538098"/>
              <a:gd name="connsiteX50" fmla="*/ 521366 w 539049"/>
              <a:gd name="connsiteY50" fmla="*/ 268669 h 538098"/>
              <a:gd name="connsiteX51" fmla="*/ 521366 w 539049"/>
              <a:gd name="connsiteY51" fmla="*/ 406331 h 538098"/>
              <a:gd name="connsiteX52" fmla="*/ 17113 w 539049"/>
              <a:gd name="connsiteY52" fmla="*/ 268859 h 538098"/>
              <a:gd name="connsiteX53" fmla="*/ 260683 w 539049"/>
              <a:gd name="connsiteY53" fmla="*/ 268859 h 538098"/>
              <a:gd name="connsiteX54" fmla="*/ 260683 w 539049"/>
              <a:gd name="connsiteY54" fmla="*/ 406521 h 538098"/>
              <a:gd name="connsiteX55" fmla="*/ 17113 w 539049"/>
              <a:gd name="connsiteY55" fmla="*/ 406521 h 538098"/>
              <a:gd name="connsiteX56" fmla="*/ 17113 w 539049"/>
              <a:gd name="connsiteY56" fmla="*/ 268859 h 538098"/>
              <a:gd name="connsiteX57" fmla="*/ 421923 w 539049"/>
              <a:gd name="connsiteY57" fmla="*/ 145648 h 538098"/>
              <a:gd name="connsiteX58" fmla="*/ 388077 w 539049"/>
              <a:gd name="connsiteY58" fmla="*/ 178542 h 538098"/>
              <a:gd name="connsiteX59" fmla="*/ 354232 w 539049"/>
              <a:gd name="connsiteY59" fmla="*/ 145648 h 538098"/>
              <a:gd name="connsiteX60" fmla="*/ 388077 w 539049"/>
              <a:gd name="connsiteY60" fmla="*/ 112754 h 538098"/>
              <a:gd name="connsiteX61" fmla="*/ 421923 w 539049"/>
              <a:gd name="connsiteY61" fmla="*/ 145648 h 538098"/>
              <a:gd name="connsiteX62" fmla="*/ 66930 w 539049"/>
              <a:gd name="connsiteY62" fmla="*/ 99634 h 538098"/>
              <a:gd name="connsiteX63" fmla="*/ 260683 w 539049"/>
              <a:gd name="connsiteY63" fmla="*/ 99634 h 538098"/>
              <a:gd name="connsiteX64" fmla="*/ 260683 w 539049"/>
              <a:gd name="connsiteY64" fmla="*/ 192613 h 538098"/>
              <a:gd name="connsiteX65" fmla="*/ 19014 w 539049"/>
              <a:gd name="connsiteY65" fmla="*/ 192613 h 538098"/>
              <a:gd name="connsiteX66" fmla="*/ 66930 w 539049"/>
              <a:gd name="connsiteY66" fmla="*/ 99634 h 538098"/>
              <a:gd name="connsiteX67" fmla="*/ 17113 w 539049"/>
              <a:gd name="connsiteY67" fmla="*/ 209725 h 538098"/>
              <a:gd name="connsiteX68" fmla="*/ 260683 w 539049"/>
              <a:gd name="connsiteY68" fmla="*/ 209725 h 538098"/>
              <a:gd name="connsiteX69" fmla="*/ 260683 w 539049"/>
              <a:gd name="connsiteY69" fmla="*/ 251746 h 538098"/>
              <a:gd name="connsiteX70" fmla="*/ 17113 w 539049"/>
              <a:gd name="connsiteY70" fmla="*/ 251746 h 538098"/>
              <a:gd name="connsiteX71" fmla="*/ 17113 w 539049"/>
              <a:gd name="connsiteY71" fmla="*/ 209725 h 538098"/>
              <a:gd name="connsiteX72" fmla="*/ 17113 w 539049"/>
              <a:gd name="connsiteY72" fmla="*/ 505965 h 538098"/>
              <a:gd name="connsiteX73" fmla="*/ 17113 w 539049"/>
              <a:gd name="connsiteY73" fmla="*/ 423634 h 538098"/>
              <a:gd name="connsiteX74" fmla="*/ 260683 w 539049"/>
              <a:gd name="connsiteY74" fmla="*/ 423634 h 538098"/>
              <a:gd name="connsiteX75" fmla="*/ 260683 w 539049"/>
              <a:gd name="connsiteY75" fmla="*/ 505965 h 538098"/>
              <a:gd name="connsiteX76" fmla="*/ 17113 w 539049"/>
              <a:gd name="connsiteY76" fmla="*/ 505965 h 538098"/>
              <a:gd name="connsiteX77" fmla="*/ 521366 w 539049"/>
              <a:gd name="connsiteY77" fmla="*/ 505965 h 538098"/>
              <a:gd name="connsiteX78" fmla="*/ 277796 w 539049"/>
              <a:gd name="connsiteY78" fmla="*/ 505965 h 538098"/>
              <a:gd name="connsiteX79" fmla="*/ 277796 w 539049"/>
              <a:gd name="connsiteY79" fmla="*/ 423634 h 538098"/>
              <a:gd name="connsiteX80" fmla="*/ 521366 w 539049"/>
              <a:gd name="connsiteY80" fmla="*/ 423634 h 538098"/>
              <a:gd name="connsiteX81" fmla="*/ 521366 w 539049"/>
              <a:gd name="connsiteY81" fmla="*/ 505965 h 538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539049" h="538098">
                <a:moveTo>
                  <a:pt x="538479" y="203641"/>
                </a:moveTo>
                <a:lnTo>
                  <a:pt x="538479" y="192613"/>
                </a:lnTo>
                <a:lnTo>
                  <a:pt x="537528" y="192613"/>
                </a:lnTo>
                <a:lnTo>
                  <a:pt x="538479" y="192232"/>
                </a:lnTo>
                <a:lnTo>
                  <a:pt x="487141" y="82521"/>
                </a:lnTo>
                <a:lnTo>
                  <a:pt x="345676" y="82521"/>
                </a:lnTo>
                <a:lnTo>
                  <a:pt x="345676" y="65408"/>
                </a:lnTo>
                <a:cubicBezTo>
                  <a:pt x="359746" y="61606"/>
                  <a:pt x="370394" y="48676"/>
                  <a:pt x="370394" y="33275"/>
                </a:cubicBezTo>
                <a:cubicBezTo>
                  <a:pt x="370394" y="15021"/>
                  <a:pt x="355563" y="0"/>
                  <a:pt x="337310" y="0"/>
                </a:cubicBezTo>
                <a:cubicBezTo>
                  <a:pt x="319056" y="0"/>
                  <a:pt x="304035" y="15021"/>
                  <a:pt x="304035" y="33275"/>
                </a:cubicBezTo>
                <a:cubicBezTo>
                  <a:pt x="304035" y="48676"/>
                  <a:pt x="314493" y="61606"/>
                  <a:pt x="328563" y="65408"/>
                </a:cubicBezTo>
                <a:lnTo>
                  <a:pt x="328563" y="82521"/>
                </a:lnTo>
                <a:lnTo>
                  <a:pt x="215810" y="82521"/>
                </a:lnTo>
                <a:lnTo>
                  <a:pt x="215810" y="65789"/>
                </a:lnTo>
                <a:cubicBezTo>
                  <a:pt x="230831" y="62746"/>
                  <a:pt x="242239" y="49246"/>
                  <a:pt x="242239" y="33275"/>
                </a:cubicBezTo>
                <a:cubicBezTo>
                  <a:pt x="242239" y="15021"/>
                  <a:pt x="227408" y="0"/>
                  <a:pt x="209155" y="0"/>
                </a:cubicBezTo>
                <a:cubicBezTo>
                  <a:pt x="190901" y="0"/>
                  <a:pt x="176070" y="14831"/>
                  <a:pt x="176070" y="33275"/>
                </a:cubicBezTo>
                <a:cubicBezTo>
                  <a:pt x="176070" y="47915"/>
                  <a:pt x="185577" y="60465"/>
                  <a:pt x="198887" y="64838"/>
                </a:cubicBezTo>
                <a:lnTo>
                  <a:pt x="198887" y="82521"/>
                </a:lnTo>
                <a:lnTo>
                  <a:pt x="56472" y="82521"/>
                </a:lnTo>
                <a:lnTo>
                  <a:pt x="0" y="192232"/>
                </a:lnTo>
                <a:lnTo>
                  <a:pt x="761" y="192613"/>
                </a:lnTo>
                <a:lnTo>
                  <a:pt x="0" y="192613"/>
                </a:lnTo>
                <a:lnTo>
                  <a:pt x="0" y="523077"/>
                </a:lnTo>
                <a:lnTo>
                  <a:pt x="19394" y="523077"/>
                </a:lnTo>
                <a:lnTo>
                  <a:pt x="19394" y="538099"/>
                </a:lnTo>
                <a:lnTo>
                  <a:pt x="522697" y="538099"/>
                </a:lnTo>
                <a:lnTo>
                  <a:pt x="522697" y="523077"/>
                </a:lnTo>
                <a:lnTo>
                  <a:pt x="538669" y="523077"/>
                </a:lnTo>
                <a:lnTo>
                  <a:pt x="538669" y="204592"/>
                </a:lnTo>
                <a:lnTo>
                  <a:pt x="539049" y="204592"/>
                </a:lnTo>
                <a:lnTo>
                  <a:pt x="538479" y="203641"/>
                </a:lnTo>
                <a:close/>
                <a:moveTo>
                  <a:pt x="321148" y="33275"/>
                </a:moveTo>
                <a:cubicBezTo>
                  <a:pt x="321148" y="24338"/>
                  <a:pt x="328373" y="17113"/>
                  <a:pt x="337310" y="17113"/>
                </a:cubicBezTo>
                <a:cubicBezTo>
                  <a:pt x="346247" y="17113"/>
                  <a:pt x="353472" y="24338"/>
                  <a:pt x="353472" y="33275"/>
                </a:cubicBezTo>
                <a:cubicBezTo>
                  <a:pt x="353472" y="42211"/>
                  <a:pt x="346247" y="49437"/>
                  <a:pt x="337310" y="49437"/>
                </a:cubicBezTo>
                <a:cubicBezTo>
                  <a:pt x="328373" y="49437"/>
                  <a:pt x="321148" y="42211"/>
                  <a:pt x="321148" y="33275"/>
                </a:cubicBezTo>
                <a:close/>
                <a:moveTo>
                  <a:pt x="193183" y="33275"/>
                </a:moveTo>
                <a:cubicBezTo>
                  <a:pt x="193183" y="24338"/>
                  <a:pt x="200408" y="17113"/>
                  <a:pt x="209345" y="17113"/>
                </a:cubicBezTo>
                <a:cubicBezTo>
                  <a:pt x="218282" y="17113"/>
                  <a:pt x="225507" y="24338"/>
                  <a:pt x="225507" y="33275"/>
                </a:cubicBezTo>
                <a:cubicBezTo>
                  <a:pt x="225507" y="42211"/>
                  <a:pt x="218282" y="49437"/>
                  <a:pt x="209345" y="49437"/>
                </a:cubicBezTo>
                <a:cubicBezTo>
                  <a:pt x="200408" y="49437"/>
                  <a:pt x="193183" y="42211"/>
                  <a:pt x="193183" y="33275"/>
                </a:cubicBezTo>
                <a:close/>
                <a:moveTo>
                  <a:pt x="521366" y="251746"/>
                </a:moveTo>
                <a:lnTo>
                  <a:pt x="277796" y="251746"/>
                </a:lnTo>
                <a:lnTo>
                  <a:pt x="277796" y="209725"/>
                </a:lnTo>
                <a:lnTo>
                  <a:pt x="521366" y="209725"/>
                </a:lnTo>
                <a:lnTo>
                  <a:pt x="521366" y="251746"/>
                </a:lnTo>
                <a:close/>
                <a:moveTo>
                  <a:pt x="521366" y="406331"/>
                </a:moveTo>
                <a:lnTo>
                  <a:pt x="277796" y="406331"/>
                </a:lnTo>
                <a:lnTo>
                  <a:pt x="277796" y="268669"/>
                </a:lnTo>
                <a:lnTo>
                  <a:pt x="521366" y="268669"/>
                </a:lnTo>
                <a:lnTo>
                  <a:pt x="521366" y="406331"/>
                </a:lnTo>
                <a:close/>
                <a:moveTo>
                  <a:pt x="17113" y="268859"/>
                </a:moveTo>
                <a:lnTo>
                  <a:pt x="260683" y="268859"/>
                </a:lnTo>
                <a:lnTo>
                  <a:pt x="260683" y="406521"/>
                </a:lnTo>
                <a:lnTo>
                  <a:pt x="17113" y="406521"/>
                </a:lnTo>
                <a:lnTo>
                  <a:pt x="17113" y="268859"/>
                </a:lnTo>
                <a:close/>
                <a:moveTo>
                  <a:pt x="421923" y="145648"/>
                </a:moveTo>
                <a:cubicBezTo>
                  <a:pt x="421923" y="163711"/>
                  <a:pt x="406711" y="178542"/>
                  <a:pt x="388077" y="178542"/>
                </a:cubicBezTo>
                <a:cubicBezTo>
                  <a:pt x="369444" y="178542"/>
                  <a:pt x="354232" y="163901"/>
                  <a:pt x="354232" y="145648"/>
                </a:cubicBezTo>
                <a:cubicBezTo>
                  <a:pt x="354232" y="127394"/>
                  <a:pt x="369444" y="112754"/>
                  <a:pt x="388077" y="112754"/>
                </a:cubicBezTo>
                <a:cubicBezTo>
                  <a:pt x="406711" y="112944"/>
                  <a:pt x="421923" y="127585"/>
                  <a:pt x="421923" y="145648"/>
                </a:cubicBezTo>
                <a:close/>
                <a:moveTo>
                  <a:pt x="66930" y="99634"/>
                </a:moveTo>
                <a:lnTo>
                  <a:pt x="260683" y="99634"/>
                </a:lnTo>
                <a:lnTo>
                  <a:pt x="260683" y="192613"/>
                </a:lnTo>
                <a:lnTo>
                  <a:pt x="19014" y="192613"/>
                </a:lnTo>
                <a:lnTo>
                  <a:pt x="66930" y="99634"/>
                </a:lnTo>
                <a:close/>
                <a:moveTo>
                  <a:pt x="17113" y="209725"/>
                </a:moveTo>
                <a:lnTo>
                  <a:pt x="260683" y="209725"/>
                </a:lnTo>
                <a:lnTo>
                  <a:pt x="260683" y="251746"/>
                </a:lnTo>
                <a:lnTo>
                  <a:pt x="17113" y="251746"/>
                </a:lnTo>
                <a:lnTo>
                  <a:pt x="17113" y="209725"/>
                </a:lnTo>
                <a:close/>
                <a:moveTo>
                  <a:pt x="17113" y="505965"/>
                </a:moveTo>
                <a:lnTo>
                  <a:pt x="17113" y="423634"/>
                </a:lnTo>
                <a:lnTo>
                  <a:pt x="260683" y="423634"/>
                </a:lnTo>
                <a:lnTo>
                  <a:pt x="260683" y="505965"/>
                </a:lnTo>
                <a:lnTo>
                  <a:pt x="17113" y="505965"/>
                </a:lnTo>
                <a:close/>
                <a:moveTo>
                  <a:pt x="521366" y="505965"/>
                </a:moveTo>
                <a:lnTo>
                  <a:pt x="277796" y="505965"/>
                </a:lnTo>
                <a:lnTo>
                  <a:pt x="277796" y="423634"/>
                </a:lnTo>
                <a:lnTo>
                  <a:pt x="521366" y="423634"/>
                </a:lnTo>
                <a:lnTo>
                  <a:pt x="521366" y="505965"/>
                </a:lnTo>
                <a:close/>
              </a:path>
            </a:pathLst>
          </a:custGeom>
          <a:solidFill>
            <a:srgbClr val="009252"/>
          </a:solidFill>
          <a:ln w="1878" cap="flat">
            <a:noFill/>
            <a:prstDash val="solid"/>
            <a:miter/>
          </a:ln>
        </p:spPr>
        <p:txBody>
          <a:bodyPr rtlCol="0" anchor="ctr"/>
          <a:lstStyle/>
          <a:p>
            <a:endParaRPr lang="en-GB" noProof="0" dirty="0"/>
          </a:p>
        </p:txBody>
      </p:sp>
      <p:sp>
        <p:nvSpPr>
          <p:cNvPr id="12" name="Line 65">
            <a:extLst>
              <a:ext uri="{FF2B5EF4-FFF2-40B4-BE49-F238E27FC236}">
                <a16:creationId xmlns:a16="http://schemas.microsoft.com/office/drawing/2014/main" id="{5D491595-E83A-EEB9-88D8-EB69231C250F}"/>
              </a:ext>
            </a:extLst>
          </p:cNvPr>
          <p:cNvSpPr>
            <a:spLocks noChangeShapeType="1"/>
          </p:cNvSpPr>
          <p:nvPr/>
        </p:nvSpPr>
        <p:spPr bwMode="auto">
          <a:xfrm flipH="1" flipV="1">
            <a:off x="4700647" y="2108032"/>
            <a:ext cx="0" cy="1101275"/>
          </a:xfrm>
          <a:prstGeom prst="line">
            <a:avLst/>
          </a:prstGeom>
          <a:noFill/>
          <a:ln w="25400">
            <a:solidFill>
              <a:schemeClr val="accent5"/>
            </a:solidFill>
            <a:round/>
            <a:headEnd type="none" w="med" len="med"/>
            <a:tailEnd type="none" w="med" len="med"/>
          </a:ln>
        </p:spPr>
        <p:txBody>
          <a:bodyPr wrap="square" lIns="62308" tIns="29908" rIns="62308" bIns="29908">
            <a:noAutofit/>
          </a:bodyPr>
          <a:lstStyle/>
          <a:p>
            <a:endParaRPr lang="en-GB" sz="761" noProof="0" dirty="0">
              <a:ln>
                <a:solidFill>
                  <a:schemeClr val="tx1"/>
                </a:solidFill>
                <a:prstDash val="solid"/>
              </a:ln>
            </a:endParaRPr>
          </a:p>
        </p:txBody>
      </p:sp>
      <p:sp>
        <p:nvSpPr>
          <p:cNvPr id="30" name="Line 65">
            <a:extLst>
              <a:ext uri="{FF2B5EF4-FFF2-40B4-BE49-F238E27FC236}">
                <a16:creationId xmlns:a16="http://schemas.microsoft.com/office/drawing/2014/main" id="{05A039EA-4153-1969-D1E9-40CA2C019E77}"/>
              </a:ext>
            </a:extLst>
          </p:cNvPr>
          <p:cNvSpPr>
            <a:spLocks noChangeShapeType="1"/>
          </p:cNvSpPr>
          <p:nvPr/>
        </p:nvSpPr>
        <p:spPr bwMode="auto">
          <a:xfrm>
            <a:off x="4688396" y="3209413"/>
            <a:ext cx="3148603" cy="7524"/>
          </a:xfrm>
          <a:prstGeom prst="line">
            <a:avLst/>
          </a:prstGeom>
          <a:noFill/>
          <a:ln w="25400">
            <a:solidFill>
              <a:schemeClr val="accent5"/>
            </a:solidFill>
            <a:round/>
            <a:headEnd type="none" w="med" len="med"/>
            <a:tailEnd type="triangle" w="med" len="med"/>
          </a:ln>
        </p:spPr>
        <p:txBody>
          <a:bodyPr wrap="square" lIns="62308" tIns="29908" rIns="62308" bIns="29908">
            <a:noAutofit/>
          </a:bodyPr>
          <a:lstStyle/>
          <a:p>
            <a:endParaRPr lang="en-GB" sz="761" noProof="0" dirty="0">
              <a:ln>
                <a:solidFill>
                  <a:schemeClr val="tx1"/>
                </a:solidFill>
                <a:prstDash val="solid"/>
              </a:ln>
            </a:endParaRPr>
          </a:p>
        </p:txBody>
      </p:sp>
      <p:sp>
        <p:nvSpPr>
          <p:cNvPr id="32" name="Rechteck 31">
            <a:extLst>
              <a:ext uri="{FF2B5EF4-FFF2-40B4-BE49-F238E27FC236}">
                <a16:creationId xmlns:a16="http://schemas.microsoft.com/office/drawing/2014/main" id="{5739CCDF-AEC2-F4F2-8D66-1C778EB4F79D}"/>
              </a:ext>
            </a:extLst>
          </p:cNvPr>
          <p:cNvSpPr/>
          <p:nvPr/>
        </p:nvSpPr>
        <p:spPr>
          <a:xfrm>
            <a:off x="5906677" y="3062928"/>
            <a:ext cx="702962" cy="276811"/>
          </a:xfrm>
          <a:prstGeom prst="rect">
            <a:avLst/>
          </a:prstGeom>
          <a:solidFill>
            <a:schemeClr val="bg1"/>
          </a:solidFill>
          <a:ln>
            <a:solidFill>
              <a:schemeClr val="bg1"/>
            </a:solidFill>
          </a:ln>
        </p:spPr>
        <p:txBody>
          <a:bodyPr lIns="0" tIns="0" rIns="0" bIns="0" rtlCol="0" anchor="ctr">
            <a:noAutofit/>
          </a:bodyPr>
          <a:lstStyle/>
          <a:p>
            <a:pPr marL="207169" indent="-207169" algn="ctr" defTabSz="247650">
              <a:spcBef>
                <a:spcPts val="225"/>
              </a:spcBef>
              <a:buFont typeface="Symbol" pitchFamily="18" charset="2"/>
              <a:buChar char="-"/>
            </a:pPr>
            <a:endParaRPr lang="en-GB" sz="1350" kern="0" noProof="0" dirty="0">
              <a:solidFill>
                <a:srgbClr val="41474C"/>
              </a:solidFill>
              <a:latin typeface="Corbel" pitchFamily="34" charset="0"/>
            </a:endParaRPr>
          </a:p>
        </p:txBody>
      </p:sp>
      <p:pic>
        <p:nvPicPr>
          <p:cNvPr id="37" name="Grafik 36" descr="Ein Bild, das Grafiken, Clipart, Grün, Design enthält.&#10;&#10;KI-generierte Inhalte können fehlerhaft sein.">
            <a:extLst>
              <a:ext uri="{FF2B5EF4-FFF2-40B4-BE49-F238E27FC236}">
                <a16:creationId xmlns:a16="http://schemas.microsoft.com/office/drawing/2014/main" id="{68F89AE9-D5ED-CD3D-EAB8-E1487D4B994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15508" y="3111137"/>
            <a:ext cx="341377" cy="195865"/>
          </a:xfrm>
          <a:prstGeom prst="rect">
            <a:avLst/>
          </a:prstGeom>
        </p:spPr>
      </p:pic>
      <p:pic>
        <p:nvPicPr>
          <p:cNvPr id="39" name="Grafik 38" descr="Ein Bild, das Grafiken, Clipart, Symbol, Design enthält.&#10;&#10;KI-generierte Inhalte können fehlerhaft sein.">
            <a:extLst>
              <a:ext uri="{FF2B5EF4-FFF2-40B4-BE49-F238E27FC236}">
                <a16:creationId xmlns:a16="http://schemas.microsoft.com/office/drawing/2014/main" id="{B5F0EBC4-02F0-3F73-1729-5EA5C253D47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53393" y="3106645"/>
            <a:ext cx="341377" cy="201199"/>
          </a:xfrm>
          <a:prstGeom prst="rect">
            <a:avLst/>
          </a:prstGeom>
        </p:spPr>
      </p:pic>
      <p:sp>
        <p:nvSpPr>
          <p:cNvPr id="9" name="Text Box 25">
            <a:extLst>
              <a:ext uri="{FF2B5EF4-FFF2-40B4-BE49-F238E27FC236}">
                <a16:creationId xmlns:a16="http://schemas.microsoft.com/office/drawing/2014/main" id="{9FCC0C41-DB27-181D-21EA-7E96BDE91CC8}"/>
              </a:ext>
            </a:extLst>
          </p:cNvPr>
          <p:cNvSpPr txBox="1">
            <a:spLocks noChangeArrowheads="1"/>
          </p:cNvSpPr>
          <p:nvPr/>
        </p:nvSpPr>
        <p:spPr bwMode="auto">
          <a:xfrm>
            <a:off x="2868962" y="3539057"/>
            <a:ext cx="1385445" cy="706731"/>
          </a:xfrm>
          <a:prstGeom prst="rect">
            <a:avLst/>
          </a:prstGeom>
          <a:noFill/>
          <a:ln w="12700">
            <a:noFill/>
            <a:miter lim="800000"/>
            <a:headEnd/>
            <a:tailEnd/>
          </a:ln>
        </p:spPr>
        <p:txBody>
          <a:bodyPr wrap="square" lIns="62308" tIns="29908" rIns="62308" bIns="29908">
            <a:spAutoFit/>
          </a:bodyPr>
          <a:lstStyle/>
          <a:p>
            <a:pPr algn="ctr">
              <a:spcBef>
                <a:spcPct val="50000"/>
              </a:spcBef>
            </a:pPr>
            <a:r>
              <a:rPr lang="en-GB" sz="1400" b="1" dirty="0">
                <a:solidFill>
                  <a:schemeClr val="accent1"/>
                </a:solidFill>
                <a:latin typeface="Calibri" panose="020F0502020204030204" pitchFamily="34" charset="0"/>
              </a:rPr>
              <a:t>Use Case 3:</a:t>
            </a:r>
            <a:br>
              <a:rPr lang="en-GB" sz="1400" b="1" dirty="0">
                <a:solidFill>
                  <a:schemeClr val="accent1"/>
                </a:solidFill>
                <a:latin typeface="Calibri" panose="020F0502020204030204" pitchFamily="34" charset="0"/>
              </a:rPr>
            </a:br>
            <a:r>
              <a:rPr lang="en-GB" sz="1400" b="1" dirty="0">
                <a:solidFill>
                  <a:schemeClr val="accent1"/>
                </a:solidFill>
                <a:latin typeface="Calibri" panose="020F0502020204030204" pitchFamily="34" charset="0"/>
              </a:rPr>
              <a:t>Smart Tour Companion</a:t>
            </a:r>
            <a:endParaRPr lang="en-GB" sz="1400" dirty="0">
              <a:latin typeface="Calibri" panose="020F0502020204030204" pitchFamily="34" charset="0"/>
            </a:endParaRPr>
          </a:p>
        </p:txBody>
      </p:sp>
      <p:sp>
        <p:nvSpPr>
          <p:cNvPr id="11" name="Freihandform 26">
            <a:extLst>
              <a:ext uri="{FF2B5EF4-FFF2-40B4-BE49-F238E27FC236}">
                <a16:creationId xmlns:a16="http://schemas.microsoft.com/office/drawing/2014/main" id="{C9FBD3DF-C048-2F0A-9045-762B5F6E5B2A}"/>
              </a:ext>
            </a:extLst>
          </p:cNvPr>
          <p:cNvSpPr/>
          <p:nvPr/>
        </p:nvSpPr>
        <p:spPr>
          <a:xfrm>
            <a:off x="2845694" y="1731027"/>
            <a:ext cx="1385445" cy="2585864"/>
          </a:xfrm>
          <a:custGeom>
            <a:avLst/>
            <a:gdLst>
              <a:gd name="connsiteX0" fmla="*/ 0 w 819247"/>
              <a:gd name="connsiteY0" fmla="*/ 78131 h 781306"/>
              <a:gd name="connsiteX1" fmla="*/ 78131 w 819247"/>
              <a:gd name="connsiteY1" fmla="*/ 0 h 781306"/>
              <a:gd name="connsiteX2" fmla="*/ 741116 w 819247"/>
              <a:gd name="connsiteY2" fmla="*/ 0 h 781306"/>
              <a:gd name="connsiteX3" fmla="*/ 819247 w 819247"/>
              <a:gd name="connsiteY3" fmla="*/ 78131 h 781306"/>
              <a:gd name="connsiteX4" fmla="*/ 819247 w 819247"/>
              <a:gd name="connsiteY4" fmla="*/ 703175 h 781306"/>
              <a:gd name="connsiteX5" fmla="*/ 741116 w 819247"/>
              <a:gd name="connsiteY5" fmla="*/ 781306 h 781306"/>
              <a:gd name="connsiteX6" fmla="*/ 78131 w 819247"/>
              <a:gd name="connsiteY6" fmla="*/ 781306 h 781306"/>
              <a:gd name="connsiteX7" fmla="*/ 0 w 819247"/>
              <a:gd name="connsiteY7" fmla="*/ 703175 h 781306"/>
              <a:gd name="connsiteX8" fmla="*/ 0 w 819247"/>
              <a:gd name="connsiteY8" fmla="*/ 78131 h 781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9247" h="781306">
                <a:moveTo>
                  <a:pt x="0" y="78131"/>
                </a:moveTo>
                <a:cubicBezTo>
                  <a:pt x="0" y="34980"/>
                  <a:pt x="34980" y="0"/>
                  <a:pt x="78131" y="0"/>
                </a:cubicBezTo>
                <a:lnTo>
                  <a:pt x="741116" y="0"/>
                </a:lnTo>
                <a:cubicBezTo>
                  <a:pt x="784267" y="0"/>
                  <a:pt x="819247" y="34980"/>
                  <a:pt x="819247" y="78131"/>
                </a:cubicBezTo>
                <a:lnTo>
                  <a:pt x="819247" y="703175"/>
                </a:lnTo>
                <a:cubicBezTo>
                  <a:pt x="819247" y="746326"/>
                  <a:pt x="784267" y="781306"/>
                  <a:pt x="741116" y="781306"/>
                </a:cubicBezTo>
                <a:lnTo>
                  <a:pt x="78131" y="781306"/>
                </a:lnTo>
                <a:cubicBezTo>
                  <a:pt x="34980" y="781306"/>
                  <a:pt x="0" y="746326"/>
                  <a:pt x="0" y="703175"/>
                </a:cubicBezTo>
                <a:lnTo>
                  <a:pt x="0" y="78131"/>
                </a:lnTo>
                <a:close/>
              </a:path>
            </a:pathLst>
          </a:custGeom>
          <a:noFill/>
          <a:ln w="38100" cap="sq">
            <a:solidFill>
              <a:srgbClr val="D7DC46"/>
            </a:solidFill>
            <a:prstDash val="sysDot"/>
            <a:beve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48596" tIns="48596" rIns="48596" bIns="48596" numCol="1" spcCol="1270" anchor="ctr" anchorCtr="0">
            <a:noAutofit/>
          </a:bodyPr>
          <a:lstStyle/>
          <a:p>
            <a:pPr defTabSz="366713">
              <a:lnSpc>
                <a:spcPct val="90000"/>
              </a:lnSpc>
              <a:spcAft>
                <a:spcPct val="35000"/>
              </a:spcAft>
            </a:pPr>
            <a:endParaRPr lang="en-GB" sz="800" b="1" noProof="0" dirty="0">
              <a:solidFill>
                <a:schemeClr val="tx1"/>
              </a:solidFill>
              <a:latin typeface="Calibri" panose="020F0502020204030204" pitchFamily="34" charset="0"/>
            </a:endParaRPr>
          </a:p>
        </p:txBody>
      </p:sp>
    </p:spTree>
    <p:extLst>
      <p:ext uri="{BB962C8B-B14F-4D97-AF65-F5344CB8AC3E}">
        <p14:creationId xmlns:p14="http://schemas.microsoft.com/office/powerpoint/2010/main" val="26180280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BDB546-CB59-BDD6-B199-DA1CA5294C3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F182553-0F8B-E2F5-6242-6DEC09AC56CF}"/>
              </a:ext>
            </a:extLst>
          </p:cNvPr>
          <p:cNvSpPr>
            <a:spLocks noGrp="1"/>
          </p:cNvSpPr>
          <p:nvPr>
            <p:ph type="title"/>
          </p:nvPr>
        </p:nvSpPr>
        <p:spPr/>
        <p:txBody>
          <a:bodyPr/>
          <a:lstStyle/>
          <a:p>
            <a:r>
              <a:rPr lang="en-US" dirty="0"/>
              <a:t>Use Case 3 – Smart Tour Companion</a:t>
            </a:r>
            <a:endParaRPr lang="de-AT" dirty="0"/>
          </a:p>
        </p:txBody>
      </p:sp>
      <p:sp>
        <p:nvSpPr>
          <p:cNvPr id="3" name="Inhaltsplatzhalter 2">
            <a:extLst>
              <a:ext uri="{FF2B5EF4-FFF2-40B4-BE49-F238E27FC236}">
                <a16:creationId xmlns:a16="http://schemas.microsoft.com/office/drawing/2014/main" id="{E254FB18-C9C4-13B1-4CAE-F46D9AAC0169}"/>
              </a:ext>
            </a:extLst>
          </p:cNvPr>
          <p:cNvSpPr>
            <a:spLocks noGrp="1"/>
          </p:cNvSpPr>
          <p:nvPr>
            <p:ph idx="1"/>
          </p:nvPr>
        </p:nvSpPr>
        <p:spPr>
          <a:xfrm>
            <a:off x="522288" y="1023938"/>
            <a:ext cx="7044716" cy="3687561"/>
          </a:xfrm>
        </p:spPr>
        <p:txBody>
          <a:bodyPr/>
          <a:lstStyle/>
          <a:p>
            <a:pPr marL="0" indent="0">
              <a:spcAft>
                <a:spcPts val="600"/>
              </a:spcAft>
              <a:buNone/>
              <a:tabLst>
                <a:tab pos="358775" algn="l"/>
              </a:tabLst>
            </a:pPr>
            <a:r>
              <a:rPr lang="en-US" sz="1400" b="1" dirty="0"/>
              <a:t>	Geo-Based Location Detection</a:t>
            </a:r>
            <a:br>
              <a:rPr lang="en-US" sz="1400" b="1" dirty="0"/>
            </a:br>
            <a:r>
              <a:rPr lang="en-US" sz="1400" b="1" dirty="0"/>
              <a:t>	</a:t>
            </a:r>
            <a:r>
              <a:rPr lang="en-US" sz="1400" dirty="0"/>
              <a:t>The system identifies exact container locations using geo-location technology for precise 	data collection.</a:t>
            </a:r>
          </a:p>
          <a:p>
            <a:pPr marL="360362" lvl="2" indent="0">
              <a:spcBef>
                <a:spcPts val="1200"/>
              </a:spcBef>
              <a:spcAft>
                <a:spcPts val="600"/>
              </a:spcAft>
              <a:buNone/>
            </a:pPr>
            <a:r>
              <a:rPr lang="en-US" sz="1400" b="1" dirty="0"/>
              <a:t>	</a:t>
            </a:r>
            <a:endParaRPr lang="de-AT" sz="650" dirty="0"/>
          </a:p>
          <a:p>
            <a:endParaRPr lang="en-US" sz="1400" b="1" dirty="0"/>
          </a:p>
          <a:p>
            <a:endParaRPr lang="en-US" sz="1400" dirty="0"/>
          </a:p>
          <a:p>
            <a:endParaRPr lang="de-AT" dirty="0"/>
          </a:p>
        </p:txBody>
      </p:sp>
      <p:cxnSp>
        <p:nvCxnSpPr>
          <p:cNvPr id="9" name="Gerader Verbinder 8">
            <a:extLst>
              <a:ext uri="{FF2B5EF4-FFF2-40B4-BE49-F238E27FC236}">
                <a16:creationId xmlns:a16="http://schemas.microsoft.com/office/drawing/2014/main" id="{7631F68A-A972-8486-E62B-3293F5DD884E}"/>
              </a:ext>
            </a:extLst>
          </p:cNvPr>
          <p:cNvCxnSpPr>
            <a:cxnSpLocks/>
          </p:cNvCxnSpPr>
          <p:nvPr/>
        </p:nvCxnSpPr>
        <p:spPr>
          <a:xfrm>
            <a:off x="520699" y="1133404"/>
            <a:ext cx="291736" cy="0"/>
          </a:xfrm>
          <a:prstGeom prst="line">
            <a:avLst/>
          </a:prstGeom>
          <a:ln w="19050" cap="flat" cmpd="sng" algn="ctr">
            <a:solidFill>
              <a:schemeClr val="accent6"/>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 name="Gerader Verbinder 21">
            <a:extLst>
              <a:ext uri="{FF2B5EF4-FFF2-40B4-BE49-F238E27FC236}">
                <a16:creationId xmlns:a16="http://schemas.microsoft.com/office/drawing/2014/main" id="{638CE47B-68D3-A144-FEFE-A47C46ECC986}"/>
              </a:ext>
            </a:extLst>
          </p:cNvPr>
          <p:cNvCxnSpPr>
            <a:cxnSpLocks/>
          </p:cNvCxnSpPr>
          <p:nvPr/>
        </p:nvCxnSpPr>
        <p:spPr>
          <a:xfrm flipV="1">
            <a:off x="846422" y="1047241"/>
            <a:ext cx="0" cy="555700"/>
          </a:xfrm>
          <a:prstGeom prst="line">
            <a:avLst/>
          </a:prstGeom>
          <a:ln w="19050" cap="flat" cmpd="sng" algn="ctr">
            <a:solidFill>
              <a:schemeClr val="accent6"/>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8110303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7ACF57-6B44-68FD-4B72-39235042DF8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9E6D6B0-D03E-68DE-5EE8-6C8B43F8ADC8}"/>
              </a:ext>
            </a:extLst>
          </p:cNvPr>
          <p:cNvSpPr>
            <a:spLocks noGrp="1"/>
          </p:cNvSpPr>
          <p:nvPr>
            <p:ph type="title"/>
          </p:nvPr>
        </p:nvSpPr>
        <p:spPr/>
        <p:txBody>
          <a:bodyPr/>
          <a:lstStyle/>
          <a:p>
            <a:r>
              <a:rPr lang="en-US" dirty="0"/>
              <a:t>Use Case 3 – Smart Tour Companion</a:t>
            </a:r>
            <a:endParaRPr lang="de-AT" dirty="0"/>
          </a:p>
        </p:txBody>
      </p:sp>
      <p:sp>
        <p:nvSpPr>
          <p:cNvPr id="3" name="Inhaltsplatzhalter 2">
            <a:extLst>
              <a:ext uri="{FF2B5EF4-FFF2-40B4-BE49-F238E27FC236}">
                <a16:creationId xmlns:a16="http://schemas.microsoft.com/office/drawing/2014/main" id="{066181C7-A5DA-84E1-3F8B-EDB0A2F6A858}"/>
              </a:ext>
            </a:extLst>
          </p:cNvPr>
          <p:cNvSpPr>
            <a:spLocks noGrp="1"/>
          </p:cNvSpPr>
          <p:nvPr>
            <p:ph idx="1"/>
          </p:nvPr>
        </p:nvSpPr>
        <p:spPr>
          <a:xfrm>
            <a:off x="522288" y="1023938"/>
            <a:ext cx="7044716" cy="3687561"/>
          </a:xfrm>
        </p:spPr>
        <p:txBody>
          <a:bodyPr/>
          <a:lstStyle/>
          <a:p>
            <a:pPr marL="0" indent="0">
              <a:spcAft>
                <a:spcPts val="600"/>
              </a:spcAft>
              <a:buNone/>
              <a:tabLst>
                <a:tab pos="358775" algn="l"/>
              </a:tabLst>
            </a:pPr>
            <a:r>
              <a:rPr lang="en-US" sz="1400" b="1" dirty="0"/>
              <a:t>	Geo-Based Location Detection</a:t>
            </a:r>
            <a:br>
              <a:rPr lang="en-US" sz="1400" b="1" dirty="0"/>
            </a:br>
            <a:r>
              <a:rPr lang="en-US" sz="1400" b="1" dirty="0"/>
              <a:t>	</a:t>
            </a:r>
            <a:r>
              <a:rPr lang="en-US" sz="1400" dirty="0"/>
              <a:t>The system identifies exact container locations using geo-location technology for precise 	data collection.</a:t>
            </a:r>
          </a:p>
          <a:p>
            <a:pPr marL="360362" lvl="2" indent="0">
              <a:spcBef>
                <a:spcPts val="1200"/>
              </a:spcBef>
              <a:spcAft>
                <a:spcPts val="600"/>
              </a:spcAft>
              <a:buNone/>
            </a:pPr>
            <a:r>
              <a:rPr lang="en-US" sz="1400" b="1" dirty="0"/>
              <a:t>	Filling Level Assessment</a:t>
            </a:r>
            <a:br>
              <a:rPr lang="en-US" sz="1400" b="1" dirty="0"/>
            </a:br>
            <a:r>
              <a:rPr lang="en-US" sz="1400" b="1" dirty="0"/>
              <a:t>	</a:t>
            </a:r>
            <a:r>
              <a:rPr lang="en-US" sz="1400" dirty="0"/>
              <a:t>Filling levels of glass containers are monitored by the truck drivers.</a:t>
            </a:r>
          </a:p>
          <a:p>
            <a:pPr marL="719137" lvl="4" indent="0">
              <a:spcBef>
                <a:spcPts val="1200"/>
              </a:spcBef>
              <a:spcAft>
                <a:spcPts val="600"/>
              </a:spcAft>
              <a:buNone/>
            </a:pPr>
            <a:r>
              <a:rPr lang="en-US" sz="1400" dirty="0"/>
              <a:t>	</a:t>
            </a:r>
            <a:endParaRPr lang="en-US" sz="1400" b="1" dirty="0"/>
          </a:p>
          <a:p>
            <a:endParaRPr lang="en-US" sz="1400" dirty="0"/>
          </a:p>
          <a:p>
            <a:endParaRPr lang="de-AT" dirty="0"/>
          </a:p>
        </p:txBody>
      </p:sp>
      <p:cxnSp>
        <p:nvCxnSpPr>
          <p:cNvPr id="8" name="Gerader Verbinder 7">
            <a:extLst>
              <a:ext uri="{FF2B5EF4-FFF2-40B4-BE49-F238E27FC236}">
                <a16:creationId xmlns:a16="http://schemas.microsoft.com/office/drawing/2014/main" id="{A7071B0D-6C0B-E0AB-5998-841480BF595E}"/>
              </a:ext>
            </a:extLst>
          </p:cNvPr>
          <p:cNvCxnSpPr>
            <a:cxnSpLocks/>
          </p:cNvCxnSpPr>
          <p:nvPr/>
        </p:nvCxnSpPr>
        <p:spPr>
          <a:xfrm>
            <a:off x="511603" y="1964333"/>
            <a:ext cx="643681" cy="0"/>
          </a:xfrm>
          <a:prstGeom prst="line">
            <a:avLst/>
          </a:prstGeom>
          <a:ln w="19050" cap="flat" cmpd="sng" algn="ctr">
            <a:solidFill>
              <a:schemeClr val="accent6"/>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9" name="Gerader Verbinder 8">
            <a:extLst>
              <a:ext uri="{FF2B5EF4-FFF2-40B4-BE49-F238E27FC236}">
                <a16:creationId xmlns:a16="http://schemas.microsoft.com/office/drawing/2014/main" id="{2539596C-CEA7-CB2C-BC30-8955FE7AAD02}"/>
              </a:ext>
            </a:extLst>
          </p:cNvPr>
          <p:cNvCxnSpPr>
            <a:cxnSpLocks/>
          </p:cNvCxnSpPr>
          <p:nvPr/>
        </p:nvCxnSpPr>
        <p:spPr>
          <a:xfrm>
            <a:off x="520699" y="1133404"/>
            <a:ext cx="291736" cy="0"/>
          </a:xfrm>
          <a:prstGeom prst="line">
            <a:avLst/>
          </a:prstGeom>
          <a:ln w="19050" cap="flat" cmpd="sng" algn="ctr">
            <a:solidFill>
              <a:schemeClr val="accent6"/>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7" name="Gerader Verbinder 16">
            <a:extLst>
              <a:ext uri="{FF2B5EF4-FFF2-40B4-BE49-F238E27FC236}">
                <a16:creationId xmlns:a16="http://schemas.microsoft.com/office/drawing/2014/main" id="{09A073A5-88C5-EAD2-7E31-CD13C6F544CD}"/>
              </a:ext>
            </a:extLst>
          </p:cNvPr>
          <p:cNvCxnSpPr>
            <a:cxnSpLocks/>
          </p:cNvCxnSpPr>
          <p:nvPr/>
        </p:nvCxnSpPr>
        <p:spPr>
          <a:xfrm flipV="1">
            <a:off x="1165110" y="1882558"/>
            <a:ext cx="0" cy="329700"/>
          </a:xfrm>
          <a:prstGeom prst="line">
            <a:avLst/>
          </a:prstGeom>
          <a:ln w="19050" cap="flat" cmpd="sng" algn="ctr">
            <a:solidFill>
              <a:schemeClr val="accent6"/>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 name="Gerader Verbinder 21">
            <a:extLst>
              <a:ext uri="{FF2B5EF4-FFF2-40B4-BE49-F238E27FC236}">
                <a16:creationId xmlns:a16="http://schemas.microsoft.com/office/drawing/2014/main" id="{1C7D2685-2C55-8350-5B0A-C2C839EBC3B7}"/>
              </a:ext>
            </a:extLst>
          </p:cNvPr>
          <p:cNvCxnSpPr>
            <a:cxnSpLocks/>
          </p:cNvCxnSpPr>
          <p:nvPr/>
        </p:nvCxnSpPr>
        <p:spPr>
          <a:xfrm flipV="1">
            <a:off x="846422" y="1047241"/>
            <a:ext cx="0" cy="555700"/>
          </a:xfrm>
          <a:prstGeom prst="line">
            <a:avLst/>
          </a:prstGeom>
          <a:ln w="19050" cap="flat" cmpd="sng" algn="ctr">
            <a:solidFill>
              <a:schemeClr val="accent6"/>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25493252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FC98D3-2A66-A60D-1FBB-FE7FA5AAB3DA}"/>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4DAB4610-C589-D210-3B71-D97EB534B4D7}"/>
              </a:ext>
            </a:extLst>
          </p:cNvPr>
          <p:cNvSpPr>
            <a:spLocks noGrp="1"/>
          </p:cNvSpPr>
          <p:nvPr>
            <p:ph type="title"/>
          </p:nvPr>
        </p:nvSpPr>
        <p:spPr/>
        <p:txBody>
          <a:bodyPr/>
          <a:lstStyle/>
          <a:p>
            <a:r>
              <a:rPr lang="en-US" dirty="0"/>
              <a:t>Use Case 3 – Smart Tour Companion</a:t>
            </a:r>
            <a:endParaRPr lang="de-AT" dirty="0"/>
          </a:p>
        </p:txBody>
      </p:sp>
      <p:sp>
        <p:nvSpPr>
          <p:cNvPr id="3" name="Inhaltsplatzhalter 2">
            <a:extLst>
              <a:ext uri="{FF2B5EF4-FFF2-40B4-BE49-F238E27FC236}">
                <a16:creationId xmlns:a16="http://schemas.microsoft.com/office/drawing/2014/main" id="{B3A1ECCF-AB09-77FF-B4D3-35D8A69C30C1}"/>
              </a:ext>
            </a:extLst>
          </p:cNvPr>
          <p:cNvSpPr>
            <a:spLocks noGrp="1"/>
          </p:cNvSpPr>
          <p:nvPr>
            <p:ph idx="1"/>
          </p:nvPr>
        </p:nvSpPr>
        <p:spPr>
          <a:xfrm>
            <a:off x="522288" y="1023938"/>
            <a:ext cx="7044716" cy="3687561"/>
          </a:xfrm>
        </p:spPr>
        <p:txBody>
          <a:bodyPr/>
          <a:lstStyle/>
          <a:p>
            <a:pPr marL="0" indent="0">
              <a:spcAft>
                <a:spcPts val="600"/>
              </a:spcAft>
              <a:buNone/>
              <a:tabLst>
                <a:tab pos="358775" algn="l"/>
              </a:tabLst>
            </a:pPr>
            <a:r>
              <a:rPr lang="en-US" sz="1400" b="1" dirty="0"/>
              <a:t>	Geo-Based Location Detection</a:t>
            </a:r>
            <a:br>
              <a:rPr lang="en-US" sz="1400" b="1" dirty="0"/>
            </a:br>
            <a:r>
              <a:rPr lang="en-US" sz="1400" b="1" dirty="0"/>
              <a:t>	</a:t>
            </a:r>
            <a:r>
              <a:rPr lang="en-US" sz="1400" dirty="0"/>
              <a:t>The system identifies exact container locations using geo-location technology for precise 	data collection.</a:t>
            </a:r>
          </a:p>
          <a:p>
            <a:pPr marL="360362" lvl="2" indent="0">
              <a:spcBef>
                <a:spcPts val="1200"/>
              </a:spcBef>
              <a:spcAft>
                <a:spcPts val="600"/>
              </a:spcAft>
              <a:buNone/>
            </a:pPr>
            <a:r>
              <a:rPr lang="en-US" sz="1400" b="1" dirty="0"/>
              <a:t>	Filling Level Assessment</a:t>
            </a:r>
            <a:br>
              <a:rPr lang="en-US" sz="1400" b="1" dirty="0"/>
            </a:br>
            <a:r>
              <a:rPr lang="en-US" sz="1400" b="1" dirty="0"/>
              <a:t>	</a:t>
            </a:r>
            <a:r>
              <a:rPr lang="en-US" sz="1400" dirty="0"/>
              <a:t>Filling levels of glass containers are monitored by the truck drivers.</a:t>
            </a:r>
          </a:p>
          <a:p>
            <a:pPr marL="719137" lvl="4" indent="0">
              <a:spcBef>
                <a:spcPts val="1200"/>
              </a:spcBef>
              <a:spcAft>
                <a:spcPts val="600"/>
              </a:spcAft>
              <a:buNone/>
            </a:pPr>
            <a:r>
              <a:rPr lang="en-US" sz="1400" dirty="0"/>
              <a:t>	</a:t>
            </a:r>
            <a:r>
              <a:rPr lang="en-US" sz="1400" b="1" dirty="0"/>
              <a:t>Automated Share Calculation</a:t>
            </a:r>
            <a:br>
              <a:rPr lang="en-US" sz="1400" b="1" dirty="0"/>
            </a:br>
            <a:r>
              <a:rPr lang="en-US" sz="1400" b="1" dirty="0"/>
              <a:t>	</a:t>
            </a:r>
            <a:r>
              <a:rPr lang="en-US" sz="1400" dirty="0"/>
              <a:t>After weighing, the system calculates distribution shares among 	communities automatically for transparent stakeholder reporting:</a:t>
            </a:r>
            <a:br>
              <a:rPr lang="en-US" sz="1400" dirty="0"/>
            </a:br>
            <a:r>
              <a:rPr lang="de-AT" sz="1400" dirty="0"/>
              <a:t>	- Service für </a:t>
            </a:r>
            <a:r>
              <a:rPr lang="de-AT" sz="1400" dirty="0" err="1"/>
              <a:t>municipalities</a:t>
            </a:r>
            <a:r>
              <a:rPr lang="de-AT" sz="1400" dirty="0"/>
              <a:t> and </a:t>
            </a:r>
            <a:r>
              <a:rPr lang="de-AT" sz="1400" dirty="0" err="1"/>
              <a:t>regions</a:t>
            </a:r>
            <a:r>
              <a:rPr lang="de-AT" sz="1400" dirty="0"/>
              <a:t> </a:t>
            </a:r>
            <a:br>
              <a:rPr lang="de-AT" sz="1400" dirty="0"/>
            </a:br>
            <a:r>
              <a:rPr lang="de-AT" sz="1400" dirty="0"/>
              <a:t>	- Monitoring </a:t>
            </a:r>
            <a:r>
              <a:rPr lang="de-AT" sz="1400" dirty="0" err="1"/>
              <a:t>of</a:t>
            </a:r>
            <a:r>
              <a:rPr lang="de-AT" sz="1400" dirty="0"/>
              <a:t> </a:t>
            </a:r>
            <a:r>
              <a:rPr lang="de-AT" sz="1400" dirty="0" err="1"/>
              <a:t>the</a:t>
            </a:r>
            <a:r>
              <a:rPr lang="de-AT" sz="1400" dirty="0"/>
              <a:t> </a:t>
            </a:r>
            <a:r>
              <a:rPr lang="de-AT" sz="1400" dirty="0" err="1"/>
              <a:t>glass</a:t>
            </a:r>
            <a:r>
              <a:rPr lang="de-AT" sz="1400" dirty="0"/>
              <a:t> </a:t>
            </a:r>
            <a:r>
              <a:rPr lang="de-AT" sz="1400" dirty="0" err="1"/>
              <a:t>collection</a:t>
            </a:r>
            <a:r>
              <a:rPr lang="de-AT" sz="1400" dirty="0"/>
              <a:t> and </a:t>
            </a:r>
            <a:r>
              <a:rPr lang="de-AT" sz="1400" dirty="0" err="1"/>
              <a:t>optimizing</a:t>
            </a:r>
            <a:r>
              <a:rPr lang="de-AT" sz="1400" dirty="0"/>
              <a:t> </a:t>
            </a:r>
            <a:r>
              <a:rPr lang="de-AT" sz="1400" dirty="0" err="1"/>
              <a:t>collection</a:t>
            </a:r>
            <a:r>
              <a:rPr lang="de-AT" sz="1400" dirty="0"/>
              <a:t> </a:t>
            </a:r>
            <a:r>
              <a:rPr lang="de-AT" sz="1400" dirty="0" err="1"/>
              <a:t>efficiency</a:t>
            </a:r>
            <a:r>
              <a:rPr lang="de-AT" sz="1400" dirty="0"/>
              <a:t> </a:t>
            </a:r>
            <a:br>
              <a:rPr lang="de-AT" sz="1400" dirty="0"/>
            </a:br>
            <a:r>
              <a:rPr lang="de-AT" sz="1400" dirty="0"/>
              <a:t>	- </a:t>
            </a:r>
            <a:r>
              <a:rPr lang="de-AT" sz="1400" dirty="0" err="1"/>
              <a:t>Optimization</a:t>
            </a:r>
            <a:r>
              <a:rPr lang="de-AT" sz="1400" dirty="0"/>
              <a:t> </a:t>
            </a:r>
            <a:r>
              <a:rPr lang="de-AT" sz="1400" dirty="0" err="1"/>
              <a:t>of</a:t>
            </a:r>
            <a:r>
              <a:rPr lang="de-AT" sz="1400" dirty="0"/>
              <a:t> </a:t>
            </a:r>
            <a:r>
              <a:rPr lang="de-AT" sz="1400" dirty="0" err="1"/>
              <a:t>the</a:t>
            </a:r>
            <a:r>
              <a:rPr lang="de-AT" sz="1400" dirty="0"/>
              <a:t> </a:t>
            </a:r>
            <a:r>
              <a:rPr lang="de-AT" sz="1400" dirty="0" err="1"/>
              <a:t>container</a:t>
            </a:r>
            <a:r>
              <a:rPr lang="de-AT" sz="1400" dirty="0"/>
              <a:t> </a:t>
            </a:r>
            <a:r>
              <a:rPr lang="de-AT" sz="1400" dirty="0" err="1"/>
              <a:t>volume</a:t>
            </a:r>
            <a:r>
              <a:rPr lang="de-AT" sz="1400" dirty="0"/>
              <a:t> </a:t>
            </a:r>
            <a:r>
              <a:rPr lang="de-AT" sz="1400" dirty="0" err="1"/>
              <a:t>provided</a:t>
            </a:r>
            <a:r>
              <a:rPr lang="de-AT" sz="1400" dirty="0"/>
              <a:t> and </a:t>
            </a:r>
            <a:r>
              <a:rPr lang="de-AT" sz="1400" dirty="0" err="1"/>
              <a:t>the</a:t>
            </a:r>
            <a:r>
              <a:rPr lang="de-AT" sz="1400" dirty="0"/>
              <a:t> </a:t>
            </a:r>
            <a:r>
              <a:rPr lang="de-AT" sz="1400" dirty="0" err="1"/>
              <a:t>emptying</a:t>
            </a:r>
            <a:r>
              <a:rPr lang="de-AT" sz="1400" dirty="0"/>
              <a:t> </a:t>
            </a:r>
            <a:r>
              <a:rPr lang="de-AT" sz="1400" dirty="0" err="1"/>
              <a:t>frequency</a:t>
            </a:r>
            <a:r>
              <a:rPr lang="de-AT" sz="1400" dirty="0"/>
              <a:t> </a:t>
            </a:r>
          </a:p>
          <a:p>
            <a:pPr lvl="4"/>
            <a:endParaRPr lang="de-AT" sz="650" dirty="0"/>
          </a:p>
          <a:p>
            <a:endParaRPr lang="en-US" sz="1400" b="1" dirty="0"/>
          </a:p>
          <a:p>
            <a:endParaRPr lang="en-US" sz="1400" dirty="0"/>
          </a:p>
          <a:p>
            <a:endParaRPr lang="de-AT" dirty="0"/>
          </a:p>
        </p:txBody>
      </p:sp>
      <p:cxnSp>
        <p:nvCxnSpPr>
          <p:cNvPr id="7" name="Gerader Verbinder 6">
            <a:extLst>
              <a:ext uri="{FF2B5EF4-FFF2-40B4-BE49-F238E27FC236}">
                <a16:creationId xmlns:a16="http://schemas.microsoft.com/office/drawing/2014/main" id="{D7B21564-79DA-ABF9-C74D-EBC3802FBBB4}"/>
              </a:ext>
            </a:extLst>
          </p:cNvPr>
          <p:cNvCxnSpPr>
            <a:cxnSpLocks/>
          </p:cNvCxnSpPr>
          <p:nvPr/>
        </p:nvCxnSpPr>
        <p:spPr>
          <a:xfrm>
            <a:off x="520699" y="2575248"/>
            <a:ext cx="1317969" cy="0"/>
          </a:xfrm>
          <a:prstGeom prst="line">
            <a:avLst/>
          </a:prstGeom>
          <a:ln w="19050" cap="flat" cmpd="sng" algn="ctr">
            <a:solidFill>
              <a:schemeClr val="accent6"/>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8" name="Gerader Verbinder 7">
            <a:extLst>
              <a:ext uri="{FF2B5EF4-FFF2-40B4-BE49-F238E27FC236}">
                <a16:creationId xmlns:a16="http://schemas.microsoft.com/office/drawing/2014/main" id="{412676DF-0B47-2C65-39B8-910EE75BE6E6}"/>
              </a:ext>
            </a:extLst>
          </p:cNvPr>
          <p:cNvCxnSpPr>
            <a:cxnSpLocks/>
          </p:cNvCxnSpPr>
          <p:nvPr/>
        </p:nvCxnSpPr>
        <p:spPr>
          <a:xfrm>
            <a:off x="511603" y="1964333"/>
            <a:ext cx="643681" cy="0"/>
          </a:xfrm>
          <a:prstGeom prst="line">
            <a:avLst/>
          </a:prstGeom>
          <a:ln w="19050" cap="flat" cmpd="sng" algn="ctr">
            <a:solidFill>
              <a:schemeClr val="accent6"/>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9" name="Gerader Verbinder 8">
            <a:extLst>
              <a:ext uri="{FF2B5EF4-FFF2-40B4-BE49-F238E27FC236}">
                <a16:creationId xmlns:a16="http://schemas.microsoft.com/office/drawing/2014/main" id="{150BC83B-8AF7-8088-5926-C97AADC87F1D}"/>
              </a:ext>
            </a:extLst>
          </p:cNvPr>
          <p:cNvCxnSpPr>
            <a:cxnSpLocks/>
          </p:cNvCxnSpPr>
          <p:nvPr/>
        </p:nvCxnSpPr>
        <p:spPr>
          <a:xfrm>
            <a:off x="520699" y="1133404"/>
            <a:ext cx="291736" cy="0"/>
          </a:xfrm>
          <a:prstGeom prst="line">
            <a:avLst/>
          </a:prstGeom>
          <a:ln w="19050" cap="flat" cmpd="sng" algn="ctr">
            <a:solidFill>
              <a:schemeClr val="accent6"/>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7" name="Gerader Verbinder 16">
            <a:extLst>
              <a:ext uri="{FF2B5EF4-FFF2-40B4-BE49-F238E27FC236}">
                <a16:creationId xmlns:a16="http://schemas.microsoft.com/office/drawing/2014/main" id="{DB4E8254-642D-8496-9043-8D334F69F0B9}"/>
              </a:ext>
            </a:extLst>
          </p:cNvPr>
          <p:cNvCxnSpPr>
            <a:cxnSpLocks/>
          </p:cNvCxnSpPr>
          <p:nvPr/>
        </p:nvCxnSpPr>
        <p:spPr>
          <a:xfrm flipV="1">
            <a:off x="1165110" y="1882558"/>
            <a:ext cx="0" cy="329700"/>
          </a:xfrm>
          <a:prstGeom prst="line">
            <a:avLst/>
          </a:prstGeom>
          <a:ln w="19050" cap="flat" cmpd="sng" algn="ctr">
            <a:solidFill>
              <a:schemeClr val="accent6"/>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0" name="Gerader Verbinder 19">
            <a:extLst>
              <a:ext uri="{FF2B5EF4-FFF2-40B4-BE49-F238E27FC236}">
                <a16:creationId xmlns:a16="http://schemas.microsoft.com/office/drawing/2014/main" id="{5ACD31EE-E586-3473-A1BE-DEB6C8349D05}"/>
              </a:ext>
            </a:extLst>
          </p:cNvPr>
          <p:cNvCxnSpPr>
            <a:cxnSpLocks/>
          </p:cNvCxnSpPr>
          <p:nvPr/>
        </p:nvCxnSpPr>
        <p:spPr>
          <a:xfrm flipV="1">
            <a:off x="1858368" y="2499503"/>
            <a:ext cx="0" cy="1172974"/>
          </a:xfrm>
          <a:prstGeom prst="line">
            <a:avLst/>
          </a:prstGeom>
          <a:ln w="19050" cap="flat" cmpd="sng" algn="ctr">
            <a:solidFill>
              <a:schemeClr val="accent6"/>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 name="Gerader Verbinder 21">
            <a:extLst>
              <a:ext uri="{FF2B5EF4-FFF2-40B4-BE49-F238E27FC236}">
                <a16:creationId xmlns:a16="http://schemas.microsoft.com/office/drawing/2014/main" id="{F34EE930-3727-FCC6-C84A-59F9495F639A}"/>
              </a:ext>
            </a:extLst>
          </p:cNvPr>
          <p:cNvCxnSpPr>
            <a:cxnSpLocks/>
          </p:cNvCxnSpPr>
          <p:nvPr/>
        </p:nvCxnSpPr>
        <p:spPr>
          <a:xfrm flipV="1">
            <a:off x="846422" y="1047241"/>
            <a:ext cx="0" cy="555700"/>
          </a:xfrm>
          <a:prstGeom prst="line">
            <a:avLst/>
          </a:prstGeom>
          <a:ln w="19050" cap="flat" cmpd="sng" algn="ctr">
            <a:solidFill>
              <a:schemeClr val="accent6"/>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8398764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125CB9-1BAC-47A1-74C9-ECA7B997CB1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4D627B1-AAD8-9CBD-9DEB-7C7424C274C7}"/>
              </a:ext>
            </a:extLst>
          </p:cNvPr>
          <p:cNvSpPr>
            <a:spLocks noGrp="1"/>
          </p:cNvSpPr>
          <p:nvPr>
            <p:ph type="title"/>
          </p:nvPr>
        </p:nvSpPr>
        <p:spPr/>
        <p:txBody>
          <a:bodyPr/>
          <a:lstStyle/>
          <a:p>
            <a:r>
              <a:rPr lang="en-US" dirty="0"/>
              <a:t>Use Case 3 – Smart Tour Companion</a:t>
            </a:r>
            <a:endParaRPr lang="de-AT" dirty="0"/>
          </a:p>
        </p:txBody>
      </p:sp>
      <p:sp>
        <p:nvSpPr>
          <p:cNvPr id="3" name="Inhaltsplatzhalter 2">
            <a:extLst>
              <a:ext uri="{FF2B5EF4-FFF2-40B4-BE49-F238E27FC236}">
                <a16:creationId xmlns:a16="http://schemas.microsoft.com/office/drawing/2014/main" id="{1F65CC41-3519-3E0A-1153-EECDDB4CF62C}"/>
              </a:ext>
            </a:extLst>
          </p:cNvPr>
          <p:cNvSpPr>
            <a:spLocks noGrp="1"/>
          </p:cNvSpPr>
          <p:nvPr>
            <p:ph idx="1"/>
          </p:nvPr>
        </p:nvSpPr>
        <p:spPr>
          <a:xfrm>
            <a:off x="522288" y="1023938"/>
            <a:ext cx="7044716" cy="3687561"/>
          </a:xfrm>
        </p:spPr>
        <p:txBody>
          <a:bodyPr/>
          <a:lstStyle/>
          <a:p>
            <a:pPr marL="0" indent="0">
              <a:spcAft>
                <a:spcPts val="600"/>
              </a:spcAft>
              <a:buNone/>
              <a:tabLst>
                <a:tab pos="358775" algn="l"/>
              </a:tabLst>
            </a:pPr>
            <a:r>
              <a:rPr lang="en-US" sz="1400" b="1" dirty="0"/>
              <a:t>	Geo-Based Location Detection</a:t>
            </a:r>
            <a:br>
              <a:rPr lang="en-US" sz="1400" b="1" dirty="0"/>
            </a:br>
            <a:r>
              <a:rPr lang="en-US" sz="1400" b="1" dirty="0"/>
              <a:t>	</a:t>
            </a:r>
            <a:r>
              <a:rPr lang="en-US" sz="1400" dirty="0"/>
              <a:t>The system identifies exact container locations using geo-location technology for precise 	data collection.</a:t>
            </a:r>
          </a:p>
          <a:p>
            <a:pPr marL="360362" lvl="2" indent="0">
              <a:spcBef>
                <a:spcPts val="1200"/>
              </a:spcBef>
              <a:spcAft>
                <a:spcPts val="600"/>
              </a:spcAft>
              <a:buNone/>
            </a:pPr>
            <a:r>
              <a:rPr lang="en-US" sz="1400" b="1" dirty="0"/>
              <a:t>	Filling Level Assessment</a:t>
            </a:r>
            <a:br>
              <a:rPr lang="en-US" sz="1400" b="1" dirty="0"/>
            </a:br>
            <a:r>
              <a:rPr lang="en-US" sz="1400" b="1" dirty="0"/>
              <a:t>	</a:t>
            </a:r>
            <a:r>
              <a:rPr lang="en-US" sz="1400" dirty="0"/>
              <a:t>Filling levels of glass containers are monitored by the truck drivers.</a:t>
            </a:r>
          </a:p>
          <a:p>
            <a:pPr marL="719137" lvl="4" indent="0">
              <a:spcBef>
                <a:spcPts val="1200"/>
              </a:spcBef>
              <a:spcAft>
                <a:spcPts val="600"/>
              </a:spcAft>
              <a:buNone/>
            </a:pPr>
            <a:r>
              <a:rPr lang="en-US" sz="1400" dirty="0"/>
              <a:t>	</a:t>
            </a:r>
            <a:r>
              <a:rPr lang="en-US" sz="1400" b="1" dirty="0"/>
              <a:t>Automated Share Calculation</a:t>
            </a:r>
            <a:br>
              <a:rPr lang="en-US" sz="1400" b="1" dirty="0"/>
            </a:br>
            <a:r>
              <a:rPr lang="en-US" sz="1400" b="1" dirty="0"/>
              <a:t>	</a:t>
            </a:r>
            <a:r>
              <a:rPr lang="en-US" sz="1400" dirty="0"/>
              <a:t>After weighing, the system calculates distribution shares among 	communities automatically for transparent stakeholder reporting:</a:t>
            </a:r>
            <a:br>
              <a:rPr lang="en-US" sz="1400" dirty="0"/>
            </a:br>
            <a:r>
              <a:rPr lang="de-AT" sz="1400" dirty="0"/>
              <a:t>	- Service für </a:t>
            </a:r>
            <a:r>
              <a:rPr lang="de-AT" sz="1400" dirty="0" err="1"/>
              <a:t>municipalities</a:t>
            </a:r>
            <a:r>
              <a:rPr lang="de-AT" sz="1400" dirty="0"/>
              <a:t> and </a:t>
            </a:r>
            <a:r>
              <a:rPr lang="de-AT" sz="1400" dirty="0" err="1"/>
              <a:t>regions</a:t>
            </a:r>
            <a:r>
              <a:rPr lang="de-AT" sz="1400" dirty="0"/>
              <a:t> </a:t>
            </a:r>
            <a:br>
              <a:rPr lang="de-AT" sz="1400" dirty="0"/>
            </a:br>
            <a:r>
              <a:rPr lang="de-AT" sz="1400" dirty="0"/>
              <a:t>	- Monitoring </a:t>
            </a:r>
            <a:r>
              <a:rPr lang="de-AT" sz="1400" dirty="0" err="1"/>
              <a:t>of</a:t>
            </a:r>
            <a:r>
              <a:rPr lang="de-AT" sz="1400" dirty="0"/>
              <a:t> </a:t>
            </a:r>
            <a:r>
              <a:rPr lang="de-AT" sz="1400" dirty="0" err="1"/>
              <a:t>the</a:t>
            </a:r>
            <a:r>
              <a:rPr lang="de-AT" sz="1400" dirty="0"/>
              <a:t> </a:t>
            </a:r>
            <a:r>
              <a:rPr lang="de-AT" sz="1400" dirty="0" err="1"/>
              <a:t>glass</a:t>
            </a:r>
            <a:r>
              <a:rPr lang="de-AT" sz="1400" dirty="0"/>
              <a:t> </a:t>
            </a:r>
            <a:r>
              <a:rPr lang="de-AT" sz="1400" dirty="0" err="1"/>
              <a:t>collection</a:t>
            </a:r>
            <a:r>
              <a:rPr lang="de-AT" sz="1400" dirty="0"/>
              <a:t> and </a:t>
            </a:r>
            <a:r>
              <a:rPr lang="de-AT" sz="1400" dirty="0" err="1"/>
              <a:t>optimizing</a:t>
            </a:r>
            <a:r>
              <a:rPr lang="de-AT" sz="1400" dirty="0"/>
              <a:t> </a:t>
            </a:r>
            <a:r>
              <a:rPr lang="de-AT" sz="1400" dirty="0" err="1"/>
              <a:t>collection</a:t>
            </a:r>
            <a:r>
              <a:rPr lang="de-AT" sz="1400" dirty="0"/>
              <a:t> </a:t>
            </a:r>
            <a:r>
              <a:rPr lang="de-AT" sz="1400" dirty="0" err="1"/>
              <a:t>efficiency</a:t>
            </a:r>
            <a:r>
              <a:rPr lang="de-AT" sz="1400" dirty="0"/>
              <a:t> </a:t>
            </a:r>
            <a:br>
              <a:rPr lang="de-AT" sz="1400" dirty="0"/>
            </a:br>
            <a:r>
              <a:rPr lang="de-AT" sz="1400" dirty="0"/>
              <a:t>	- </a:t>
            </a:r>
            <a:r>
              <a:rPr lang="de-AT" sz="1400" dirty="0" err="1"/>
              <a:t>Optimization</a:t>
            </a:r>
            <a:r>
              <a:rPr lang="de-AT" sz="1400" dirty="0"/>
              <a:t> </a:t>
            </a:r>
            <a:r>
              <a:rPr lang="de-AT" sz="1400" dirty="0" err="1"/>
              <a:t>of</a:t>
            </a:r>
            <a:r>
              <a:rPr lang="de-AT" sz="1400" dirty="0"/>
              <a:t> </a:t>
            </a:r>
            <a:r>
              <a:rPr lang="de-AT" sz="1400" dirty="0" err="1"/>
              <a:t>the</a:t>
            </a:r>
            <a:r>
              <a:rPr lang="de-AT" sz="1400" dirty="0"/>
              <a:t> </a:t>
            </a:r>
            <a:r>
              <a:rPr lang="de-AT" sz="1400" dirty="0" err="1"/>
              <a:t>container</a:t>
            </a:r>
            <a:r>
              <a:rPr lang="de-AT" sz="1400" dirty="0"/>
              <a:t> </a:t>
            </a:r>
            <a:r>
              <a:rPr lang="de-AT" sz="1400" dirty="0" err="1"/>
              <a:t>volume</a:t>
            </a:r>
            <a:r>
              <a:rPr lang="de-AT" sz="1400" dirty="0"/>
              <a:t> </a:t>
            </a:r>
            <a:r>
              <a:rPr lang="de-AT" sz="1400" dirty="0" err="1"/>
              <a:t>provided</a:t>
            </a:r>
            <a:r>
              <a:rPr lang="de-AT" sz="1400" dirty="0"/>
              <a:t> and </a:t>
            </a:r>
            <a:r>
              <a:rPr lang="de-AT" sz="1400" dirty="0" err="1"/>
              <a:t>the</a:t>
            </a:r>
            <a:r>
              <a:rPr lang="de-AT" sz="1400" dirty="0"/>
              <a:t> </a:t>
            </a:r>
            <a:r>
              <a:rPr lang="de-AT" sz="1400" dirty="0" err="1"/>
              <a:t>emptying</a:t>
            </a:r>
            <a:r>
              <a:rPr lang="de-AT" sz="1400" dirty="0"/>
              <a:t> </a:t>
            </a:r>
            <a:r>
              <a:rPr lang="de-AT" sz="1400" dirty="0" err="1"/>
              <a:t>frequency</a:t>
            </a:r>
            <a:r>
              <a:rPr lang="de-AT" sz="1400" dirty="0"/>
              <a:t> </a:t>
            </a:r>
          </a:p>
          <a:p>
            <a:pPr marL="1700213" lvl="5" indent="0">
              <a:spcBef>
                <a:spcPts val="1200"/>
              </a:spcBef>
              <a:buNone/>
            </a:pPr>
            <a:r>
              <a:rPr lang="en-US" sz="1400" b="1" dirty="0">
                <a:solidFill>
                  <a:srgbClr val="737B80"/>
                </a:solidFill>
              </a:rPr>
              <a:t>Enhanced Route Planning </a:t>
            </a:r>
            <a:r>
              <a:rPr lang="de-AT" sz="1400" b="1" dirty="0" err="1">
                <a:solidFill>
                  <a:srgbClr val="737B80"/>
                </a:solidFill>
              </a:rPr>
              <a:t>including</a:t>
            </a:r>
            <a:r>
              <a:rPr lang="de-AT" sz="1400" b="1" dirty="0">
                <a:solidFill>
                  <a:srgbClr val="737B80"/>
                </a:solidFill>
              </a:rPr>
              <a:t> Container </a:t>
            </a:r>
            <a:r>
              <a:rPr lang="de-AT" sz="1400" b="1" dirty="0" err="1">
                <a:solidFill>
                  <a:srgbClr val="737B80"/>
                </a:solidFill>
              </a:rPr>
              <a:t>Filling</a:t>
            </a:r>
            <a:r>
              <a:rPr lang="de-AT" sz="1400" b="1" dirty="0">
                <a:solidFill>
                  <a:srgbClr val="737B80"/>
                </a:solidFill>
              </a:rPr>
              <a:t> Level </a:t>
            </a:r>
            <a:br>
              <a:rPr lang="en-US" sz="1400" b="1" dirty="0">
                <a:solidFill>
                  <a:srgbClr val="737B80"/>
                </a:solidFill>
              </a:rPr>
            </a:br>
            <a:r>
              <a:rPr lang="en-US" sz="1400" dirty="0">
                <a:solidFill>
                  <a:srgbClr val="737B80"/>
                </a:solidFill>
              </a:rPr>
              <a:t>Smart features improve route planning to reduce costs and increase operational efficiency during tours </a:t>
            </a:r>
            <a:r>
              <a:rPr lang="de-AT" sz="1400" dirty="0" err="1">
                <a:solidFill>
                  <a:srgbClr val="737B80"/>
                </a:solidFill>
              </a:rPr>
              <a:t>including</a:t>
            </a:r>
            <a:r>
              <a:rPr lang="de-AT" sz="1400" dirty="0">
                <a:solidFill>
                  <a:srgbClr val="737B80"/>
                </a:solidFill>
              </a:rPr>
              <a:t> </a:t>
            </a:r>
            <a:r>
              <a:rPr lang="de-AT" sz="1400" dirty="0" err="1">
                <a:solidFill>
                  <a:srgbClr val="737B80"/>
                </a:solidFill>
              </a:rPr>
              <a:t>container</a:t>
            </a:r>
            <a:r>
              <a:rPr lang="de-AT" sz="1400" dirty="0">
                <a:solidFill>
                  <a:srgbClr val="737B80"/>
                </a:solidFill>
              </a:rPr>
              <a:t> </a:t>
            </a:r>
            <a:r>
              <a:rPr lang="de-AT" sz="1400" dirty="0" err="1">
                <a:solidFill>
                  <a:srgbClr val="737B80"/>
                </a:solidFill>
              </a:rPr>
              <a:t>filling</a:t>
            </a:r>
            <a:r>
              <a:rPr lang="de-AT" sz="1400" dirty="0">
                <a:solidFill>
                  <a:srgbClr val="737B80"/>
                </a:solidFill>
              </a:rPr>
              <a:t> </a:t>
            </a:r>
            <a:r>
              <a:rPr lang="de-AT" sz="1400" dirty="0" err="1">
                <a:solidFill>
                  <a:srgbClr val="737B80"/>
                </a:solidFill>
              </a:rPr>
              <a:t>level</a:t>
            </a:r>
            <a:r>
              <a:rPr lang="de-AT" sz="1400" dirty="0">
                <a:solidFill>
                  <a:srgbClr val="737B80"/>
                </a:solidFill>
              </a:rPr>
              <a:t> </a:t>
            </a:r>
            <a:endParaRPr lang="en-US" sz="1400" dirty="0">
              <a:solidFill>
                <a:srgbClr val="737B80"/>
              </a:solidFill>
            </a:endParaRPr>
          </a:p>
          <a:p>
            <a:pPr lvl="4"/>
            <a:endParaRPr lang="de-AT" sz="650" dirty="0"/>
          </a:p>
          <a:p>
            <a:endParaRPr lang="en-US" sz="1400" b="1" dirty="0"/>
          </a:p>
          <a:p>
            <a:endParaRPr lang="en-US" sz="1400" dirty="0"/>
          </a:p>
          <a:p>
            <a:endParaRPr lang="de-AT" dirty="0"/>
          </a:p>
        </p:txBody>
      </p:sp>
      <p:cxnSp>
        <p:nvCxnSpPr>
          <p:cNvPr id="5" name="Gerader Verbinder 4">
            <a:extLst>
              <a:ext uri="{FF2B5EF4-FFF2-40B4-BE49-F238E27FC236}">
                <a16:creationId xmlns:a16="http://schemas.microsoft.com/office/drawing/2014/main" id="{62896295-C940-168F-288B-6D0ACF726A85}"/>
              </a:ext>
            </a:extLst>
          </p:cNvPr>
          <p:cNvCxnSpPr>
            <a:cxnSpLocks/>
          </p:cNvCxnSpPr>
          <p:nvPr/>
        </p:nvCxnSpPr>
        <p:spPr>
          <a:xfrm>
            <a:off x="520699" y="4006049"/>
            <a:ext cx="1666625" cy="0"/>
          </a:xfrm>
          <a:prstGeom prst="line">
            <a:avLst/>
          </a:prstGeom>
          <a:ln w="19050" cap="flat" cmpd="sng" algn="ctr">
            <a:solidFill>
              <a:schemeClr val="accent6"/>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7" name="Gerader Verbinder 6">
            <a:extLst>
              <a:ext uri="{FF2B5EF4-FFF2-40B4-BE49-F238E27FC236}">
                <a16:creationId xmlns:a16="http://schemas.microsoft.com/office/drawing/2014/main" id="{2CC69241-5632-BC04-9873-5A70763F990C}"/>
              </a:ext>
            </a:extLst>
          </p:cNvPr>
          <p:cNvCxnSpPr>
            <a:cxnSpLocks/>
          </p:cNvCxnSpPr>
          <p:nvPr/>
        </p:nvCxnSpPr>
        <p:spPr>
          <a:xfrm>
            <a:off x="520699" y="2575248"/>
            <a:ext cx="1317969" cy="0"/>
          </a:xfrm>
          <a:prstGeom prst="line">
            <a:avLst/>
          </a:prstGeom>
          <a:ln w="19050" cap="flat" cmpd="sng" algn="ctr">
            <a:solidFill>
              <a:schemeClr val="accent6"/>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8" name="Gerader Verbinder 7">
            <a:extLst>
              <a:ext uri="{FF2B5EF4-FFF2-40B4-BE49-F238E27FC236}">
                <a16:creationId xmlns:a16="http://schemas.microsoft.com/office/drawing/2014/main" id="{6563D134-ECDA-6D1C-0221-6A5403EFC5B0}"/>
              </a:ext>
            </a:extLst>
          </p:cNvPr>
          <p:cNvCxnSpPr>
            <a:cxnSpLocks/>
          </p:cNvCxnSpPr>
          <p:nvPr/>
        </p:nvCxnSpPr>
        <p:spPr>
          <a:xfrm>
            <a:off x="511603" y="1964333"/>
            <a:ext cx="643681" cy="0"/>
          </a:xfrm>
          <a:prstGeom prst="line">
            <a:avLst/>
          </a:prstGeom>
          <a:ln w="19050" cap="flat" cmpd="sng" algn="ctr">
            <a:solidFill>
              <a:schemeClr val="accent6"/>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9" name="Gerader Verbinder 8">
            <a:extLst>
              <a:ext uri="{FF2B5EF4-FFF2-40B4-BE49-F238E27FC236}">
                <a16:creationId xmlns:a16="http://schemas.microsoft.com/office/drawing/2014/main" id="{59189E3E-67DD-DA15-D73B-190C67107088}"/>
              </a:ext>
            </a:extLst>
          </p:cNvPr>
          <p:cNvCxnSpPr>
            <a:cxnSpLocks/>
          </p:cNvCxnSpPr>
          <p:nvPr/>
        </p:nvCxnSpPr>
        <p:spPr>
          <a:xfrm>
            <a:off x="520699" y="1133404"/>
            <a:ext cx="291736" cy="0"/>
          </a:xfrm>
          <a:prstGeom prst="line">
            <a:avLst/>
          </a:prstGeom>
          <a:ln w="19050" cap="flat" cmpd="sng" algn="ctr">
            <a:solidFill>
              <a:schemeClr val="accent6"/>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7" name="Gerader Verbinder 16">
            <a:extLst>
              <a:ext uri="{FF2B5EF4-FFF2-40B4-BE49-F238E27FC236}">
                <a16:creationId xmlns:a16="http://schemas.microsoft.com/office/drawing/2014/main" id="{62718E40-E162-DDFC-EDDB-2247C128325C}"/>
              </a:ext>
            </a:extLst>
          </p:cNvPr>
          <p:cNvCxnSpPr>
            <a:cxnSpLocks/>
          </p:cNvCxnSpPr>
          <p:nvPr/>
        </p:nvCxnSpPr>
        <p:spPr>
          <a:xfrm flipV="1">
            <a:off x="1165110" y="1882558"/>
            <a:ext cx="0" cy="329700"/>
          </a:xfrm>
          <a:prstGeom prst="line">
            <a:avLst/>
          </a:prstGeom>
          <a:ln w="19050" cap="flat" cmpd="sng" algn="ctr">
            <a:solidFill>
              <a:schemeClr val="accent6"/>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0" name="Gerader Verbinder 19">
            <a:extLst>
              <a:ext uri="{FF2B5EF4-FFF2-40B4-BE49-F238E27FC236}">
                <a16:creationId xmlns:a16="http://schemas.microsoft.com/office/drawing/2014/main" id="{ABF86E71-AECA-FAD3-8745-259B67B0B4B2}"/>
              </a:ext>
            </a:extLst>
          </p:cNvPr>
          <p:cNvCxnSpPr>
            <a:cxnSpLocks/>
          </p:cNvCxnSpPr>
          <p:nvPr/>
        </p:nvCxnSpPr>
        <p:spPr>
          <a:xfrm flipV="1">
            <a:off x="1858368" y="2499503"/>
            <a:ext cx="0" cy="1172974"/>
          </a:xfrm>
          <a:prstGeom prst="line">
            <a:avLst/>
          </a:prstGeom>
          <a:ln w="19050" cap="flat" cmpd="sng" algn="ctr">
            <a:solidFill>
              <a:schemeClr val="accent6"/>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 name="Gerader Verbinder 21">
            <a:extLst>
              <a:ext uri="{FF2B5EF4-FFF2-40B4-BE49-F238E27FC236}">
                <a16:creationId xmlns:a16="http://schemas.microsoft.com/office/drawing/2014/main" id="{4DF27727-F89F-7DE4-3625-E95DE17D4C14}"/>
              </a:ext>
            </a:extLst>
          </p:cNvPr>
          <p:cNvCxnSpPr>
            <a:cxnSpLocks/>
          </p:cNvCxnSpPr>
          <p:nvPr/>
        </p:nvCxnSpPr>
        <p:spPr>
          <a:xfrm flipV="1">
            <a:off x="846422" y="1047241"/>
            <a:ext cx="0" cy="555700"/>
          </a:xfrm>
          <a:prstGeom prst="line">
            <a:avLst/>
          </a:prstGeom>
          <a:ln w="19050" cap="flat" cmpd="sng" algn="ctr">
            <a:solidFill>
              <a:schemeClr val="accent6"/>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3" name="Gerader Verbinder 22">
            <a:extLst>
              <a:ext uri="{FF2B5EF4-FFF2-40B4-BE49-F238E27FC236}">
                <a16:creationId xmlns:a16="http://schemas.microsoft.com/office/drawing/2014/main" id="{3335C385-D241-7A22-9EEE-42D8F190D01F}"/>
              </a:ext>
            </a:extLst>
          </p:cNvPr>
          <p:cNvCxnSpPr>
            <a:cxnSpLocks/>
          </p:cNvCxnSpPr>
          <p:nvPr/>
        </p:nvCxnSpPr>
        <p:spPr>
          <a:xfrm flipV="1">
            <a:off x="2187324" y="3954728"/>
            <a:ext cx="0" cy="555700"/>
          </a:xfrm>
          <a:prstGeom prst="line">
            <a:avLst/>
          </a:prstGeom>
          <a:ln w="19050" cap="flat" cmpd="sng" algn="ctr">
            <a:solidFill>
              <a:schemeClr val="accent6"/>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41449482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96FF4E3-62CE-40A4-A939-98A3965B8F3E}"/>
              </a:ext>
            </a:extLst>
          </p:cNvPr>
          <p:cNvSpPr>
            <a:spLocks noGrp="1"/>
          </p:cNvSpPr>
          <p:nvPr>
            <p:ph type="title"/>
          </p:nvPr>
        </p:nvSpPr>
        <p:spPr>
          <a:xfrm>
            <a:off x="520699" y="432000"/>
            <a:ext cx="7728566" cy="591937"/>
          </a:xfrm>
        </p:spPr>
        <p:txBody>
          <a:bodyPr/>
          <a:lstStyle/>
          <a:p>
            <a:r>
              <a:rPr lang="de-AT" dirty="0" err="1"/>
              <a:t>Experiences</a:t>
            </a:r>
            <a:r>
              <a:rPr lang="de-AT" dirty="0"/>
              <a:t> in Tour </a:t>
            </a:r>
            <a:r>
              <a:rPr lang="de-AT" dirty="0" err="1"/>
              <a:t>Planning</a:t>
            </a:r>
            <a:r>
              <a:rPr lang="de-AT" dirty="0"/>
              <a:t> </a:t>
            </a:r>
            <a:r>
              <a:rPr lang="de-AT" dirty="0" err="1"/>
              <a:t>including</a:t>
            </a:r>
            <a:r>
              <a:rPr lang="de-AT" dirty="0"/>
              <a:t> Container </a:t>
            </a:r>
            <a:r>
              <a:rPr lang="de-AT" dirty="0" err="1"/>
              <a:t>filling</a:t>
            </a:r>
            <a:r>
              <a:rPr lang="de-AT" dirty="0"/>
              <a:t> </a:t>
            </a:r>
            <a:r>
              <a:rPr lang="de-AT" dirty="0" err="1"/>
              <a:t>level</a:t>
            </a:r>
            <a:r>
              <a:rPr lang="de-AT" dirty="0"/>
              <a:t> </a:t>
            </a:r>
          </a:p>
        </p:txBody>
      </p:sp>
      <p:sp>
        <p:nvSpPr>
          <p:cNvPr id="3" name="Inhaltsplatzhalter 2">
            <a:extLst>
              <a:ext uri="{FF2B5EF4-FFF2-40B4-BE49-F238E27FC236}">
                <a16:creationId xmlns:a16="http://schemas.microsoft.com/office/drawing/2014/main" id="{1BF53F01-A61B-D400-5AB6-3DA1C4225F9B}"/>
              </a:ext>
            </a:extLst>
          </p:cNvPr>
          <p:cNvSpPr>
            <a:spLocks noGrp="1"/>
          </p:cNvSpPr>
          <p:nvPr>
            <p:ph idx="1"/>
          </p:nvPr>
        </p:nvSpPr>
        <p:spPr>
          <a:xfrm>
            <a:off x="522287" y="1335088"/>
            <a:ext cx="7505835" cy="3177918"/>
          </a:xfrm>
        </p:spPr>
        <p:txBody>
          <a:bodyPr/>
          <a:lstStyle/>
          <a:p>
            <a:pPr marL="0" indent="0">
              <a:buNone/>
            </a:pPr>
            <a:r>
              <a:rPr lang="de-AT" b="1" dirty="0">
                <a:highlight>
                  <a:srgbClr val="D7DC46"/>
                </a:highlight>
              </a:rPr>
              <a:t>Projects</a:t>
            </a:r>
            <a:r>
              <a:rPr lang="de-AT" dirty="0"/>
              <a:t> </a:t>
            </a:r>
            <a:r>
              <a:rPr lang="de-AT" dirty="0" err="1"/>
              <a:t>dealing</a:t>
            </a:r>
            <a:r>
              <a:rPr lang="de-AT" dirty="0"/>
              <a:t> </a:t>
            </a:r>
            <a:r>
              <a:rPr lang="de-AT" dirty="0" err="1"/>
              <a:t>with</a:t>
            </a:r>
            <a:r>
              <a:rPr lang="de-AT" dirty="0"/>
              <a:t> </a:t>
            </a:r>
            <a:r>
              <a:rPr lang="de-AT" dirty="0" err="1"/>
              <a:t>optimzation</a:t>
            </a:r>
            <a:r>
              <a:rPr lang="de-AT" dirty="0"/>
              <a:t> </a:t>
            </a:r>
            <a:r>
              <a:rPr lang="de-AT" dirty="0" err="1"/>
              <a:t>measures</a:t>
            </a:r>
            <a:r>
              <a:rPr lang="de-AT" dirty="0"/>
              <a:t>:</a:t>
            </a:r>
          </a:p>
          <a:p>
            <a:r>
              <a:rPr lang="de-AT" b="1" dirty="0">
                <a:highlight>
                  <a:srgbClr val="D7DC46"/>
                </a:highlight>
              </a:rPr>
              <a:t>Sensor</a:t>
            </a:r>
            <a:r>
              <a:rPr lang="de-AT" dirty="0"/>
              <a:t> </a:t>
            </a:r>
            <a:r>
              <a:rPr lang="de-AT" dirty="0" err="1"/>
              <a:t>based</a:t>
            </a:r>
            <a:r>
              <a:rPr lang="de-AT" dirty="0"/>
              <a:t> </a:t>
            </a:r>
            <a:r>
              <a:rPr lang="de-AT" dirty="0" err="1"/>
              <a:t>measuring</a:t>
            </a:r>
            <a:r>
              <a:rPr lang="de-AT" dirty="0"/>
              <a:t> </a:t>
            </a:r>
            <a:r>
              <a:rPr lang="de-AT" dirty="0" err="1"/>
              <a:t>of</a:t>
            </a:r>
            <a:r>
              <a:rPr lang="de-AT" dirty="0"/>
              <a:t> </a:t>
            </a:r>
            <a:r>
              <a:rPr lang="de-AT" dirty="0" err="1"/>
              <a:t>the</a:t>
            </a:r>
            <a:r>
              <a:rPr lang="de-AT" dirty="0"/>
              <a:t> </a:t>
            </a:r>
            <a:r>
              <a:rPr lang="de-AT" dirty="0" err="1"/>
              <a:t>filling</a:t>
            </a:r>
            <a:r>
              <a:rPr lang="de-AT" dirty="0"/>
              <a:t> </a:t>
            </a:r>
            <a:r>
              <a:rPr lang="de-AT" dirty="0" err="1"/>
              <a:t>level</a:t>
            </a:r>
            <a:r>
              <a:rPr lang="de-AT" dirty="0"/>
              <a:t> </a:t>
            </a:r>
            <a:r>
              <a:rPr lang="de-AT" dirty="0" err="1"/>
              <a:t>of</a:t>
            </a:r>
            <a:r>
              <a:rPr lang="de-AT" dirty="0"/>
              <a:t> </a:t>
            </a:r>
            <a:r>
              <a:rPr lang="de-AT" dirty="0" err="1"/>
              <a:t>bins</a:t>
            </a:r>
            <a:r>
              <a:rPr lang="de-AT" dirty="0"/>
              <a:t> in different </a:t>
            </a:r>
            <a:r>
              <a:rPr lang="de-AT" dirty="0" err="1"/>
              <a:t>regions</a:t>
            </a:r>
            <a:r>
              <a:rPr lang="de-AT" dirty="0"/>
              <a:t> in Austria</a:t>
            </a:r>
          </a:p>
          <a:p>
            <a:r>
              <a:rPr lang="de-AT" dirty="0"/>
              <a:t>Projects, </a:t>
            </a:r>
            <a:r>
              <a:rPr lang="de-AT" dirty="0" err="1"/>
              <a:t>that</a:t>
            </a:r>
            <a:r>
              <a:rPr lang="de-AT" dirty="0"/>
              <a:t> </a:t>
            </a:r>
            <a:r>
              <a:rPr lang="de-AT" dirty="0" err="1"/>
              <a:t>use</a:t>
            </a:r>
            <a:r>
              <a:rPr lang="de-AT" dirty="0"/>
              <a:t> </a:t>
            </a:r>
            <a:r>
              <a:rPr lang="de-AT" b="1" dirty="0" err="1">
                <a:highlight>
                  <a:srgbClr val="D7DC46"/>
                </a:highlight>
              </a:rPr>
              <a:t>long</a:t>
            </a:r>
            <a:r>
              <a:rPr lang="de-AT" b="1" dirty="0">
                <a:highlight>
                  <a:srgbClr val="D7DC46"/>
                </a:highlight>
              </a:rPr>
              <a:t> </a:t>
            </a:r>
            <a:r>
              <a:rPr lang="de-AT" b="1" dirty="0" err="1">
                <a:highlight>
                  <a:srgbClr val="D7DC46"/>
                </a:highlight>
              </a:rPr>
              <a:t>term</a:t>
            </a:r>
            <a:r>
              <a:rPr lang="de-AT" b="1" dirty="0">
                <a:highlight>
                  <a:srgbClr val="D7DC46"/>
                </a:highlight>
              </a:rPr>
              <a:t> </a:t>
            </a:r>
            <a:r>
              <a:rPr lang="de-AT" b="1" dirty="0" err="1">
                <a:highlight>
                  <a:srgbClr val="D7DC46"/>
                </a:highlight>
              </a:rPr>
              <a:t>data</a:t>
            </a:r>
            <a:r>
              <a:rPr lang="de-AT" b="1" dirty="0">
                <a:highlight>
                  <a:srgbClr val="D7DC46"/>
                </a:highlight>
              </a:rPr>
              <a:t> </a:t>
            </a:r>
            <a:r>
              <a:rPr lang="de-AT" dirty="0" err="1"/>
              <a:t>concerning</a:t>
            </a:r>
            <a:r>
              <a:rPr lang="de-AT" dirty="0"/>
              <a:t> </a:t>
            </a:r>
            <a:r>
              <a:rPr lang="de-AT" dirty="0" err="1"/>
              <a:t>the</a:t>
            </a:r>
            <a:r>
              <a:rPr lang="de-AT" dirty="0"/>
              <a:t> </a:t>
            </a:r>
            <a:r>
              <a:rPr lang="de-AT" dirty="0" err="1"/>
              <a:t>actual</a:t>
            </a:r>
            <a:r>
              <a:rPr lang="de-AT" dirty="0"/>
              <a:t> </a:t>
            </a:r>
            <a:r>
              <a:rPr lang="de-AT" dirty="0" err="1"/>
              <a:t>collection</a:t>
            </a:r>
            <a:endParaRPr lang="de-AT" dirty="0"/>
          </a:p>
          <a:p>
            <a:pPr marL="0" indent="0">
              <a:buNone/>
            </a:pPr>
            <a:endParaRPr lang="de-AT" dirty="0"/>
          </a:p>
          <a:p>
            <a:pPr marL="0" indent="0">
              <a:buNone/>
            </a:pPr>
            <a:r>
              <a:rPr lang="de-AT" dirty="0"/>
              <a:t>As </a:t>
            </a:r>
            <a:r>
              <a:rPr lang="de-AT" dirty="0" err="1"/>
              <a:t>we</a:t>
            </a:r>
            <a:r>
              <a:rPr lang="de-AT" dirty="0"/>
              <a:t> do </a:t>
            </a:r>
            <a:r>
              <a:rPr lang="de-AT" dirty="0" err="1"/>
              <a:t>have</a:t>
            </a:r>
            <a:r>
              <a:rPr lang="de-AT" dirty="0"/>
              <a:t> a </a:t>
            </a:r>
            <a:r>
              <a:rPr lang="de-AT" b="1" dirty="0" err="1">
                <a:highlight>
                  <a:srgbClr val="D7DC46"/>
                </a:highlight>
              </a:rPr>
              <a:t>long</a:t>
            </a:r>
            <a:r>
              <a:rPr lang="de-AT" b="1" dirty="0">
                <a:highlight>
                  <a:srgbClr val="D7DC46"/>
                </a:highlight>
              </a:rPr>
              <a:t> </a:t>
            </a:r>
            <a:r>
              <a:rPr lang="de-AT" b="1" dirty="0" err="1">
                <a:highlight>
                  <a:srgbClr val="D7DC46"/>
                </a:highlight>
              </a:rPr>
              <a:t>standing</a:t>
            </a:r>
            <a:r>
              <a:rPr lang="de-AT" b="1" dirty="0">
                <a:highlight>
                  <a:srgbClr val="D7DC46"/>
                </a:highlight>
              </a:rPr>
              <a:t> and sophisticated </a:t>
            </a:r>
            <a:r>
              <a:rPr lang="de-AT" b="1" dirty="0" err="1">
                <a:highlight>
                  <a:srgbClr val="D7DC46"/>
                </a:highlight>
              </a:rPr>
              <a:t>glass</a:t>
            </a:r>
            <a:r>
              <a:rPr lang="de-AT" b="1" dirty="0">
                <a:highlight>
                  <a:srgbClr val="D7DC46"/>
                </a:highlight>
              </a:rPr>
              <a:t> </a:t>
            </a:r>
            <a:r>
              <a:rPr lang="de-AT" b="1" dirty="0" err="1">
                <a:highlight>
                  <a:srgbClr val="D7DC46"/>
                </a:highlight>
              </a:rPr>
              <a:t>collection</a:t>
            </a:r>
            <a:r>
              <a:rPr lang="de-AT" b="1" dirty="0">
                <a:highlight>
                  <a:srgbClr val="D7DC46"/>
                </a:highlight>
              </a:rPr>
              <a:t> </a:t>
            </a:r>
            <a:r>
              <a:rPr lang="de-AT" dirty="0" err="1"/>
              <a:t>system</a:t>
            </a:r>
            <a:r>
              <a:rPr lang="de-AT" dirty="0"/>
              <a:t>:</a:t>
            </a:r>
          </a:p>
          <a:p>
            <a:r>
              <a:rPr lang="de-AT" dirty="0" err="1"/>
              <a:t>Almost</a:t>
            </a:r>
            <a:r>
              <a:rPr lang="de-AT" dirty="0"/>
              <a:t> 50 </a:t>
            </a:r>
            <a:r>
              <a:rPr lang="de-AT" dirty="0" err="1"/>
              <a:t>year</a:t>
            </a:r>
            <a:r>
              <a:rPr lang="de-AT" dirty="0"/>
              <a:t> </a:t>
            </a:r>
            <a:r>
              <a:rPr lang="de-AT" dirty="0" err="1"/>
              <a:t>of</a:t>
            </a:r>
            <a:r>
              <a:rPr lang="de-AT" dirty="0"/>
              <a:t> </a:t>
            </a:r>
            <a:r>
              <a:rPr lang="de-AT" dirty="0" err="1"/>
              <a:t>glass</a:t>
            </a:r>
            <a:r>
              <a:rPr lang="de-AT" dirty="0"/>
              <a:t> </a:t>
            </a:r>
            <a:r>
              <a:rPr lang="de-AT" dirty="0" err="1"/>
              <a:t>collection</a:t>
            </a:r>
            <a:r>
              <a:rPr lang="de-AT" dirty="0"/>
              <a:t> in Austria</a:t>
            </a:r>
          </a:p>
          <a:p>
            <a:r>
              <a:rPr lang="de-AT" dirty="0" err="1"/>
              <a:t>Longstanding</a:t>
            </a:r>
            <a:r>
              <a:rPr lang="de-AT" dirty="0"/>
              <a:t> </a:t>
            </a:r>
            <a:r>
              <a:rPr lang="de-AT" dirty="0" err="1"/>
              <a:t>cooperation</a:t>
            </a:r>
            <a:r>
              <a:rPr lang="de-AT" dirty="0"/>
              <a:t> </a:t>
            </a:r>
            <a:r>
              <a:rPr lang="de-AT" dirty="0" err="1"/>
              <a:t>with</a:t>
            </a:r>
            <a:r>
              <a:rPr lang="de-AT" dirty="0"/>
              <a:t> </a:t>
            </a:r>
            <a:r>
              <a:rPr lang="de-AT" dirty="0" err="1"/>
              <a:t>waste</a:t>
            </a:r>
            <a:r>
              <a:rPr lang="de-AT" dirty="0"/>
              <a:t> </a:t>
            </a:r>
            <a:r>
              <a:rPr lang="de-AT" dirty="0" err="1"/>
              <a:t>collectors</a:t>
            </a:r>
            <a:r>
              <a:rPr lang="de-AT" dirty="0"/>
              <a:t> and </a:t>
            </a:r>
            <a:r>
              <a:rPr lang="de-AT" dirty="0" err="1"/>
              <a:t>long-serving</a:t>
            </a:r>
            <a:r>
              <a:rPr lang="de-AT" dirty="0"/>
              <a:t> </a:t>
            </a:r>
            <a:r>
              <a:rPr lang="de-AT" dirty="0" err="1"/>
              <a:t>truck</a:t>
            </a:r>
            <a:r>
              <a:rPr lang="de-AT" dirty="0"/>
              <a:t> </a:t>
            </a:r>
            <a:r>
              <a:rPr lang="de-AT" dirty="0" err="1"/>
              <a:t>drivers</a:t>
            </a:r>
            <a:endParaRPr lang="de-AT" dirty="0"/>
          </a:p>
          <a:p>
            <a:pPr marL="0" indent="0">
              <a:buNone/>
            </a:pPr>
            <a:r>
              <a:rPr lang="de-AT" dirty="0" err="1"/>
              <a:t>Therefor</a:t>
            </a:r>
            <a:r>
              <a:rPr lang="de-AT" dirty="0"/>
              <a:t> </a:t>
            </a:r>
            <a:r>
              <a:rPr lang="de-AT" dirty="0" err="1"/>
              <a:t>it</a:t>
            </a:r>
            <a:r>
              <a:rPr lang="de-AT" dirty="0"/>
              <a:t> </a:t>
            </a:r>
            <a:r>
              <a:rPr lang="de-AT" dirty="0" err="1"/>
              <a:t>is</a:t>
            </a:r>
            <a:r>
              <a:rPr lang="de-AT" dirty="0"/>
              <a:t> a </a:t>
            </a:r>
            <a:r>
              <a:rPr lang="de-AT" dirty="0" err="1"/>
              <a:t>challenge</a:t>
            </a:r>
            <a:r>
              <a:rPr lang="de-AT" dirty="0"/>
              <a:t> </a:t>
            </a:r>
            <a:r>
              <a:rPr lang="de-AT" dirty="0" err="1"/>
              <a:t>to</a:t>
            </a:r>
            <a:r>
              <a:rPr lang="de-AT" dirty="0"/>
              <a:t> </a:t>
            </a:r>
            <a:r>
              <a:rPr lang="de-AT" dirty="0" err="1"/>
              <a:t>implement</a:t>
            </a:r>
            <a:r>
              <a:rPr lang="de-AT" dirty="0"/>
              <a:t> </a:t>
            </a:r>
            <a:r>
              <a:rPr lang="de-AT" dirty="0" err="1"/>
              <a:t>cost</a:t>
            </a:r>
            <a:r>
              <a:rPr lang="de-AT" dirty="0"/>
              <a:t> </a:t>
            </a:r>
            <a:r>
              <a:rPr lang="de-AT" dirty="0" err="1"/>
              <a:t>saving</a:t>
            </a:r>
            <a:r>
              <a:rPr lang="de-AT" dirty="0"/>
              <a:t> </a:t>
            </a:r>
            <a:r>
              <a:rPr lang="de-AT" dirty="0" err="1"/>
              <a:t>measures</a:t>
            </a:r>
            <a:r>
              <a:rPr lang="de-AT" dirty="0"/>
              <a:t> - </a:t>
            </a:r>
            <a:r>
              <a:rPr lang="de-AT" dirty="0" err="1"/>
              <a:t>the</a:t>
            </a:r>
            <a:r>
              <a:rPr lang="de-AT" dirty="0"/>
              <a:t> </a:t>
            </a:r>
            <a:r>
              <a:rPr lang="de-AT" b="1" dirty="0" err="1">
                <a:highlight>
                  <a:srgbClr val="D7DC46"/>
                </a:highlight>
              </a:rPr>
              <a:t>nationwide</a:t>
            </a:r>
            <a:r>
              <a:rPr lang="de-AT" b="1" dirty="0">
                <a:highlight>
                  <a:srgbClr val="D7DC46"/>
                </a:highlight>
              </a:rPr>
              <a:t> </a:t>
            </a:r>
            <a:r>
              <a:rPr lang="de-AT" b="1" dirty="0" err="1">
                <a:highlight>
                  <a:srgbClr val="D7DC46"/>
                </a:highlight>
              </a:rPr>
              <a:t>implementation</a:t>
            </a:r>
            <a:r>
              <a:rPr lang="de-AT" b="1" dirty="0">
                <a:highlight>
                  <a:srgbClr val="D7DC46"/>
                </a:highlight>
              </a:rPr>
              <a:t> </a:t>
            </a:r>
            <a:r>
              <a:rPr lang="de-AT" b="1" dirty="0" err="1">
                <a:highlight>
                  <a:srgbClr val="D7DC46"/>
                </a:highlight>
              </a:rPr>
              <a:t>is</a:t>
            </a:r>
            <a:r>
              <a:rPr lang="de-AT" b="1" dirty="0">
                <a:highlight>
                  <a:srgbClr val="D7DC46"/>
                </a:highlight>
              </a:rPr>
              <a:t> on hold.</a:t>
            </a:r>
          </a:p>
          <a:p>
            <a:pPr marL="0" indent="0">
              <a:buNone/>
            </a:pPr>
            <a:endParaRPr lang="de-AT" dirty="0"/>
          </a:p>
          <a:p>
            <a:endParaRPr lang="de-AT" dirty="0"/>
          </a:p>
        </p:txBody>
      </p:sp>
    </p:spTree>
    <p:extLst>
      <p:ext uri="{BB962C8B-B14F-4D97-AF65-F5344CB8AC3E}">
        <p14:creationId xmlns:p14="http://schemas.microsoft.com/office/powerpoint/2010/main" val="9631572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abelle 3">
            <a:extLst>
              <a:ext uri="{FF2B5EF4-FFF2-40B4-BE49-F238E27FC236}">
                <a16:creationId xmlns:a16="http://schemas.microsoft.com/office/drawing/2014/main" id="{1E94E6D5-6CE9-84AB-F4A5-F22F336357FE}"/>
              </a:ext>
            </a:extLst>
          </p:cNvPr>
          <p:cNvGraphicFramePr>
            <a:graphicFrameLocks noGrp="1"/>
          </p:cNvGraphicFramePr>
          <p:nvPr>
            <p:ph sz="half" idx="1"/>
            <p:custDataLst>
              <p:tags r:id="rId1"/>
            </p:custDataLst>
            <p:extLst>
              <p:ext uri="{D42A27DB-BD31-4B8C-83A1-F6EECF244321}">
                <p14:modId xmlns:p14="http://schemas.microsoft.com/office/powerpoint/2010/main" val="4181705118"/>
              </p:ext>
            </p:extLst>
          </p:nvPr>
        </p:nvGraphicFramePr>
        <p:xfrm>
          <a:off x="522288" y="1023938"/>
          <a:ext cx="5244639" cy="2091096"/>
        </p:xfrm>
        <a:graphic>
          <a:graphicData uri="http://schemas.openxmlformats.org/drawingml/2006/table">
            <a:tbl>
              <a:tblPr>
                <a:effectLst/>
                <a:tableStyleId>{073A0DAA-6AF3-43AB-8588-CEC1D06C72B9}</a:tableStyleId>
              </a:tblPr>
              <a:tblGrid>
                <a:gridCol w="3274475">
                  <a:extLst>
                    <a:ext uri="{9D8B030D-6E8A-4147-A177-3AD203B41FA5}">
                      <a16:colId xmlns:a16="http://schemas.microsoft.com/office/drawing/2014/main" val="4291732376"/>
                    </a:ext>
                  </a:extLst>
                </a:gridCol>
                <a:gridCol w="1970164">
                  <a:extLst>
                    <a:ext uri="{9D8B030D-6E8A-4147-A177-3AD203B41FA5}">
                      <a16:colId xmlns:a16="http://schemas.microsoft.com/office/drawing/2014/main" val="112285462"/>
                    </a:ext>
                  </a:extLst>
                </a:gridCol>
              </a:tblGrid>
              <a:tr h="298728">
                <a:tc>
                  <a:txBody>
                    <a:bodyPr/>
                    <a:lstStyle/>
                    <a:p>
                      <a:pPr algn="l" rtl="0" fontAlgn="ctr"/>
                      <a:r>
                        <a:rPr lang="de-AT" sz="1400" b="0" i="0" u="none" strike="noStrike" dirty="0" err="1">
                          <a:solidFill>
                            <a:srgbClr val="41474C"/>
                          </a:solidFill>
                          <a:effectLst/>
                          <a:latin typeface="Calibri"/>
                        </a:rPr>
                        <a:t>Inhabitants</a:t>
                      </a:r>
                      <a:r>
                        <a:rPr lang="de-AT" sz="1400" b="0" i="0" u="none" strike="noStrike" dirty="0">
                          <a:solidFill>
                            <a:srgbClr val="41474C"/>
                          </a:solidFill>
                          <a:effectLst/>
                          <a:latin typeface="Calibri"/>
                        </a:rPr>
                        <a:t>:</a:t>
                      </a:r>
                    </a:p>
                  </a:txBody>
                  <a:tcPr marL="0" marR="0" marT="0" marB="0" anchor="ctr">
                    <a:noFill/>
                  </a:tcPr>
                </a:tc>
                <a:tc>
                  <a:txBody>
                    <a:bodyPr/>
                    <a:lstStyle/>
                    <a:p>
                      <a:pPr algn="l" rtl="0" fontAlgn="ctr"/>
                      <a:r>
                        <a:rPr lang="de-AT" sz="1400" b="1" i="0" u="none" strike="noStrike" dirty="0">
                          <a:solidFill>
                            <a:srgbClr val="41474C"/>
                          </a:solidFill>
                          <a:effectLst/>
                          <a:latin typeface="Calibri"/>
                        </a:rPr>
                        <a:t>9.2 Mio.</a:t>
                      </a:r>
                    </a:p>
                  </a:txBody>
                  <a:tcPr marL="0" marR="0" marT="0" marB="0" anchor="ctr">
                    <a:noFill/>
                  </a:tcPr>
                </a:tc>
                <a:extLst>
                  <a:ext uri="{0D108BD9-81ED-4DB2-BD59-A6C34878D82A}">
                    <a16:rowId xmlns:a16="http://schemas.microsoft.com/office/drawing/2014/main" val="2833039672"/>
                  </a:ext>
                </a:extLst>
              </a:tr>
              <a:tr h="298728">
                <a:tc>
                  <a:txBody>
                    <a:bodyPr/>
                    <a:lstStyle/>
                    <a:p>
                      <a:pPr algn="l" rtl="0" fontAlgn="ctr"/>
                      <a:r>
                        <a:rPr lang="de-AT" sz="1400" b="0" i="0" u="none" strike="noStrike" dirty="0">
                          <a:solidFill>
                            <a:srgbClr val="41474C"/>
                          </a:solidFill>
                          <a:effectLst/>
                          <a:latin typeface="Calibri"/>
                        </a:rPr>
                        <a:t>Glass </a:t>
                      </a:r>
                      <a:r>
                        <a:rPr lang="de-AT" sz="1400" b="0" i="0" u="none" strike="noStrike" dirty="0" err="1">
                          <a:solidFill>
                            <a:srgbClr val="41474C"/>
                          </a:solidFill>
                          <a:effectLst/>
                          <a:latin typeface="Calibri"/>
                        </a:rPr>
                        <a:t>Packaging</a:t>
                      </a:r>
                      <a:r>
                        <a:rPr lang="de-AT" sz="1400" b="0" i="0" u="none" strike="noStrike" dirty="0">
                          <a:solidFill>
                            <a:srgbClr val="41474C"/>
                          </a:solidFill>
                          <a:effectLst/>
                          <a:latin typeface="Calibri"/>
                        </a:rPr>
                        <a:t> </a:t>
                      </a:r>
                      <a:r>
                        <a:rPr lang="de-AT" sz="1400" b="0" i="0" u="none" strike="noStrike" dirty="0" err="1">
                          <a:solidFill>
                            <a:srgbClr val="41474C"/>
                          </a:solidFill>
                          <a:effectLst/>
                          <a:latin typeface="Calibri"/>
                        </a:rPr>
                        <a:t>put</a:t>
                      </a:r>
                      <a:r>
                        <a:rPr lang="de-AT" sz="1400" b="0" i="0" u="none" strike="noStrike" dirty="0">
                          <a:solidFill>
                            <a:srgbClr val="41474C"/>
                          </a:solidFill>
                          <a:effectLst/>
                          <a:latin typeface="Calibri"/>
                        </a:rPr>
                        <a:t> </a:t>
                      </a:r>
                      <a:r>
                        <a:rPr lang="de-AT" sz="1400" b="0" i="0" u="none" strike="noStrike" dirty="0" err="1">
                          <a:solidFill>
                            <a:srgbClr val="41474C"/>
                          </a:solidFill>
                          <a:effectLst/>
                          <a:latin typeface="Calibri"/>
                        </a:rPr>
                        <a:t>into</a:t>
                      </a:r>
                      <a:r>
                        <a:rPr lang="de-AT" sz="1400" b="0" i="0" u="none" strike="noStrike" dirty="0">
                          <a:solidFill>
                            <a:srgbClr val="41474C"/>
                          </a:solidFill>
                          <a:effectLst/>
                          <a:latin typeface="Calibri"/>
                        </a:rPr>
                        <a:t> </a:t>
                      </a:r>
                      <a:r>
                        <a:rPr lang="de-AT" sz="1400" b="0" i="0" u="none" strike="noStrike" dirty="0" err="1">
                          <a:solidFill>
                            <a:srgbClr val="41474C"/>
                          </a:solidFill>
                          <a:effectLst/>
                          <a:latin typeface="Calibri"/>
                        </a:rPr>
                        <a:t>the</a:t>
                      </a:r>
                      <a:r>
                        <a:rPr lang="de-AT" sz="1400" b="0" i="0" u="none" strike="noStrike" dirty="0">
                          <a:solidFill>
                            <a:srgbClr val="41474C"/>
                          </a:solidFill>
                          <a:effectLst/>
                          <a:latin typeface="Calibri"/>
                        </a:rPr>
                        <a:t> </a:t>
                      </a:r>
                      <a:r>
                        <a:rPr lang="de-AT" sz="1400" b="0" i="0" u="none" strike="noStrike" dirty="0" err="1">
                          <a:solidFill>
                            <a:srgbClr val="41474C"/>
                          </a:solidFill>
                          <a:effectLst/>
                          <a:latin typeface="Calibri"/>
                        </a:rPr>
                        <a:t>market</a:t>
                      </a:r>
                      <a:r>
                        <a:rPr lang="de-AT" sz="1400" b="0" i="0" u="none" strike="noStrike" dirty="0">
                          <a:solidFill>
                            <a:srgbClr val="41474C"/>
                          </a:solidFill>
                          <a:effectLst/>
                          <a:latin typeface="Calibri"/>
                        </a:rPr>
                        <a:t> 2024:</a:t>
                      </a:r>
                    </a:p>
                  </a:txBody>
                  <a:tcPr marL="0" marR="0" marT="0" marB="0" anchor="ctr">
                    <a:noFill/>
                  </a:tcPr>
                </a:tc>
                <a:tc>
                  <a:txBody>
                    <a:bodyPr/>
                    <a:lstStyle/>
                    <a:p>
                      <a:pPr algn="l" rtl="0" fontAlgn="ctr"/>
                      <a:r>
                        <a:rPr lang="de-AT" sz="1400" b="1" i="0" u="none" strike="noStrike" dirty="0">
                          <a:solidFill>
                            <a:srgbClr val="41474C"/>
                          </a:solidFill>
                          <a:effectLst/>
                          <a:latin typeface="Calibri"/>
                        </a:rPr>
                        <a:t>280,000 t </a:t>
                      </a:r>
                      <a:r>
                        <a:rPr lang="de-AT" sz="1400" b="1" i="0" u="none" strike="noStrike" dirty="0" err="1">
                          <a:solidFill>
                            <a:srgbClr val="41474C"/>
                          </a:solidFill>
                          <a:effectLst/>
                          <a:latin typeface="Calibri"/>
                        </a:rPr>
                        <a:t>or</a:t>
                      </a:r>
                      <a:r>
                        <a:rPr lang="de-AT" sz="1400" b="1" i="0" u="none" strike="noStrike" dirty="0">
                          <a:solidFill>
                            <a:srgbClr val="41474C"/>
                          </a:solidFill>
                          <a:effectLst/>
                          <a:latin typeface="Calibri"/>
                        </a:rPr>
                        <a:t> 30,4 kg p.c.</a:t>
                      </a:r>
                    </a:p>
                  </a:txBody>
                  <a:tcPr marL="0" marR="0" marT="0" marB="0" anchor="ctr">
                    <a:noFill/>
                  </a:tcPr>
                </a:tc>
                <a:extLst>
                  <a:ext uri="{0D108BD9-81ED-4DB2-BD59-A6C34878D82A}">
                    <a16:rowId xmlns:a16="http://schemas.microsoft.com/office/drawing/2014/main" val="1939245853"/>
                  </a:ext>
                </a:extLst>
              </a:tr>
              <a:tr h="298728">
                <a:tc>
                  <a:txBody>
                    <a:bodyPr/>
                    <a:lstStyle/>
                    <a:p>
                      <a:pPr algn="l" rtl="0" fontAlgn="ctr"/>
                      <a:r>
                        <a:rPr lang="de-AT" sz="1400" b="0" i="0" u="none" strike="noStrike" dirty="0">
                          <a:solidFill>
                            <a:srgbClr val="41474C"/>
                          </a:solidFill>
                          <a:effectLst/>
                          <a:latin typeface="Calibri"/>
                        </a:rPr>
                        <a:t>Glass </a:t>
                      </a:r>
                      <a:r>
                        <a:rPr lang="de-AT" sz="1400" b="0" i="0" u="none" strike="noStrike" dirty="0" err="1">
                          <a:solidFill>
                            <a:srgbClr val="41474C"/>
                          </a:solidFill>
                          <a:effectLst/>
                          <a:latin typeface="Calibri"/>
                        </a:rPr>
                        <a:t>Packaging</a:t>
                      </a:r>
                      <a:r>
                        <a:rPr lang="de-AT" sz="1400" b="0" i="0" u="none" strike="noStrike" dirty="0">
                          <a:solidFill>
                            <a:srgbClr val="41474C"/>
                          </a:solidFill>
                          <a:effectLst/>
                          <a:latin typeface="Calibri"/>
                        </a:rPr>
                        <a:t> </a:t>
                      </a:r>
                      <a:r>
                        <a:rPr lang="de-AT" sz="1400" b="0" i="0" u="none" strike="noStrike" dirty="0" err="1">
                          <a:solidFill>
                            <a:srgbClr val="41474C"/>
                          </a:solidFill>
                          <a:effectLst/>
                          <a:latin typeface="Calibri"/>
                        </a:rPr>
                        <a:t>collected</a:t>
                      </a:r>
                      <a:r>
                        <a:rPr lang="de-AT" sz="1400" b="0" i="0" u="none" strike="noStrike" dirty="0">
                          <a:solidFill>
                            <a:srgbClr val="41474C"/>
                          </a:solidFill>
                          <a:effectLst/>
                          <a:latin typeface="Calibri"/>
                        </a:rPr>
                        <a:t> 2024:</a:t>
                      </a:r>
                    </a:p>
                  </a:txBody>
                  <a:tcPr marL="0" marR="0" marT="0" marB="0" anchor="ctr">
                    <a:noFill/>
                  </a:tcPr>
                </a:tc>
                <a:tc>
                  <a:txBody>
                    <a:bodyPr/>
                    <a:lstStyle/>
                    <a:p>
                      <a:pPr algn="l" rtl="0" fontAlgn="ctr"/>
                      <a:r>
                        <a:rPr lang="de-AT" sz="1400" b="1" i="0" u="none" strike="noStrike" dirty="0">
                          <a:solidFill>
                            <a:srgbClr val="41474C"/>
                          </a:solidFill>
                          <a:effectLst/>
                          <a:latin typeface="Calibri"/>
                        </a:rPr>
                        <a:t>251,000 t </a:t>
                      </a:r>
                      <a:r>
                        <a:rPr lang="de-AT" sz="1400" b="1" i="0" u="none" strike="noStrike" dirty="0" err="1">
                          <a:solidFill>
                            <a:srgbClr val="41474C"/>
                          </a:solidFill>
                          <a:effectLst/>
                          <a:latin typeface="Calibri"/>
                        </a:rPr>
                        <a:t>or</a:t>
                      </a:r>
                      <a:r>
                        <a:rPr lang="de-AT" sz="1400" b="1" i="0" u="none" strike="noStrike" dirty="0">
                          <a:solidFill>
                            <a:srgbClr val="41474C"/>
                          </a:solidFill>
                          <a:effectLst/>
                          <a:latin typeface="Calibri"/>
                        </a:rPr>
                        <a:t> 27,3 kg p.c.</a:t>
                      </a:r>
                    </a:p>
                  </a:txBody>
                  <a:tcPr marL="0" marR="0" marT="0" marB="0" anchor="ctr">
                    <a:noFill/>
                  </a:tcPr>
                </a:tc>
                <a:extLst>
                  <a:ext uri="{0D108BD9-81ED-4DB2-BD59-A6C34878D82A}">
                    <a16:rowId xmlns:a16="http://schemas.microsoft.com/office/drawing/2014/main" val="2642772161"/>
                  </a:ext>
                </a:extLst>
              </a:tr>
              <a:tr h="298728">
                <a:tc>
                  <a:txBody>
                    <a:bodyPr/>
                    <a:lstStyle/>
                    <a:p>
                      <a:pPr algn="l" rtl="0" fontAlgn="ctr"/>
                      <a:r>
                        <a:rPr lang="de-AT" sz="1400" b="0" i="0" u="none" strike="noStrike" dirty="0">
                          <a:solidFill>
                            <a:srgbClr val="41474C"/>
                          </a:solidFill>
                          <a:effectLst/>
                          <a:latin typeface="Calibri"/>
                        </a:rPr>
                        <a:t>Recycling </a:t>
                      </a:r>
                      <a:r>
                        <a:rPr lang="de-AT" sz="1400" b="0" i="0" u="none" strike="noStrike" dirty="0" err="1">
                          <a:solidFill>
                            <a:srgbClr val="41474C"/>
                          </a:solidFill>
                          <a:effectLst/>
                          <a:latin typeface="Calibri"/>
                        </a:rPr>
                        <a:t>Quota</a:t>
                      </a:r>
                      <a:r>
                        <a:rPr lang="de-AT" sz="1400" b="0" i="0" u="none" strike="noStrike" dirty="0">
                          <a:solidFill>
                            <a:srgbClr val="41474C"/>
                          </a:solidFill>
                          <a:effectLst/>
                          <a:latin typeface="Calibri"/>
                        </a:rPr>
                        <a:t> </a:t>
                      </a:r>
                      <a:r>
                        <a:rPr lang="de-AT" sz="1400" b="0" i="0" u="none" strike="noStrike" dirty="0" err="1">
                          <a:solidFill>
                            <a:srgbClr val="41474C"/>
                          </a:solidFill>
                          <a:effectLst/>
                          <a:latin typeface="Calibri"/>
                        </a:rPr>
                        <a:t>reached</a:t>
                      </a:r>
                      <a:r>
                        <a:rPr lang="de-AT" sz="1400" b="0" i="0" u="none" strike="noStrike" dirty="0">
                          <a:solidFill>
                            <a:srgbClr val="41474C"/>
                          </a:solidFill>
                          <a:effectLst/>
                          <a:latin typeface="Calibri"/>
                        </a:rPr>
                        <a:t>:</a:t>
                      </a:r>
                    </a:p>
                  </a:txBody>
                  <a:tcPr marL="0" marR="0" marT="0" marB="0" anchor="ctr">
                    <a:noFill/>
                  </a:tcPr>
                </a:tc>
                <a:tc>
                  <a:txBody>
                    <a:bodyPr/>
                    <a:lstStyle/>
                    <a:p>
                      <a:pPr algn="l" rtl="0" fontAlgn="ctr"/>
                      <a:r>
                        <a:rPr lang="de-AT" sz="1400" b="1" i="0" u="none" strike="noStrike" dirty="0">
                          <a:solidFill>
                            <a:srgbClr val="41474C"/>
                          </a:solidFill>
                          <a:effectLst/>
                          <a:latin typeface="Calibri"/>
                        </a:rPr>
                        <a:t>&gt; 85 %</a:t>
                      </a:r>
                    </a:p>
                  </a:txBody>
                  <a:tcPr marL="0" marR="0" marT="0" marB="0" anchor="ctr">
                    <a:noFill/>
                  </a:tcPr>
                </a:tc>
                <a:extLst>
                  <a:ext uri="{0D108BD9-81ED-4DB2-BD59-A6C34878D82A}">
                    <a16:rowId xmlns:a16="http://schemas.microsoft.com/office/drawing/2014/main" val="2710444918"/>
                  </a:ext>
                </a:extLst>
              </a:tr>
              <a:tr h="298728">
                <a:tc>
                  <a:txBody>
                    <a:bodyPr/>
                    <a:lstStyle/>
                    <a:p>
                      <a:pPr algn="l" rtl="0" fontAlgn="ctr"/>
                      <a:endParaRPr lang="de-AT" sz="1400" b="0" i="0" u="none" strike="noStrike" dirty="0">
                        <a:solidFill>
                          <a:srgbClr val="41474C"/>
                        </a:solidFill>
                        <a:effectLst/>
                        <a:latin typeface="Calibri"/>
                      </a:endParaRPr>
                    </a:p>
                  </a:txBody>
                  <a:tcPr marL="0" marR="0" marT="0" marB="0" anchor="ctr">
                    <a:noFill/>
                  </a:tcPr>
                </a:tc>
                <a:tc>
                  <a:txBody>
                    <a:bodyPr/>
                    <a:lstStyle/>
                    <a:p>
                      <a:pPr algn="l" rtl="0" fontAlgn="ctr"/>
                      <a:endParaRPr lang="de-AT" sz="1400" b="1" i="0" u="none" strike="noStrike" dirty="0">
                        <a:solidFill>
                          <a:srgbClr val="41474C"/>
                        </a:solidFill>
                        <a:effectLst/>
                        <a:latin typeface="Calibri"/>
                      </a:endParaRPr>
                    </a:p>
                  </a:txBody>
                  <a:tcPr marL="0" marR="0" marT="0" marB="0" anchor="ctr">
                    <a:noFill/>
                  </a:tcPr>
                </a:tc>
                <a:extLst>
                  <a:ext uri="{0D108BD9-81ED-4DB2-BD59-A6C34878D82A}">
                    <a16:rowId xmlns:a16="http://schemas.microsoft.com/office/drawing/2014/main" val="2537324037"/>
                  </a:ext>
                </a:extLst>
              </a:tr>
              <a:tr h="298728">
                <a:tc>
                  <a:txBody>
                    <a:bodyPr/>
                    <a:lstStyle/>
                    <a:p>
                      <a:pPr algn="l" rtl="0" fontAlgn="ctr"/>
                      <a:endParaRPr lang="de-AT" sz="1400" b="0" i="0" u="none" strike="noStrike" dirty="0">
                        <a:solidFill>
                          <a:srgbClr val="41474C"/>
                        </a:solidFill>
                        <a:effectLst/>
                        <a:latin typeface="Calibri"/>
                      </a:endParaRPr>
                    </a:p>
                  </a:txBody>
                  <a:tcPr marL="0" marR="0" marT="0" marB="0" anchor="ctr">
                    <a:noFill/>
                  </a:tcPr>
                </a:tc>
                <a:tc>
                  <a:txBody>
                    <a:bodyPr/>
                    <a:lstStyle/>
                    <a:p>
                      <a:pPr algn="l" rtl="0" fontAlgn="ctr"/>
                      <a:endParaRPr lang="de-AT" sz="1400" b="1" i="0" u="none" strike="noStrike" dirty="0">
                        <a:solidFill>
                          <a:srgbClr val="41474C"/>
                        </a:solidFill>
                        <a:effectLst/>
                        <a:latin typeface="Calibri"/>
                      </a:endParaRPr>
                    </a:p>
                  </a:txBody>
                  <a:tcPr marL="0" marR="0" marT="0" marB="0" anchor="ctr">
                    <a:noFill/>
                  </a:tcPr>
                </a:tc>
                <a:extLst>
                  <a:ext uri="{0D108BD9-81ED-4DB2-BD59-A6C34878D82A}">
                    <a16:rowId xmlns:a16="http://schemas.microsoft.com/office/drawing/2014/main" val="2300160579"/>
                  </a:ext>
                </a:extLst>
              </a:tr>
              <a:tr h="298728">
                <a:tc>
                  <a:txBody>
                    <a:bodyPr/>
                    <a:lstStyle/>
                    <a:p>
                      <a:pPr algn="l" rtl="0" fontAlgn="ctr"/>
                      <a:endParaRPr lang="de-AT" sz="1400" b="0" i="0" u="none" strike="noStrike" dirty="0">
                        <a:solidFill>
                          <a:srgbClr val="41474C"/>
                        </a:solidFill>
                        <a:effectLst/>
                        <a:latin typeface="Calibri"/>
                      </a:endParaRPr>
                    </a:p>
                  </a:txBody>
                  <a:tcPr marL="0" marR="0" marT="0" marB="0" anchor="ctr">
                    <a:noFill/>
                  </a:tcPr>
                </a:tc>
                <a:tc>
                  <a:txBody>
                    <a:bodyPr/>
                    <a:lstStyle/>
                    <a:p>
                      <a:pPr algn="l" rtl="0" fontAlgn="ctr"/>
                      <a:endParaRPr lang="de-AT" sz="1400" b="1" i="0" u="none" strike="noStrike" dirty="0">
                        <a:solidFill>
                          <a:srgbClr val="41474C"/>
                        </a:solidFill>
                        <a:effectLst/>
                        <a:latin typeface="Calibri"/>
                      </a:endParaRPr>
                    </a:p>
                  </a:txBody>
                  <a:tcPr marL="0" marR="0" marT="0" marB="0" anchor="ctr">
                    <a:noFill/>
                  </a:tcPr>
                </a:tc>
                <a:extLst>
                  <a:ext uri="{0D108BD9-81ED-4DB2-BD59-A6C34878D82A}">
                    <a16:rowId xmlns:a16="http://schemas.microsoft.com/office/drawing/2014/main" val="704975381"/>
                  </a:ext>
                </a:extLst>
              </a:tr>
            </a:tbl>
          </a:graphicData>
        </a:graphic>
      </p:graphicFrame>
      <p:sp>
        <p:nvSpPr>
          <p:cNvPr id="5" name="Inhaltsplatzhalter 2">
            <a:extLst>
              <a:ext uri="{FF2B5EF4-FFF2-40B4-BE49-F238E27FC236}">
                <a16:creationId xmlns:a16="http://schemas.microsoft.com/office/drawing/2014/main" id="{DF9D8639-392A-721D-5091-C309BC84BFD1}"/>
              </a:ext>
            </a:extLst>
          </p:cNvPr>
          <p:cNvSpPr txBox="1">
            <a:spLocks/>
          </p:cNvSpPr>
          <p:nvPr/>
        </p:nvSpPr>
        <p:spPr>
          <a:xfrm>
            <a:off x="520698" y="3081858"/>
            <a:ext cx="5950638" cy="1588633"/>
          </a:xfrm>
          <a:prstGeom prst="rect">
            <a:avLst/>
          </a:prstGeom>
        </p:spPr>
        <p:txBody>
          <a:bodyPr vert="horz" lIns="0" tIns="0" rIns="0" bIns="0" rtlCol="0">
            <a:noAutofit/>
          </a:bodyPr>
          <a:lstStyle>
            <a:lvl1pPr marL="176213" indent="-176213" algn="l" defTabSz="685800" rtl="0" eaLnBrk="1" latinLnBrk="0" hangingPunct="1">
              <a:lnSpc>
                <a:spcPct val="95000"/>
              </a:lnSpc>
              <a:spcBef>
                <a:spcPts val="1200"/>
              </a:spcBef>
              <a:spcAft>
                <a:spcPts val="0"/>
              </a:spcAft>
              <a:buFont typeface="Symbol" panose="05050102010706020507" pitchFamily="18" charset="2"/>
              <a:buChar char="-"/>
              <a:defRPr sz="1600" kern="1200">
                <a:solidFill>
                  <a:schemeClr val="tx1"/>
                </a:solidFill>
                <a:latin typeface="+mn-lt"/>
                <a:ea typeface="+mn-ea"/>
                <a:cs typeface="+mn-cs"/>
              </a:defRPr>
            </a:lvl1pPr>
            <a:lvl2pPr marL="360363" indent="-184150" algn="l" defTabSz="685800" rtl="0" eaLnBrk="1" latinLnBrk="0" hangingPunct="1">
              <a:lnSpc>
                <a:spcPct val="95000"/>
              </a:lnSpc>
              <a:spcBef>
                <a:spcPts val="600"/>
              </a:spcBef>
              <a:buFont typeface="Symbol" panose="05050102010706020507" pitchFamily="18" charset="2"/>
              <a:buChar char="-"/>
              <a:defRPr sz="1600" kern="1200">
                <a:solidFill>
                  <a:schemeClr val="tx1"/>
                </a:solidFill>
                <a:latin typeface="+mn-lt"/>
                <a:ea typeface="+mn-ea"/>
                <a:cs typeface="+mn-cs"/>
              </a:defRPr>
            </a:lvl2pPr>
            <a:lvl3pPr marL="536575" indent="-176213" algn="l" defTabSz="685800" rtl="0" eaLnBrk="1" latinLnBrk="0" hangingPunct="1">
              <a:lnSpc>
                <a:spcPct val="95000"/>
              </a:lnSpc>
              <a:spcBef>
                <a:spcPts val="600"/>
              </a:spcBef>
              <a:buFont typeface="Symbol" panose="05050102010706020507" pitchFamily="18" charset="2"/>
              <a:buChar char="-"/>
              <a:defRPr sz="1600" kern="1200">
                <a:solidFill>
                  <a:schemeClr val="tx1"/>
                </a:solidFill>
                <a:latin typeface="+mn-lt"/>
                <a:ea typeface="+mn-ea"/>
                <a:cs typeface="+mn-cs"/>
              </a:defRPr>
            </a:lvl3pPr>
            <a:lvl4pPr marL="719138" indent="-182563" algn="l" defTabSz="685800" rtl="0" eaLnBrk="1" latinLnBrk="0" hangingPunct="1">
              <a:lnSpc>
                <a:spcPct val="95000"/>
              </a:lnSpc>
              <a:spcBef>
                <a:spcPts val="600"/>
              </a:spcBef>
              <a:buFont typeface="Symbol" panose="05050102010706020507" pitchFamily="18" charset="2"/>
              <a:buChar char="-"/>
              <a:defRPr sz="1600" kern="1200">
                <a:solidFill>
                  <a:schemeClr val="tx1"/>
                </a:solidFill>
                <a:latin typeface="+mn-lt"/>
                <a:ea typeface="+mn-ea"/>
                <a:cs typeface="+mn-cs"/>
              </a:defRPr>
            </a:lvl4pPr>
            <a:lvl5pPr marL="895350" indent="-176213" algn="l" defTabSz="685800" rtl="0" eaLnBrk="1" latinLnBrk="0" hangingPunct="1">
              <a:lnSpc>
                <a:spcPct val="95000"/>
              </a:lnSpc>
              <a:spcBef>
                <a:spcPts val="600"/>
              </a:spcBef>
              <a:buFont typeface="Symbol" panose="05050102010706020507" pitchFamily="18" charset="2"/>
              <a:buChar char="-"/>
              <a:defRPr sz="16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Symbol" panose="05050102010706020507" pitchFamily="18" charset="2"/>
              <a:buNone/>
            </a:pPr>
            <a:r>
              <a:rPr lang="de-AT" dirty="0"/>
              <a:t>Focus </a:t>
            </a:r>
            <a:r>
              <a:rPr lang="de-AT" dirty="0" err="1"/>
              <a:t>of</a:t>
            </a:r>
            <a:r>
              <a:rPr lang="de-AT" dirty="0"/>
              <a:t> </a:t>
            </a:r>
            <a:r>
              <a:rPr lang="de-AT" dirty="0" err="1"/>
              <a:t>our</a:t>
            </a:r>
            <a:r>
              <a:rPr lang="de-AT" dirty="0"/>
              <a:t> </a:t>
            </a:r>
            <a:r>
              <a:rPr lang="de-AT" dirty="0" err="1"/>
              <a:t>tasks</a:t>
            </a:r>
            <a:r>
              <a:rPr lang="de-AT" dirty="0"/>
              <a:t>:</a:t>
            </a:r>
          </a:p>
          <a:p>
            <a:pPr marL="0" indent="0">
              <a:buFont typeface="Symbol" panose="05050102010706020507" pitchFamily="18" charset="2"/>
              <a:buNone/>
              <a:tabLst>
                <a:tab pos="269875" algn="l"/>
              </a:tabLst>
            </a:pPr>
            <a:r>
              <a:rPr lang="de-AT" dirty="0"/>
              <a:t>	</a:t>
            </a:r>
            <a:r>
              <a:rPr lang="de-AT" dirty="0" err="1"/>
              <a:t>Maintain</a:t>
            </a:r>
            <a:r>
              <a:rPr lang="de-AT" dirty="0"/>
              <a:t> and </a:t>
            </a:r>
            <a:r>
              <a:rPr lang="de-AT" dirty="0" err="1"/>
              <a:t>increase</a:t>
            </a:r>
            <a:r>
              <a:rPr lang="de-AT" dirty="0"/>
              <a:t> high </a:t>
            </a:r>
            <a:r>
              <a:rPr lang="de-AT" dirty="0" err="1"/>
              <a:t>standard</a:t>
            </a:r>
            <a:r>
              <a:rPr lang="de-AT" dirty="0"/>
              <a:t> in </a:t>
            </a:r>
            <a:r>
              <a:rPr lang="de-AT" dirty="0" err="1"/>
              <a:t>collection</a:t>
            </a:r>
            <a:r>
              <a:rPr lang="de-AT" dirty="0"/>
              <a:t> and </a:t>
            </a:r>
            <a:r>
              <a:rPr lang="de-AT" dirty="0" err="1"/>
              <a:t>recycling</a:t>
            </a:r>
            <a:endParaRPr lang="de-AT" dirty="0"/>
          </a:p>
          <a:p>
            <a:pPr marL="0" indent="0">
              <a:buFont typeface="Symbol" panose="05050102010706020507" pitchFamily="18" charset="2"/>
              <a:buNone/>
              <a:tabLst>
                <a:tab pos="269875" algn="l"/>
              </a:tabLst>
            </a:pPr>
            <a:r>
              <a:rPr lang="de-AT" dirty="0"/>
              <a:t>	</a:t>
            </a:r>
            <a:r>
              <a:rPr lang="de-AT" dirty="0" err="1"/>
              <a:t>Increase</a:t>
            </a:r>
            <a:r>
              <a:rPr lang="de-AT" dirty="0"/>
              <a:t> Efficiency</a:t>
            </a:r>
          </a:p>
          <a:p>
            <a:pPr marL="0" indent="0">
              <a:buFont typeface="Symbol" panose="05050102010706020507" pitchFamily="18" charset="2"/>
              <a:buNone/>
              <a:tabLst>
                <a:tab pos="269875" algn="l"/>
              </a:tabLst>
            </a:pPr>
            <a:r>
              <a:rPr lang="de-AT" dirty="0"/>
              <a:t>	</a:t>
            </a:r>
            <a:r>
              <a:rPr lang="de-AT" dirty="0" err="1"/>
              <a:t>Optimize</a:t>
            </a:r>
            <a:r>
              <a:rPr lang="de-AT" dirty="0"/>
              <a:t> </a:t>
            </a:r>
            <a:r>
              <a:rPr lang="de-AT" dirty="0" err="1"/>
              <a:t>costs</a:t>
            </a:r>
            <a:endParaRPr lang="de-AT" dirty="0"/>
          </a:p>
        </p:txBody>
      </p:sp>
      <p:sp>
        <p:nvSpPr>
          <p:cNvPr id="19460" name="Rectangle 2"/>
          <p:cNvSpPr>
            <a:spLocks noGrp="1" noChangeArrowheads="1"/>
          </p:cNvSpPr>
          <p:nvPr>
            <p:ph type="title"/>
            <p:custDataLst>
              <p:tags r:id="rId2"/>
            </p:custDataLst>
          </p:nvPr>
        </p:nvSpPr>
        <p:spPr/>
        <p:txBody>
          <a:bodyPr/>
          <a:lstStyle/>
          <a:p>
            <a:r>
              <a:rPr lang="de-AT" dirty="0"/>
              <a:t>Austria: </a:t>
            </a:r>
            <a:r>
              <a:rPr lang="de-AT" dirty="0" err="1"/>
              <a:t>Important</a:t>
            </a:r>
            <a:r>
              <a:rPr lang="de-AT" dirty="0"/>
              <a:t> Facts</a:t>
            </a:r>
          </a:p>
        </p:txBody>
      </p:sp>
      <p:grpSp>
        <p:nvGrpSpPr>
          <p:cNvPr id="62" name="Gruppieren 61">
            <a:extLst>
              <a:ext uri="{FF2B5EF4-FFF2-40B4-BE49-F238E27FC236}">
                <a16:creationId xmlns:a16="http://schemas.microsoft.com/office/drawing/2014/main" id="{4EBBE4BA-B0DA-4C02-B06E-6706710D2256}"/>
              </a:ext>
            </a:extLst>
          </p:cNvPr>
          <p:cNvGrpSpPr/>
          <p:nvPr/>
        </p:nvGrpSpPr>
        <p:grpSpPr>
          <a:xfrm>
            <a:off x="5506872" y="696036"/>
            <a:ext cx="3414909" cy="3788011"/>
            <a:chOff x="5415688" y="818823"/>
            <a:chExt cx="3385412" cy="3475655"/>
          </a:xfrm>
        </p:grpSpPr>
        <p:sp>
          <p:nvSpPr>
            <p:cNvPr id="64" name="ee4p_AL_1_86241">
              <a:extLst>
                <a:ext uri="{FF2B5EF4-FFF2-40B4-BE49-F238E27FC236}">
                  <a16:creationId xmlns:a16="http://schemas.microsoft.com/office/drawing/2014/main" id="{A74F3E0B-80FF-4D17-B5CD-4FFC0087F35E}"/>
                </a:ext>
              </a:extLst>
            </p:cNvPr>
            <p:cNvSpPr>
              <a:spLocks noChangeAspect="1"/>
            </p:cNvSpPr>
            <p:nvPr>
              <p:custDataLst>
                <p:tags r:id="rId3"/>
              </p:custDataLst>
            </p:nvPr>
          </p:nvSpPr>
          <p:spPr>
            <a:xfrm>
              <a:off x="7404029" y="3674795"/>
              <a:ext cx="117303" cy="245394"/>
            </a:xfrm>
            <a:custGeom>
              <a:avLst/>
              <a:gdLst/>
              <a:ahLst/>
              <a:cxnLst/>
              <a:rect l="0" t="0" r="0" b="0"/>
              <a:pathLst>
                <a:path w="38706" h="78890">
                  <a:moveTo>
                    <a:pt x="17320" y="2687"/>
                  </a:moveTo>
                  <a:lnTo>
                    <a:pt x="18195" y="3291"/>
                  </a:lnTo>
                  <a:lnTo>
                    <a:pt x="20013" y="5925"/>
                  </a:lnTo>
                  <a:lnTo>
                    <a:pt x="21225" y="8240"/>
                  </a:lnTo>
                  <a:lnTo>
                    <a:pt x="23606" y="9044"/>
                  </a:lnTo>
                  <a:lnTo>
                    <a:pt x="24935" y="9945"/>
                  </a:lnTo>
                  <a:lnTo>
                    <a:pt x="26640" y="11317"/>
                  </a:lnTo>
                  <a:lnTo>
                    <a:pt x="27467" y="12697"/>
                  </a:lnTo>
                  <a:lnTo>
                    <a:pt x="28629" y="16906"/>
                  </a:lnTo>
                  <a:lnTo>
                    <a:pt x="28763" y="19445"/>
                  </a:lnTo>
                  <a:lnTo>
                    <a:pt x="28426" y="20605"/>
                  </a:lnTo>
                  <a:lnTo>
                    <a:pt x="28137" y="20905"/>
                  </a:lnTo>
                  <a:lnTo>
                    <a:pt x="27077" y="25035"/>
                  </a:lnTo>
                  <a:lnTo>
                    <a:pt x="27330" y="27137"/>
                  </a:lnTo>
                  <a:lnTo>
                    <a:pt x="27321" y="28520"/>
                  </a:lnTo>
                  <a:lnTo>
                    <a:pt x="26423" y="29066"/>
                  </a:lnTo>
                  <a:lnTo>
                    <a:pt x="25827" y="29934"/>
                  </a:lnTo>
                  <a:lnTo>
                    <a:pt x="26794" y="33365"/>
                  </a:lnTo>
                  <a:lnTo>
                    <a:pt x="26675" y="34825"/>
                  </a:lnTo>
                  <a:lnTo>
                    <a:pt x="26718" y="36499"/>
                  </a:lnTo>
                  <a:lnTo>
                    <a:pt x="28463" y="40315"/>
                  </a:lnTo>
                  <a:lnTo>
                    <a:pt x="29493" y="41494"/>
                  </a:lnTo>
                  <a:lnTo>
                    <a:pt x="30413" y="42057"/>
                  </a:lnTo>
                  <a:lnTo>
                    <a:pt x="31590" y="45563"/>
                  </a:lnTo>
                  <a:lnTo>
                    <a:pt x="32287" y="46170"/>
                  </a:lnTo>
                  <a:lnTo>
                    <a:pt x="35148" y="45838"/>
                  </a:lnTo>
                  <a:lnTo>
                    <a:pt x="36548" y="46227"/>
                  </a:lnTo>
                  <a:lnTo>
                    <a:pt x="37103" y="47057"/>
                  </a:lnTo>
                  <a:lnTo>
                    <a:pt x="37228" y="47625"/>
                  </a:lnTo>
                  <a:lnTo>
                    <a:pt x="37040" y="49585"/>
                  </a:lnTo>
                  <a:lnTo>
                    <a:pt x="37751" y="51094"/>
                  </a:lnTo>
                  <a:lnTo>
                    <a:pt x="38705" y="52646"/>
                  </a:lnTo>
                  <a:lnTo>
                    <a:pt x="38701" y="53594"/>
                  </a:lnTo>
                  <a:lnTo>
                    <a:pt x="38061" y="55143"/>
                  </a:lnTo>
                  <a:lnTo>
                    <a:pt x="36917" y="56950"/>
                  </a:lnTo>
                  <a:lnTo>
                    <a:pt x="35401" y="57643"/>
                  </a:lnTo>
                  <a:lnTo>
                    <a:pt x="33730" y="58231"/>
                  </a:lnTo>
                  <a:lnTo>
                    <a:pt x="32933" y="59633"/>
                  </a:lnTo>
                  <a:lnTo>
                    <a:pt x="32527" y="61123"/>
                  </a:lnTo>
                  <a:lnTo>
                    <a:pt x="31780" y="62228"/>
                  </a:lnTo>
                  <a:lnTo>
                    <a:pt x="31318" y="63438"/>
                  </a:lnTo>
                  <a:lnTo>
                    <a:pt x="30610" y="65909"/>
                  </a:lnTo>
                  <a:lnTo>
                    <a:pt x="30443" y="66807"/>
                  </a:lnTo>
                  <a:lnTo>
                    <a:pt x="29312" y="67713"/>
                  </a:lnTo>
                  <a:lnTo>
                    <a:pt x="27561" y="68082"/>
                  </a:lnTo>
                  <a:lnTo>
                    <a:pt x="25990" y="68159"/>
                  </a:lnTo>
                  <a:lnTo>
                    <a:pt x="24928" y="68579"/>
                  </a:lnTo>
                  <a:lnTo>
                    <a:pt x="24391" y="69421"/>
                  </a:lnTo>
                  <a:lnTo>
                    <a:pt x="23391" y="70102"/>
                  </a:lnTo>
                  <a:lnTo>
                    <a:pt x="22786" y="70405"/>
                  </a:lnTo>
                  <a:lnTo>
                    <a:pt x="22790" y="71152"/>
                  </a:lnTo>
                  <a:lnTo>
                    <a:pt x="23518" y="72719"/>
                  </a:lnTo>
                  <a:lnTo>
                    <a:pt x="24345" y="73991"/>
                  </a:lnTo>
                  <a:lnTo>
                    <a:pt x="24362" y="75011"/>
                  </a:lnTo>
                  <a:lnTo>
                    <a:pt x="23956" y="75294"/>
                  </a:lnTo>
                  <a:lnTo>
                    <a:pt x="22676" y="75166"/>
                  </a:lnTo>
                  <a:lnTo>
                    <a:pt x="22404" y="75542"/>
                  </a:lnTo>
                  <a:lnTo>
                    <a:pt x="22265" y="76677"/>
                  </a:lnTo>
                  <a:lnTo>
                    <a:pt x="21922" y="77650"/>
                  </a:lnTo>
                  <a:lnTo>
                    <a:pt x="21395" y="78243"/>
                  </a:lnTo>
                  <a:lnTo>
                    <a:pt x="20480" y="78889"/>
                  </a:lnTo>
                  <a:lnTo>
                    <a:pt x="18804" y="78679"/>
                  </a:lnTo>
                  <a:lnTo>
                    <a:pt x="17228" y="77704"/>
                  </a:lnTo>
                  <a:lnTo>
                    <a:pt x="16405" y="77403"/>
                  </a:lnTo>
                  <a:lnTo>
                    <a:pt x="15934" y="77436"/>
                  </a:lnTo>
                  <a:lnTo>
                    <a:pt x="15809" y="75052"/>
                  </a:lnTo>
                  <a:lnTo>
                    <a:pt x="15129" y="73197"/>
                  </a:lnTo>
                  <a:lnTo>
                    <a:pt x="12630" y="68733"/>
                  </a:lnTo>
                  <a:lnTo>
                    <a:pt x="4509" y="64389"/>
                  </a:lnTo>
                  <a:lnTo>
                    <a:pt x="2598" y="62432"/>
                  </a:lnTo>
                  <a:lnTo>
                    <a:pt x="1758" y="60789"/>
                  </a:lnTo>
                  <a:lnTo>
                    <a:pt x="920" y="59236"/>
                  </a:lnTo>
                  <a:lnTo>
                    <a:pt x="1723" y="59192"/>
                  </a:lnTo>
                  <a:lnTo>
                    <a:pt x="2518" y="59586"/>
                  </a:lnTo>
                  <a:lnTo>
                    <a:pt x="3535" y="60057"/>
                  </a:lnTo>
                  <a:lnTo>
                    <a:pt x="3948" y="59280"/>
                  </a:lnTo>
                  <a:lnTo>
                    <a:pt x="3507" y="57582"/>
                  </a:lnTo>
                  <a:lnTo>
                    <a:pt x="1414" y="53604"/>
                  </a:lnTo>
                  <a:lnTo>
                    <a:pt x="1257" y="52510"/>
                  </a:lnTo>
                  <a:lnTo>
                    <a:pt x="2283" y="49180"/>
                  </a:lnTo>
                  <a:lnTo>
                    <a:pt x="3993" y="45434"/>
                  </a:lnTo>
                  <a:lnTo>
                    <a:pt x="3879" y="40888"/>
                  </a:lnTo>
                  <a:lnTo>
                    <a:pt x="4410" y="37455"/>
                  </a:lnTo>
                  <a:lnTo>
                    <a:pt x="3820" y="35223"/>
                  </a:lnTo>
                  <a:lnTo>
                    <a:pt x="3537" y="32484"/>
                  </a:lnTo>
                  <a:lnTo>
                    <a:pt x="4792" y="28839"/>
                  </a:lnTo>
                  <a:lnTo>
                    <a:pt x="5863" y="27937"/>
                  </a:lnTo>
                  <a:lnTo>
                    <a:pt x="6524" y="26783"/>
                  </a:lnTo>
                  <a:lnTo>
                    <a:pt x="6565" y="22889"/>
                  </a:lnTo>
                  <a:lnTo>
                    <a:pt x="4148" y="21070"/>
                  </a:lnTo>
                  <a:lnTo>
                    <a:pt x="1365" y="20727"/>
                  </a:lnTo>
                  <a:lnTo>
                    <a:pt x="1434" y="19407"/>
                  </a:lnTo>
                  <a:lnTo>
                    <a:pt x="1780" y="17313"/>
                  </a:lnTo>
                  <a:lnTo>
                    <a:pt x="1581" y="16615"/>
                  </a:lnTo>
                  <a:lnTo>
                    <a:pt x="1786" y="15418"/>
                  </a:lnTo>
                  <a:lnTo>
                    <a:pt x="1110" y="13819"/>
                  </a:lnTo>
                  <a:lnTo>
                    <a:pt x="0" y="12669"/>
                  </a:lnTo>
                  <a:lnTo>
                    <a:pt x="1069" y="10628"/>
                  </a:lnTo>
                  <a:lnTo>
                    <a:pt x="2630" y="8162"/>
                  </a:lnTo>
                  <a:lnTo>
                    <a:pt x="4079" y="6205"/>
                  </a:lnTo>
                  <a:lnTo>
                    <a:pt x="5835" y="4163"/>
                  </a:lnTo>
                  <a:lnTo>
                    <a:pt x="7005" y="2203"/>
                  </a:lnTo>
                  <a:lnTo>
                    <a:pt x="8266" y="517"/>
                  </a:lnTo>
                  <a:lnTo>
                    <a:pt x="9348" y="0"/>
                  </a:lnTo>
                  <a:lnTo>
                    <a:pt x="9888" y="358"/>
                  </a:lnTo>
                  <a:lnTo>
                    <a:pt x="10173" y="1095"/>
                  </a:lnTo>
                  <a:lnTo>
                    <a:pt x="10108" y="3278"/>
                  </a:lnTo>
                  <a:lnTo>
                    <a:pt x="10477" y="4030"/>
                  </a:lnTo>
                  <a:lnTo>
                    <a:pt x="11225" y="4584"/>
                  </a:lnTo>
                  <a:lnTo>
                    <a:pt x="12805" y="4313"/>
                  </a:lnTo>
                  <a:lnTo>
                    <a:pt x="14559" y="3770"/>
                  </a:lnTo>
                  <a:lnTo>
                    <a:pt x="16917" y="2617"/>
                  </a:lnTo>
                  <a:close/>
                </a:path>
              </a:pathLst>
            </a:custGeom>
            <a:solidFill>
              <a:srgbClr val="C7CDD0"/>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AT" sz="1600" err="1">
                <a:solidFill>
                  <a:schemeClr val="tx1"/>
                </a:solidFill>
                <a:latin typeface="Calibri" panose="020F0502020204030204" pitchFamily="34" charset="0"/>
                <a:cs typeface="Calibri" panose="020F0502020204030204" pitchFamily="34" charset="0"/>
              </a:endParaRPr>
            </a:p>
          </p:txBody>
        </p:sp>
        <p:sp>
          <p:nvSpPr>
            <p:cNvPr id="65" name="ee4p_AD_1_86241">
              <a:extLst>
                <a:ext uri="{FF2B5EF4-FFF2-40B4-BE49-F238E27FC236}">
                  <a16:creationId xmlns:a16="http://schemas.microsoft.com/office/drawing/2014/main" id="{62421A0B-535F-4DDC-B5BD-0A8A1D643BFE}"/>
                </a:ext>
              </a:extLst>
            </p:cNvPr>
            <p:cNvSpPr>
              <a:spLocks noChangeAspect="1"/>
            </p:cNvSpPr>
            <p:nvPr>
              <p:custDataLst>
                <p:tags r:id="rId4"/>
              </p:custDataLst>
            </p:nvPr>
          </p:nvSpPr>
          <p:spPr>
            <a:xfrm>
              <a:off x="6206782" y="3675228"/>
              <a:ext cx="21809" cy="17289"/>
            </a:xfrm>
            <a:custGeom>
              <a:avLst/>
              <a:gdLst/>
              <a:ahLst/>
              <a:cxnLst/>
              <a:rect l="0" t="0" r="0" b="0"/>
              <a:pathLst>
                <a:path w="7196" h="5558">
                  <a:moveTo>
                    <a:pt x="6440" y="3721"/>
                  </a:moveTo>
                  <a:lnTo>
                    <a:pt x="5830" y="3898"/>
                  </a:lnTo>
                  <a:lnTo>
                    <a:pt x="3794" y="4984"/>
                  </a:lnTo>
                  <a:lnTo>
                    <a:pt x="2637" y="5364"/>
                  </a:lnTo>
                  <a:lnTo>
                    <a:pt x="1579" y="5557"/>
                  </a:lnTo>
                  <a:lnTo>
                    <a:pt x="752" y="5477"/>
                  </a:lnTo>
                  <a:lnTo>
                    <a:pt x="294" y="4841"/>
                  </a:lnTo>
                  <a:lnTo>
                    <a:pt x="342" y="3867"/>
                  </a:lnTo>
                  <a:lnTo>
                    <a:pt x="158" y="2988"/>
                  </a:lnTo>
                  <a:lnTo>
                    <a:pt x="0" y="2519"/>
                  </a:lnTo>
                  <a:lnTo>
                    <a:pt x="298" y="1250"/>
                  </a:lnTo>
                  <a:lnTo>
                    <a:pt x="974" y="562"/>
                  </a:lnTo>
                  <a:lnTo>
                    <a:pt x="1914" y="0"/>
                  </a:lnTo>
                  <a:lnTo>
                    <a:pt x="3391" y="206"/>
                  </a:lnTo>
                  <a:lnTo>
                    <a:pt x="6524" y="1023"/>
                  </a:lnTo>
                  <a:lnTo>
                    <a:pt x="7178" y="1784"/>
                  </a:lnTo>
                  <a:lnTo>
                    <a:pt x="7195" y="2296"/>
                  </a:lnTo>
                  <a:lnTo>
                    <a:pt x="6614" y="3126"/>
                  </a:lnTo>
                  <a:close/>
                </a:path>
              </a:pathLst>
            </a:custGeom>
            <a:solidFill>
              <a:srgbClr val="C7CDD0"/>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AT" sz="1600" err="1">
                <a:solidFill>
                  <a:schemeClr val="tx1"/>
                </a:solidFill>
                <a:latin typeface="Calibri" panose="020F0502020204030204" pitchFamily="34" charset="0"/>
                <a:cs typeface="Calibri" panose="020F0502020204030204" pitchFamily="34" charset="0"/>
              </a:endParaRPr>
            </a:p>
          </p:txBody>
        </p:sp>
        <p:sp>
          <p:nvSpPr>
            <p:cNvPr id="66" name="ee4p_AT_1_86241">
              <a:extLst>
                <a:ext uri="{FF2B5EF4-FFF2-40B4-BE49-F238E27FC236}">
                  <a16:creationId xmlns:a16="http://schemas.microsoft.com/office/drawing/2014/main" id="{F139DEB5-EBB5-4D91-8663-671362852FDB}"/>
                </a:ext>
              </a:extLst>
            </p:cNvPr>
            <p:cNvSpPr>
              <a:spLocks noChangeAspect="1"/>
            </p:cNvSpPr>
            <p:nvPr>
              <p:custDataLst>
                <p:tags r:id="rId5"/>
              </p:custDataLst>
            </p:nvPr>
          </p:nvSpPr>
          <p:spPr>
            <a:xfrm>
              <a:off x="6750204" y="3129687"/>
              <a:ext cx="510867" cy="227593"/>
            </a:xfrm>
            <a:custGeom>
              <a:avLst/>
              <a:gdLst/>
              <a:ahLst/>
              <a:cxnLst/>
              <a:rect l="0" t="0" r="0" b="0"/>
              <a:pathLst>
                <a:path w="168569" h="73167">
                  <a:moveTo>
                    <a:pt x="164274" y="11453"/>
                  </a:moveTo>
                  <a:lnTo>
                    <a:pt x="164178" y="11744"/>
                  </a:lnTo>
                  <a:lnTo>
                    <a:pt x="164057" y="12813"/>
                  </a:lnTo>
                  <a:lnTo>
                    <a:pt x="163198" y="14159"/>
                  </a:lnTo>
                  <a:lnTo>
                    <a:pt x="162274" y="15920"/>
                  </a:lnTo>
                  <a:lnTo>
                    <a:pt x="162334" y="17465"/>
                  </a:lnTo>
                  <a:lnTo>
                    <a:pt x="164705" y="22810"/>
                  </a:lnTo>
                  <a:lnTo>
                    <a:pt x="166811" y="26055"/>
                  </a:lnTo>
                  <a:lnTo>
                    <a:pt x="167210" y="27289"/>
                  </a:lnTo>
                  <a:lnTo>
                    <a:pt x="168568" y="28237"/>
                  </a:lnTo>
                  <a:lnTo>
                    <a:pt x="167279" y="29431"/>
                  </a:lnTo>
                  <a:lnTo>
                    <a:pt x="167029" y="31200"/>
                  </a:lnTo>
                  <a:lnTo>
                    <a:pt x="166193" y="31987"/>
                  </a:lnTo>
                  <a:lnTo>
                    <a:pt x="165975" y="32997"/>
                  </a:lnTo>
                  <a:lnTo>
                    <a:pt x="166325" y="33914"/>
                  </a:lnTo>
                  <a:lnTo>
                    <a:pt x="166318" y="35062"/>
                  </a:lnTo>
                  <a:lnTo>
                    <a:pt x="166783" y="36643"/>
                  </a:lnTo>
                  <a:lnTo>
                    <a:pt x="164722" y="36987"/>
                  </a:lnTo>
                  <a:lnTo>
                    <a:pt x="162274" y="36933"/>
                  </a:lnTo>
                  <a:lnTo>
                    <a:pt x="161397" y="37025"/>
                  </a:lnTo>
                  <a:lnTo>
                    <a:pt x="160576" y="37456"/>
                  </a:lnTo>
                  <a:lnTo>
                    <a:pt x="159728" y="37242"/>
                  </a:lnTo>
                  <a:lnTo>
                    <a:pt x="157515" y="35758"/>
                  </a:lnTo>
                  <a:lnTo>
                    <a:pt x="156264" y="35434"/>
                  </a:lnTo>
                  <a:lnTo>
                    <a:pt x="155381" y="35524"/>
                  </a:lnTo>
                  <a:lnTo>
                    <a:pt x="154720" y="36168"/>
                  </a:lnTo>
                  <a:lnTo>
                    <a:pt x="153582" y="36994"/>
                  </a:lnTo>
                  <a:lnTo>
                    <a:pt x="152513" y="37574"/>
                  </a:lnTo>
                  <a:lnTo>
                    <a:pt x="152753" y="38084"/>
                  </a:lnTo>
                  <a:lnTo>
                    <a:pt x="157344" y="39417"/>
                  </a:lnTo>
                  <a:lnTo>
                    <a:pt x="158158" y="41463"/>
                  </a:lnTo>
                  <a:lnTo>
                    <a:pt x="157275" y="43130"/>
                  </a:lnTo>
                  <a:lnTo>
                    <a:pt x="156975" y="43945"/>
                  </a:lnTo>
                  <a:lnTo>
                    <a:pt x="155899" y="44587"/>
                  </a:lnTo>
                  <a:lnTo>
                    <a:pt x="154580" y="45151"/>
                  </a:lnTo>
                  <a:lnTo>
                    <a:pt x="152991" y="45292"/>
                  </a:lnTo>
                  <a:lnTo>
                    <a:pt x="152803" y="46191"/>
                  </a:lnTo>
                  <a:lnTo>
                    <a:pt x="153427" y="48832"/>
                  </a:lnTo>
                  <a:lnTo>
                    <a:pt x="152922" y="49403"/>
                  </a:lnTo>
                  <a:lnTo>
                    <a:pt x="152416" y="50223"/>
                  </a:lnTo>
                  <a:lnTo>
                    <a:pt x="152891" y="52391"/>
                  </a:lnTo>
                  <a:lnTo>
                    <a:pt x="153874" y="52545"/>
                  </a:lnTo>
                  <a:lnTo>
                    <a:pt x="154092" y="53041"/>
                  </a:lnTo>
                  <a:lnTo>
                    <a:pt x="153917" y="53918"/>
                  </a:lnTo>
                  <a:lnTo>
                    <a:pt x="153744" y="54851"/>
                  </a:lnTo>
                  <a:lnTo>
                    <a:pt x="153397" y="55839"/>
                  </a:lnTo>
                  <a:lnTo>
                    <a:pt x="153224" y="56277"/>
                  </a:lnTo>
                  <a:lnTo>
                    <a:pt x="152572" y="56551"/>
                  </a:lnTo>
                  <a:lnTo>
                    <a:pt x="150535" y="56405"/>
                  </a:lnTo>
                  <a:lnTo>
                    <a:pt x="148782" y="57250"/>
                  </a:lnTo>
                  <a:lnTo>
                    <a:pt x="145256" y="60279"/>
                  </a:lnTo>
                  <a:lnTo>
                    <a:pt x="144021" y="60793"/>
                  </a:lnTo>
                  <a:lnTo>
                    <a:pt x="142686" y="62004"/>
                  </a:lnTo>
                  <a:lnTo>
                    <a:pt x="142766" y="64663"/>
                  </a:lnTo>
                  <a:lnTo>
                    <a:pt x="142585" y="64903"/>
                  </a:lnTo>
                  <a:lnTo>
                    <a:pt x="142261" y="65448"/>
                  </a:lnTo>
                  <a:lnTo>
                    <a:pt x="138043" y="64512"/>
                  </a:lnTo>
                  <a:lnTo>
                    <a:pt x="137896" y="64527"/>
                  </a:lnTo>
                  <a:lnTo>
                    <a:pt x="135074" y="64869"/>
                  </a:lnTo>
                  <a:lnTo>
                    <a:pt x="133144" y="66087"/>
                  </a:lnTo>
                  <a:lnTo>
                    <a:pt x="130798" y="66782"/>
                  </a:lnTo>
                  <a:lnTo>
                    <a:pt x="125884" y="66412"/>
                  </a:lnTo>
                  <a:lnTo>
                    <a:pt x="121101" y="66884"/>
                  </a:lnTo>
                  <a:lnTo>
                    <a:pt x="119967" y="67238"/>
                  </a:lnTo>
                  <a:lnTo>
                    <a:pt x="118726" y="67442"/>
                  </a:lnTo>
                  <a:lnTo>
                    <a:pt x="117562" y="68149"/>
                  </a:lnTo>
                  <a:lnTo>
                    <a:pt x="116897" y="69146"/>
                  </a:lnTo>
                  <a:lnTo>
                    <a:pt x="115707" y="70408"/>
                  </a:lnTo>
                  <a:lnTo>
                    <a:pt x="114014" y="71399"/>
                  </a:lnTo>
                  <a:lnTo>
                    <a:pt x="112174" y="72157"/>
                  </a:lnTo>
                  <a:lnTo>
                    <a:pt x="111736" y="72799"/>
                  </a:lnTo>
                  <a:lnTo>
                    <a:pt x="111131" y="73166"/>
                  </a:lnTo>
                  <a:lnTo>
                    <a:pt x="110107" y="72686"/>
                  </a:lnTo>
                  <a:lnTo>
                    <a:pt x="109276" y="72711"/>
                  </a:lnTo>
                  <a:lnTo>
                    <a:pt x="108259" y="72384"/>
                  </a:lnTo>
                  <a:lnTo>
                    <a:pt x="104884" y="72029"/>
                  </a:lnTo>
                  <a:lnTo>
                    <a:pt x="101174" y="71441"/>
                  </a:lnTo>
                  <a:lnTo>
                    <a:pt x="99408" y="70878"/>
                  </a:lnTo>
                  <a:lnTo>
                    <a:pt x="97399" y="70434"/>
                  </a:lnTo>
                  <a:lnTo>
                    <a:pt x="95244" y="70072"/>
                  </a:lnTo>
                  <a:lnTo>
                    <a:pt x="93312" y="69987"/>
                  </a:lnTo>
                  <a:lnTo>
                    <a:pt x="92340" y="69821"/>
                  </a:lnTo>
                  <a:lnTo>
                    <a:pt x="87697" y="68841"/>
                  </a:lnTo>
                  <a:lnTo>
                    <a:pt x="84635" y="68775"/>
                  </a:lnTo>
                  <a:lnTo>
                    <a:pt x="80593" y="68366"/>
                  </a:lnTo>
                  <a:lnTo>
                    <a:pt x="72562" y="66887"/>
                  </a:lnTo>
                  <a:lnTo>
                    <a:pt x="70223" y="66287"/>
                  </a:lnTo>
                  <a:lnTo>
                    <a:pt x="67986" y="66102"/>
                  </a:lnTo>
                  <a:lnTo>
                    <a:pt x="65345" y="65590"/>
                  </a:lnTo>
                  <a:lnTo>
                    <a:pt x="63335" y="64752"/>
                  </a:lnTo>
                  <a:lnTo>
                    <a:pt x="62048" y="63161"/>
                  </a:lnTo>
                  <a:lnTo>
                    <a:pt x="60675" y="61043"/>
                  </a:lnTo>
                  <a:lnTo>
                    <a:pt x="58157" y="58273"/>
                  </a:lnTo>
                  <a:lnTo>
                    <a:pt x="57641" y="56892"/>
                  </a:lnTo>
                  <a:lnTo>
                    <a:pt x="58409" y="55680"/>
                  </a:lnTo>
                  <a:lnTo>
                    <a:pt x="59200" y="54766"/>
                  </a:lnTo>
                  <a:lnTo>
                    <a:pt x="59109" y="54372"/>
                  </a:lnTo>
                  <a:lnTo>
                    <a:pt x="58496" y="54173"/>
                  </a:lnTo>
                  <a:lnTo>
                    <a:pt x="54076" y="55358"/>
                  </a:lnTo>
                  <a:lnTo>
                    <a:pt x="49789" y="56855"/>
                  </a:lnTo>
                  <a:lnTo>
                    <a:pt x="48103" y="56894"/>
                  </a:lnTo>
                  <a:lnTo>
                    <a:pt x="46468" y="56562"/>
                  </a:lnTo>
                  <a:lnTo>
                    <a:pt x="44302" y="56539"/>
                  </a:lnTo>
                  <a:lnTo>
                    <a:pt x="42216" y="56939"/>
                  </a:lnTo>
                  <a:lnTo>
                    <a:pt x="38042" y="57145"/>
                  </a:lnTo>
                  <a:lnTo>
                    <a:pt x="35598" y="58247"/>
                  </a:lnTo>
                  <a:lnTo>
                    <a:pt x="34041" y="60395"/>
                  </a:lnTo>
                  <a:lnTo>
                    <a:pt x="33192" y="62127"/>
                  </a:lnTo>
                  <a:lnTo>
                    <a:pt x="32488" y="62683"/>
                  </a:lnTo>
                  <a:lnTo>
                    <a:pt x="31031" y="62892"/>
                  </a:lnTo>
                  <a:lnTo>
                    <a:pt x="28854" y="62732"/>
                  </a:lnTo>
                  <a:lnTo>
                    <a:pt x="27325" y="62229"/>
                  </a:lnTo>
                  <a:lnTo>
                    <a:pt x="25766" y="60750"/>
                  </a:lnTo>
                  <a:lnTo>
                    <a:pt x="23345" y="60546"/>
                  </a:lnTo>
                  <a:lnTo>
                    <a:pt x="21126" y="60507"/>
                  </a:lnTo>
                  <a:lnTo>
                    <a:pt x="20538" y="60233"/>
                  </a:lnTo>
                  <a:lnTo>
                    <a:pt x="20577" y="59272"/>
                  </a:lnTo>
                  <a:lnTo>
                    <a:pt x="19700" y="57459"/>
                  </a:lnTo>
                  <a:lnTo>
                    <a:pt x="18251" y="56892"/>
                  </a:lnTo>
                  <a:lnTo>
                    <a:pt x="14501" y="60305"/>
                  </a:lnTo>
                  <a:lnTo>
                    <a:pt x="13477" y="60607"/>
                  </a:lnTo>
                  <a:lnTo>
                    <a:pt x="10456" y="59664"/>
                  </a:lnTo>
                  <a:lnTo>
                    <a:pt x="7821" y="58205"/>
                  </a:lnTo>
                  <a:lnTo>
                    <a:pt x="7532" y="57137"/>
                  </a:lnTo>
                  <a:lnTo>
                    <a:pt x="7104" y="56261"/>
                  </a:lnTo>
                  <a:lnTo>
                    <a:pt x="4887" y="55431"/>
                  </a:lnTo>
                  <a:lnTo>
                    <a:pt x="2121" y="54862"/>
                  </a:lnTo>
                  <a:lnTo>
                    <a:pt x="1244" y="54865"/>
                  </a:lnTo>
                  <a:lnTo>
                    <a:pt x="1585" y="54349"/>
                  </a:lnTo>
                  <a:lnTo>
                    <a:pt x="1913" y="53475"/>
                  </a:lnTo>
                  <a:lnTo>
                    <a:pt x="1706" y="52778"/>
                  </a:lnTo>
                  <a:lnTo>
                    <a:pt x="1058" y="52056"/>
                  </a:lnTo>
                  <a:lnTo>
                    <a:pt x="702" y="51284"/>
                  </a:lnTo>
                  <a:lnTo>
                    <a:pt x="598" y="50535"/>
                  </a:lnTo>
                  <a:lnTo>
                    <a:pt x="402" y="49924"/>
                  </a:lnTo>
                  <a:lnTo>
                    <a:pt x="283" y="49350"/>
                  </a:lnTo>
                  <a:lnTo>
                    <a:pt x="78" y="48899"/>
                  </a:lnTo>
                  <a:lnTo>
                    <a:pt x="1881" y="45509"/>
                  </a:lnTo>
                  <a:lnTo>
                    <a:pt x="2252" y="43399"/>
                  </a:lnTo>
                  <a:lnTo>
                    <a:pt x="672" y="42162"/>
                  </a:lnTo>
                  <a:lnTo>
                    <a:pt x="0" y="41794"/>
                  </a:lnTo>
                  <a:lnTo>
                    <a:pt x="551" y="41519"/>
                  </a:lnTo>
                  <a:lnTo>
                    <a:pt x="2799" y="41748"/>
                  </a:lnTo>
                  <a:lnTo>
                    <a:pt x="4226" y="41048"/>
                  </a:lnTo>
                  <a:lnTo>
                    <a:pt x="4973" y="40354"/>
                  </a:lnTo>
                  <a:lnTo>
                    <a:pt x="6968" y="41006"/>
                  </a:lnTo>
                  <a:lnTo>
                    <a:pt x="9897" y="42325"/>
                  </a:lnTo>
                  <a:lnTo>
                    <a:pt x="11279" y="43215"/>
                  </a:lnTo>
                  <a:lnTo>
                    <a:pt x="11849" y="43903"/>
                  </a:lnTo>
                  <a:lnTo>
                    <a:pt x="12166" y="44479"/>
                  </a:lnTo>
                  <a:lnTo>
                    <a:pt x="11991" y="45465"/>
                  </a:lnTo>
                  <a:lnTo>
                    <a:pt x="12658" y="45851"/>
                  </a:lnTo>
                  <a:lnTo>
                    <a:pt x="14036" y="46000"/>
                  </a:lnTo>
                  <a:lnTo>
                    <a:pt x="14954" y="46304"/>
                  </a:lnTo>
                  <a:lnTo>
                    <a:pt x="14632" y="47599"/>
                  </a:lnTo>
                  <a:lnTo>
                    <a:pt x="14572" y="48673"/>
                  </a:lnTo>
                  <a:lnTo>
                    <a:pt x="15846" y="48524"/>
                  </a:lnTo>
                  <a:lnTo>
                    <a:pt x="17441" y="47704"/>
                  </a:lnTo>
                  <a:lnTo>
                    <a:pt x="18687" y="46230"/>
                  </a:lnTo>
                  <a:lnTo>
                    <a:pt x="19456" y="44802"/>
                  </a:lnTo>
                  <a:lnTo>
                    <a:pt x="20042" y="41321"/>
                  </a:lnTo>
                  <a:lnTo>
                    <a:pt x="20242" y="41027"/>
                  </a:lnTo>
                  <a:lnTo>
                    <a:pt x="21201" y="41301"/>
                  </a:lnTo>
                  <a:lnTo>
                    <a:pt x="25090" y="41149"/>
                  </a:lnTo>
                  <a:lnTo>
                    <a:pt x="26923" y="41797"/>
                  </a:lnTo>
                  <a:lnTo>
                    <a:pt x="29830" y="41907"/>
                  </a:lnTo>
                  <a:lnTo>
                    <a:pt x="29776" y="42452"/>
                  </a:lnTo>
                  <a:lnTo>
                    <a:pt x="30292" y="43303"/>
                  </a:lnTo>
                  <a:lnTo>
                    <a:pt x="31579" y="44530"/>
                  </a:lnTo>
                  <a:lnTo>
                    <a:pt x="32214" y="45331"/>
                  </a:lnTo>
                  <a:lnTo>
                    <a:pt x="33566" y="45471"/>
                  </a:lnTo>
                  <a:lnTo>
                    <a:pt x="35645" y="45030"/>
                  </a:lnTo>
                  <a:lnTo>
                    <a:pt x="36865" y="44572"/>
                  </a:lnTo>
                  <a:lnTo>
                    <a:pt x="37323" y="44897"/>
                  </a:lnTo>
                  <a:lnTo>
                    <a:pt x="39225" y="44580"/>
                  </a:lnTo>
                  <a:lnTo>
                    <a:pt x="40910" y="43589"/>
                  </a:lnTo>
                  <a:lnTo>
                    <a:pt x="41326" y="42834"/>
                  </a:lnTo>
                  <a:lnTo>
                    <a:pt x="43028" y="42303"/>
                  </a:lnTo>
                  <a:lnTo>
                    <a:pt x="45328" y="41078"/>
                  </a:lnTo>
                  <a:lnTo>
                    <a:pt x="48487" y="40130"/>
                  </a:lnTo>
                  <a:lnTo>
                    <a:pt x="58854" y="39118"/>
                  </a:lnTo>
                  <a:lnTo>
                    <a:pt x="59256" y="38353"/>
                  </a:lnTo>
                  <a:lnTo>
                    <a:pt x="59102" y="36600"/>
                  </a:lnTo>
                  <a:lnTo>
                    <a:pt x="59377" y="36342"/>
                  </a:lnTo>
                  <a:lnTo>
                    <a:pt x="60683" y="36779"/>
                  </a:lnTo>
                  <a:lnTo>
                    <a:pt x="62780" y="37188"/>
                  </a:lnTo>
                  <a:lnTo>
                    <a:pt x="64385" y="37808"/>
                  </a:lnTo>
                  <a:lnTo>
                    <a:pt x="65428" y="38618"/>
                  </a:lnTo>
                  <a:lnTo>
                    <a:pt x="66393" y="38651"/>
                  </a:lnTo>
                  <a:lnTo>
                    <a:pt x="67889" y="38084"/>
                  </a:lnTo>
                  <a:lnTo>
                    <a:pt x="69915" y="37718"/>
                  </a:lnTo>
                  <a:lnTo>
                    <a:pt x="71806" y="38559"/>
                  </a:lnTo>
                  <a:lnTo>
                    <a:pt x="72355" y="39469"/>
                  </a:lnTo>
                  <a:lnTo>
                    <a:pt x="72022" y="39935"/>
                  </a:lnTo>
                  <a:lnTo>
                    <a:pt x="72059" y="40673"/>
                  </a:lnTo>
                  <a:lnTo>
                    <a:pt x="72646" y="41290"/>
                  </a:lnTo>
                  <a:lnTo>
                    <a:pt x="74184" y="42293"/>
                  </a:lnTo>
                  <a:lnTo>
                    <a:pt x="76155" y="43156"/>
                  </a:lnTo>
                  <a:lnTo>
                    <a:pt x="77179" y="43089"/>
                  </a:lnTo>
                  <a:lnTo>
                    <a:pt x="77559" y="42249"/>
                  </a:lnTo>
                  <a:lnTo>
                    <a:pt x="77922" y="40252"/>
                  </a:lnTo>
                  <a:lnTo>
                    <a:pt x="78058" y="38117"/>
                  </a:lnTo>
                  <a:lnTo>
                    <a:pt x="77604" y="36891"/>
                  </a:lnTo>
                  <a:lnTo>
                    <a:pt x="76542" y="36591"/>
                  </a:lnTo>
                  <a:lnTo>
                    <a:pt x="75272" y="36494"/>
                  </a:lnTo>
                  <a:lnTo>
                    <a:pt x="74598" y="36241"/>
                  </a:lnTo>
                  <a:lnTo>
                    <a:pt x="74834" y="35567"/>
                  </a:lnTo>
                  <a:lnTo>
                    <a:pt x="75849" y="33823"/>
                  </a:lnTo>
                  <a:lnTo>
                    <a:pt x="75834" y="31489"/>
                  </a:lnTo>
                  <a:lnTo>
                    <a:pt x="73542" y="28834"/>
                  </a:lnTo>
                  <a:lnTo>
                    <a:pt x="71556" y="26261"/>
                  </a:lnTo>
                  <a:lnTo>
                    <a:pt x="71562" y="25385"/>
                  </a:lnTo>
                  <a:lnTo>
                    <a:pt x="72754" y="23863"/>
                  </a:lnTo>
                  <a:lnTo>
                    <a:pt x="74594" y="22651"/>
                  </a:lnTo>
                  <a:lnTo>
                    <a:pt x="78678" y="20632"/>
                  </a:lnTo>
                  <a:lnTo>
                    <a:pt x="79967" y="20211"/>
                  </a:lnTo>
                  <a:lnTo>
                    <a:pt x="81621" y="19873"/>
                  </a:lnTo>
                  <a:lnTo>
                    <a:pt x="84000" y="19042"/>
                  </a:lnTo>
                  <a:lnTo>
                    <a:pt x="85145" y="18188"/>
                  </a:lnTo>
                  <a:lnTo>
                    <a:pt x="85914" y="17260"/>
                  </a:lnTo>
                  <a:lnTo>
                    <a:pt x="87030" y="12426"/>
                  </a:lnTo>
                  <a:lnTo>
                    <a:pt x="87291" y="12220"/>
                  </a:lnTo>
                  <a:lnTo>
                    <a:pt x="87622" y="11935"/>
                  </a:lnTo>
                  <a:lnTo>
                    <a:pt x="91792" y="13604"/>
                  </a:lnTo>
                  <a:lnTo>
                    <a:pt x="92167" y="13328"/>
                  </a:lnTo>
                  <a:lnTo>
                    <a:pt x="92869" y="13056"/>
                  </a:lnTo>
                  <a:lnTo>
                    <a:pt x="94227" y="11776"/>
                  </a:lnTo>
                  <a:lnTo>
                    <a:pt x="94525" y="10803"/>
                  </a:lnTo>
                  <a:lnTo>
                    <a:pt x="94495" y="8963"/>
                  </a:lnTo>
                  <a:lnTo>
                    <a:pt x="94616" y="7226"/>
                  </a:lnTo>
                  <a:lnTo>
                    <a:pt x="94877" y="6673"/>
                  </a:lnTo>
                  <a:lnTo>
                    <a:pt x="95506" y="6874"/>
                  </a:lnTo>
                  <a:lnTo>
                    <a:pt x="97300" y="7780"/>
                  </a:lnTo>
                  <a:lnTo>
                    <a:pt x="98725" y="8792"/>
                  </a:lnTo>
                  <a:lnTo>
                    <a:pt x="100060" y="11349"/>
                  </a:lnTo>
                  <a:lnTo>
                    <a:pt x="103171" y="12028"/>
                  </a:lnTo>
                  <a:lnTo>
                    <a:pt x="107101" y="12095"/>
                  </a:lnTo>
                  <a:lnTo>
                    <a:pt x="108505" y="10957"/>
                  </a:lnTo>
                  <a:lnTo>
                    <a:pt x="109779" y="10694"/>
                  </a:lnTo>
                  <a:lnTo>
                    <a:pt x="111222" y="11041"/>
                  </a:lnTo>
                  <a:lnTo>
                    <a:pt x="114260" y="11441"/>
                  </a:lnTo>
                  <a:lnTo>
                    <a:pt x="114599" y="9376"/>
                  </a:lnTo>
                  <a:lnTo>
                    <a:pt x="116352" y="7230"/>
                  </a:lnTo>
                  <a:lnTo>
                    <a:pt x="117147" y="6472"/>
                  </a:lnTo>
                  <a:lnTo>
                    <a:pt x="119373" y="6546"/>
                  </a:lnTo>
                  <a:lnTo>
                    <a:pt x="119922" y="4942"/>
                  </a:lnTo>
                  <a:lnTo>
                    <a:pt x="120470" y="490"/>
                  </a:lnTo>
                  <a:lnTo>
                    <a:pt x="120941" y="0"/>
                  </a:lnTo>
                  <a:lnTo>
                    <a:pt x="122563" y="93"/>
                  </a:lnTo>
                  <a:lnTo>
                    <a:pt x="124176" y="906"/>
                  </a:lnTo>
                  <a:lnTo>
                    <a:pt x="124662" y="1564"/>
                  </a:lnTo>
                  <a:lnTo>
                    <a:pt x="125500" y="1511"/>
                  </a:lnTo>
                  <a:lnTo>
                    <a:pt x="126674" y="1063"/>
                  </a:lnTo>
                  <a:lnTo>
                    <a:pt x="127961" y="773"/>
                  </a:lnTo>
                  <a:lnTo>
                    <a:pt x="129995" y="1248"/>
                  </a:lnTo>
                  <a:lnTo>
                    <a:pt x="134340" y="3272"/>
                  </a:lnTo>
                  <a:lnTo>
                    <a:pt x="136581" y="4010"/>
                  </a:lnTo>
                  <a:lnTo>
                    <a:pt x="138002" y="3869"/>
                  </a:lnTo>
                  <a:lnTo>
                    <a:pt x="139332" y="3896"/>
                  </a:lnTo>
                  <a:lnTo>
                    <a:pt x="144463" y="7019"/>
                  </a:lnTo>
                  <a:lnTo>
                    <a:pt x="148048" y="7456"/>
                  </a:lnTo>
                  <a:lnTo>
                    <a:pt x="151319" y="7469"/>
                  </a:lnTo>
                  <a:lnTo>
                    <a:pt x="152371" y="6527"/>
                  </a:lnTo>
                  <a:lnTo>
                    <a:pt x="153766" y="5729"/>
                  </a:lnTo>
                  <a:lnTo>
                    <a:pt x="155217" y="5839"/>
                  </a:lnTo>
                  <a:lnTo>
                    <a:pt x="156486" y="6248"/>
                  </a:lnTo>
                  <a:lnTo>
                    <a:pt x="158957" y="7604"/>
                  </a:lnTo>
                  <a:lnTo>
                    <a:pt x="160101" y="7951"/>
                  </a:lnTo>
                  <a:lnTo>
                    <a:pt x="161622" y="8170"/>
                  </a:lnTo>
                  <a:lnTo>
                    <a:pt x="162738" y="8472"/>
                  </a:lnTo>
                  <a:lnTo>
                    <a:pt x="163725" y="10826"/>
                  </a:lnTo>
                  <a:close/>
                </a:path>
              </a:pathLst>
            </a:custGeom>
            <a:solidFill>
              <a:schemeClr val="accent1"/>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AT" sz="1600" err="1">
                <a:solidFill>
                  <a:schemeClr val="tx1"/>
                </a:solidFill>
                <a:latin typeface="Calibri" panose="020F0502020204030204" pitchFamily="34" charset="0"/>
                <a:cs typeface="Calibri" panose="020F0502020204030204" pitchFamily="34" charset="0"/>
              </a:endParaRPr>
            </a:p>
          </p:txBody>
        </p:sp>
        <p:sp>
          <p:nvSpPr>
            <p:cNvPr id="67" name="ee4p_BE_1_86241">
              <a:extLst>
                <a:ext uri="{FF2B5EF4-FFF2-40B4-BE49-F238E27FC236}">
                  <a16:creationId xmlns:a16="http://schemas.microsoft.com/office/drawing/2014/main" id="{9356D6CE-2A1A-43D0-B199-69B530F06E5A}"/>
                </a:ext>
              </a:extLst>
            </p:cNvPr>
            <p:cNvSpPr>
              <a:spLocks noChangeAspect="1"/>
            </p:cNvSpPr>
            <p:nvPr>
              <p:custDataLst>
                <p:tags r:id="rId6"/>
              </p:custDataLst>
            </p:nvPr>
          </p:nvSpPr>
          <p:spPr>
            <a:xfrm>
              <a:off x="6281171" y="2905438"/>
              <a:ext cx="257305" cy="178874"/>
            </a:xfrm>
            <a:custGeom>
              <a:avLst/>
              <a:gdLst/>
              <a:ahLst/>
              <a:cxnLst/>
              <a:rect l="0" t="0" r="0" b="0"/>
              <a:pathLst>
                <a:path w="84902" h="57505">
                  <a:moveTo>
                    <a:pt x="50661" y="1713"/>
                  </a:moveTo>
                  <a:lnTo>
                    <a:pt x="50765" y="2322"/>
                  </a:lnTo>
                  <a:lnTo>
                    <a:pt x="51370" y="2580"/>
                  </a:lnTo>
                  <a:lnTo>
                    <a:pt x="53490" y="2448"/>
                  </a:lnTo>
                  <a:lnTo>
                    <a:pt x="54566" y="1344"/>
                  </a:lnTo>
                  <a:lnTo>
                    <a:pt x="55414" y="647"/>
                  </a:lnTo>
                  <a:lnTo>
                    <a:pt x="56045" y="1116"/>
                  </a:lnTo>
                  <a:lnTo>
                    <a:pt x="56353" y="2475"/>
                  </a:lnTo>
                  <a:lnTo>
                    <a:pt x="56939" y="4246"/>
                  </a:lnTo>
                  <a:lnTo>
                    <a:pt x="59465" y="6226"/>
                  </a:lnTo>
                  <a:lnTo>
                    <a:pt x="61603" y="6790"/>
                  </a:lnTo>
                  <a:lnTo>
                    <a:pt x="64233" y="6401"/>
                  </a:lnTo>
                  <a:lnTo>
                    <a:pt x="65274" y="6048"/>
                  </a:lnTo>
                  <a:lnTo>
                    <a:pt x="65980" y="6342"/>
                  </a:lnTo>
                  <a:lnTo>
                    <a:pt x="66680" y="7388"/>
                  </a:lnTo>
                  <a:lnTo>
                    <a:pt x="68191" y="8585"/>
                  </a:lnTo>
                  <a:lnTo>
                    <a:pt x="71365" y="9433"/>
                  </a:lnTo>
                  <a:lnTo>
                    <a:pt x="72342" y="9913"/>
                  </a:lnTo>
                  <a:lnTo>
                    <a:pt x="73019" y="10716"/>
                  </a:lnTo>
                  <a:lnTo>
                    <a:pt x="72823" y="11863"/>
                  </a:lnTo>
                  <a:lnTo>
                    <a:pt x="71309" y="14717"/>
                  </a:lnTo>
                  <a:lnTo>
                    <a:pt x="71111" y="15559"/>
                  </a:lnTo>
                  <a:lnTo>
                    <a:pt x="71314" y="15842"/>
                  </a:lnTo>
                  <a:lnTo>
                    <a:pt x="71018" y="16370"/>
                  </a:lnTo>
                  <a:lnTo>
                    <a:pt x="69048" y="18281"/>
                  </a:lnTo>
                  <a:lnTo>
                    <a:pt x="68869" y="18953"/>
                  </a:lnTo>
                  <a:lnTo>
                    <a:pt x="69525" y="20050"/>
                  </a:lnTo>
                  <a:lnTo>
                    <a:pt x="70065" y="20959"/>
                  </a:lnTo>
                  <a:lnTo>
                    <a:pt x="70087" y="20776"/>
                  </a:lnTo>
                  <a:lnTo>
                    <a:pt x="73104" y="19957"/>
                  </a:lnTo>
                  <a:lnTo>
                    <a:pt x="74464" y="21606"/>
                  </a:lnTo>
                  <a:lnTo>
                    <a:pt x="76708" y="21667"/>
                  </a:lnTo>
                  <a:lnTo>
                    <a:pt x="76973" y="22198"/>
                  </a:lnTo>
                  <a:lnTo>
                    <a:pt x="79483" y="23740"/>
                  </a:lnTo>
                  <a:lnTo>
                    <a:pt x="80258" y="24961"/>
                  </a:lnTo>
                  <a:lnTo>
                    <a:pt x="82059" y="26141"/>
                  </a:lnTo>
                  <a:lnTo>
                    <a:pt x="80567" y="27633"/>
                  </a:lnTo>
                  <a:lnTo>
                    <a:pt x="80793" y="28296"/>
                  </a:lnTo>
                  <a:lnTo>
                    <a:pt x="81331" y="28975"/>
                  </a:lnTo>
                  <a:lnTo>
                    <a:pt x="83363" y="29371"/>
                  </a:lnTo>
                  <a:lnTo>
                    <a:pt x="84380" y="30350"/>
                  </a:lnTo>
                  <a:lnTo>
                    <a:pt x="84440" y="31845"/>
                  </a:lnTo>
                  <a:lnTo>
                    <a:pt x="84901" y="34282"/>
                  </a:lnTo>
                  <a:lnTo>
                    <a:pt x="80714" y="36700"/>
                  </a:lnTo>
                  <a:lnTo>
                    <a:pt x="79524" y="39399"/>
                  </a:lnTo>
                  <a:lnTo>
                    <a:pt x="79418" y="39930"/>
                  </a:lnTo>
                  <a:lnTo>
                    <a:pt x="79275" y="39850"/>
                  </a:lnTo>
                  <a:lnTo>
                    <a:pt x="78811" y="38959"/>
                  </a:lnTo>
                  <a:lnTo>
                    <a:pt x="78053" y="38967"/>
                  </a:lnTo>
                  <a:lnTo>
                    <a:pt x="76317" y="38595"/>
                  </a:lnTo>
                  <a:lnTo>
                    <a:pt x="73898" y="41034"/>
                  </a:lnTo>
                  <a:lnTo>
                    <a:pt x="72804" y="43059"/>
                  </a:lnTo>
                  <a:lnTo>
                    <a:pt x="72156" y="44544"/>
                  </a:lnTo>
                  <a:lnTo>
                    <a:pt x="71182" y="45744"/>
                  </a:lnTo>
                  <a:lnTo>
                    <a:pt x="70987" y="47012"/>
                  </a:lnTo>
                  <a:lnTo>
                    <a:pt x="71111" y="47544"/>
                  </a:lnTo>
                  <a:lnTo>
                    <a:pt x="70778" y="48231"/>
                  </a:lnTo>
                  <a:lnTo>
                    <a:pt x="70761" y="48953"/>
                  </a:lnTo>
                  <a:lnTo>
                    <a:pt x="72154" y="50375"/>
                  </a:lnTo>
                  <a:lnTo>
                    <a:pt x="72501" y="51144"/>
                  </a:lnTo>
                  <a:lnTo>
                    <a:pt x="74197" y="53658"/>
                  </a:lnTo>
                  <a:lnTo>
                    <a:pt x="73669" y="54575"/>
                  </a:lnTo>
                  <a:lnTo>
                    <a:pt x="73250" y="55567"/>
                  </a:lnTo>
                  <a:lnTo>
                    <a:pt x="72761" y="56271"/>
                  </a:lnTo>
                  <a:lnTo>
                    <a:pt x="72192" y="56717"/>
                  </a:lnTo>
                  <a:lnTo>
                    <a:pt x="70439" y="56690"/>
                  </a:lnTo>
                  <a:lnTo>
                    <a:pt x="68219" y="57006"/>
                  </a:lnTo>
                  <a:lnTo>
                    <a:pt x="66723" y="57499"/>
                  </a:lnTo>
                  <a:lnTo>
                    <a:pt x="65947" y="57504"/>
                  </a:lnTo>
                  <a:lnTo>
                    <a:pt x="64341" y="56252"/>
                  </a:lnTo>
                  <a:lnTo>
                    <a:pt x="62546" y="54375"/>
                  </a:lnTo>
                  <a:lnTo>
                    <a:pt x="61406" y="53479"/>
                  </a:lnTo>
                  <a:lnTo>
                    <a:pt x="60895" y="52705"/>
                  </a:lnTo>
                  <a:lnTo>
                    <a:pt x="59485" y="52379"/>
                  </a:lnTo>
                  <a:lnTo>
                    <a:pt x="57474" y="51452"/>
                  </a:lnTo>
                  <a:lnTo>
                    <a:pt x="56079" y="50443"/>
                  </a:lnTo>
                  <a:lnTo>
                    <a:pt x="54883" y="49815"/>
                  </a:lnTo>
                  <a:lnTo>
                    <a:pt x="53194" y="49501"/>
                  </a:lnTo>
                  <a:lnTo>
                    <a:pt x="51801" y="49533"/>
                  </a:lnTo>
                  <a:lnTo>
                    <a:pt x="51393" y="47834"/>
                  </a:lnTo>
                  <a:lnTo>
                    <a:pt x="51225" y="45892"/>
                  </a:lnTo>
                  <a:lnTo>
                    <a:pt x="50087" y="44592"/>
                  </a:lnTo>
                  <a:lnTo>
                    <a:pt x="51646" y="39500"/>
                  </a:lnTo>
                  <a:lnTo>
                    <a:pt x="50720" y="39000"/>
                  </a:lnTo>
                  <a:lnTo>
                    <a:pt x="49707" y="39408"/>
                  </a:lnTo>
                  <a:lnTo>
                    <a:pt x="48243" y="40622"/>
                  </a:lnTo>
                  <a:lnTo>
                    <a:pt x="47545" y="42072"/>
                  </a:lnTo>
                  <a:lnTo>
                    <a:pt x="47126" y="43355"/>
                  </a:lnTo>
                  <a:lnTo>
                    <a:pt x="44669" y="44572"/>
                  </a:lnTo>
                  <a:lnTo>
                    <a:pt x="40771" y="45013"/>
                  </a:lnTo>
                  <a:lnTo>
                    <a:pt x="36511" y="44572"/>
                  </a:lnTo>
                  <a:lnTo>
                    <a:pt x="35919" y="44245"/>
                  </a:lnTo>
                  <a:lnTo>
                    <a:pt x="35647" y="43873"/>
                  </a:lnTo>
                  <a:lnTo>
                    <a:pt x="35643" y="43425"/>
                  </a:lnTo>
                  <a:lnTo>
                    <a:pt x="35941" y="42736"/>
                  </a:lnTo>
                  <a:lnTo>
                    <a:pt x="36684" y="41900"/>
                  </a:lnTo>
                  <a:lnTo>
                    <a:pt x="36867" y="40706"/>
                  </a:lnTo>
                  <a:lnTo>
                    <a:pt x="36105" y="39673"/>
                  </a:lnTo>
                  <a:lnTo>
                    <a:pt x="35608" y="39271"/>
                  </a:lnTo>
                  <a:lnTo>
                    <a:pt x="35805" y="38270"/>
                  </a:lnTo>
                  <a:lnTo>
                    <a:pt x="36368" y="37015"/>
                  </a:lnTo>
                  <a:lnTo>
                    <a:pt x="36478" y="36300"/>
                  </a:lnTo>
                  <a:lnTo>
                    <a:pt x="33594" y="34132"/>
                  </a:lnTo>
                  <a:lnTo>
                    <a:pt x="31505" y="33709"/>
                  </a:lnTo>
                  <a:lnTo>
                    <a:pt x="29480" y="33633"/>
                  </a:lnTo>
                  <a:lnTo>
                    <a:pt x="27942" y="33389"/>
                  </a:lnTo>
                  <a:lnTo>
                    <a:pt x="27046" y="33490"/>
                  </a:lnTo>
                  <a:lnTo>
                    <a:pt x="26401" y="34122"/>
                  </a:lnTo>
                  <a:lnTo>
                    <a:pt x="25748" y="34575"/>
                  </a:lnTo>
                  <a:lnTo>
                    <a:pt x="25260" y="34032"/>
                  </a:lnTo>
                  <a:lnTo>
                    <a:pt x="24364" y="30189"/>
                  </a:lnTo>
                  <a:lnTo>
                    <a:pt x="23671" y="29608"/>
                  </a:lnTo>
                  <a:lnTo>
                    <a:pt x="21052" y="28966"/>
                  </a:lnTo>
                  <a:lnTo>
                    <a:pt x="17497" y="28736"/>
                  </a:lnTo>
                  <a:lnTo>
                    <a:pt x="16549" y="28034"/>
                  </a:lnTo>
                  <a:lnTo>
                    <a:pt x="16029" y="26302"/>
                  </a:lnTo>
                  <a:lnTo>
                    <a:pt x="15701" y="24214"/>
                  </a:lnTo>
                  <a:lnTo>
                    <a:pt x="14530" y="22213"/>
                  </a:lnTo>
                  <a:lnTo>
                    <a:pt x="13930" y="21712"/>
                  </a:lnTo>
                  <a:lnTo>
                    <a:pt x="12868" y="20823"/>
                  </a:lnTo>
                  <a:lnTo>
                    <a:pt x="11010" y="21188"/>
                  </a:lnTo>
                  <a:lnTo>
                    <a:pt x="8780" y="22348"/>
                  </a:lnTo>
                  <a:lnTo>
                    <a:pt x="7463" y="22670"/>
                  </a:lnTo>
                  <a:lnTo>
                    <a:pt x="6962" y="22793"/>
                  </a:lnTo>
                  <a:lnTo>
                    <a:pt x="5184" y="21662"/>
                  </a:lnTo>
                  <a:lnTo>
                    <a:pt x="3189" y="19891"/>
                  </a:lnTo>
                  <a:lnTo>
                    <a:pt x="1589" y="18010"/>
                  </a:lnTo>
                  <a:lnTo>
                    <a:pt x="1203" y="16965"/>
                  </a:lnTo>
                  <a:lnTo>
                    <a:pt x="1693" y="15695"/>
                  </a:lnTo>
                  <a:lnTo>
                    <a:pt x="1103" y="14722"/>
                  </a:lnTo>
                  <a:lnTo>
                    <a:pt x="246" y="12942"/>
                  </a:lnTo>
                  <a:lnTo>
                    <a:pt x="0" y="11550"/>
                  </a:lnTo>
                  <a:lnTo>
                    <a:pt x="9624" y="6623"/>
                  </a:lnTo>
                  <a:lnTo>
                    <a:pt x="15485" y="4096"/>
                  </a:lnTo>
                  <a:lnTo>
                    <a:pt x="18247" y="3331"/>
                  </a:lnTo>
                  <a:lnTo>
                    <a:pt x="18910" y="5870"/>
                  </a:lnTo>
                  <a:lnTo>
                    <a:pt x="19413" y="6676"/>
                  </a:lnTo>
                  <a:lnTo>
                    <a:pt x="20069" y="7199"/>
                  </a:lnTo>
                  <a:lnTo>
                    <a:pt x="20942" y="7302"/>
                  </a:lnTo>
                  <a:lnTo>
                    <a:pt x="21939" y="6676"/>
                  </a:lnTo>
                  <a:lnTo>
                    <a:pt x="23336" y="6015"/>
                  </a:lnTo>
                  <a:lnTo>
                    <a:pt x="25582" y="6322"/>
                  </a:lnTo>
                  <a:lnTo>
                    <a:pt x="27215" y="6933"/>
                  </a:lnTo>
                  <a:lnTo>
                    <a:pt x="27795" y="7567"/>
                  </a:lnTo>
                  <a:lnTo>
                    <a:pt x="28875" y="8171"/>
                  </a:lnTo>
                  <a:lnTo>
                    <a:pt x="30452" y="8315"/>
                  </a:lnTo>
                  <a:lnTo>
                    <a:pt x="33503" y="7161"/>
                  </a:lnTo>
                  <a:lnTo>
                    <a:pt x="36433" y="5402"/>
                  </a:lnTo>
                  <a:lnTo>
                    <a:pt x="37293" y="4180"/>
                  </a:lnTo>
                  <a:lnTo>
                    <a:pt x="37619" y="3073"/>
                  </a:lnTo>
                  <a:lnTo>
                    <a:pt x="39351" y="3805"/>
                  </a:lnTo>
                  <a:lnTo>
                    <a:pt x="40881" y="3967"/>
                  </a:lnTo>
                  <a:lnTo>
                    <a:pt x="41551" y="3642"/>
                  </a:lnTo>
                  <a:lnTo>
                    <a:pt x="41125" y="1866"/>
                  </a:lnTo>
                  <a:lnTo>
                    <a:pt x="42367" y="920"/>
                  </a:lnTo>
                  <a:lnTo>
                    <a:pt x="43749" y="482"/>
                  </a:lnTo>
                  <a:lnTo>
                    <a:pt x="44373" y="1250"/>
                  </a:lnTo>
                  <a:lnTo>
                    <a:pt x="45636" y="2033"/>
                  </a:lnTo>
                  <a:lnTo>
                    <a:pt x="46636" y="2038"/>
                  </a:lnTo>
                  <a:lnTo>
                    <a:pt x="49327" y="0"/>
                  </a:lnTo>
                  <a:lnTo>
                    <a:pt x="49957" y="403"/>
                  </a:lnTo>
                  <a:lnTo>
                    <a:pt x="50540" y="1128"/>
                  </a:lnTo>
                  <a:close/>
                </a:path>
              </a:pathLst>
            </a:custGeom>
            <a:solidFill>
              <a:srgbClr val="C7CDD0"/>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AT" sz="1600" err="1">
                <a:solidFill>
                  <a:schemeClr val="tx1"/>
                </a:solidFill>
                <a:latin typeface="Calibri" panose="020F0502020204030204" pitchFamily="34" charset="0"/>
                <a:cs typeface="Calibri" panose="020F0502020204030204" pitchFamily="34" charset="0"/>
              </a:endParaRPr>
            </a:p>
          </p:txBody>
        </p:sp>
        <p:sp>
          <p:nvSpPr>
            <p:cNvPr id="68" name="ee4p_BG_1_86241">
              <a:extLst>
                <a:ext uri="{FF2B5EF4-FFF2-40B4-BE49-F238E27FC236}">
                  <a16:creationId xmlns:a16="http://schemas.microsoft.com/office/drawing/2014/main" id="{AA8DC63B-FD90-4AA7-8088-AD7FCB30E26E}"/>
                </a:ext>
              </a:extLst>
            </p:cNvPr>
            <p:cNvSpPr>
              <a:spLocks noChangeAspect="1"/>
            </p:cNvSpPr>
            <p:nvPr>
              <p:custDataLst>
                <p:tags r:id="rId7"/>
              </p:custDataLst>
            </p:nvPr>
          </p:nvSpPr>
          <p:spPr>
            <a:xfrm>
              <a:off x="7609317" y="3541694"/>
              <a:ext cx="418255" cy="249024"/>
            </a:xfrm>
            <a:custGeom>
              <a:avLst/>
              <a:gdLst/>
              <a:ahLst/>
              <a:cxnLst/>
              <a:rect l="0" t="0" r="0" b="0"/>
              <a:pathLst>
                <a:path w="138010" h="80057">
                  <a:moveTo>
                    <a:pt x="138009" y="13408"/>
                  </a:moveTo>
                  <a:lnTo>
                    <a:pt x="137488" y="19904"/>
                  </a:lnTo>
                  <a:lnTo>
                    <a:pt x="135357" y="22918"/>
                  </a:lnTo>
                  <a:lnTo>
                    <a:pt x="132133" y="21908"/>
                  </a:lnTo>
                  <a:lnTo>
                    <a:pt x="128021" y="22749"/>
                  </a:lnTo>
                  <a:lnTo>
                    <a:pt x="125843" y="26172"/>
                  </a:lnTo>
                  <a:lnTo>
                    <a:pt x="124607" y="27186"/>
                  </a:lnTo>
                  <a:lnTo>
                    <a:pt x="123493" y="28378"/>
                  </a:lnTo>
                  <a:lnTo>
                    <a:pt x="122776" y="32816"/>
                  </a:lnTo>
                  <a:lnTo>
                    <a:pt x="122608" y="40070"/>
                  </a:lnTo>
                  <a:lnTo>
                    <a:pt x="121049" y="40954"/>
                  </a:lnTo>
                  <a:lnTo>
                    <a:pt x="119619" y="41224"/>
                  </a:lnTo>
                  <a:lnTo>
                    <a:pt x="113672" y="47590"/>
                  </a:lnTo>
                  <a:lnTo>
                    <a:pt x="117095" y="49378"/>
                  </a:lnTo>
                  <a:lnTo>
                    <a:pt x="118613" y="50738"/>
                  </a:lnTo>
                  <a:lnTo>
                    <a:pt x="121115" y="54516"/>
                  </a:lnTo>
                  <a:lnTo>
                    <a:pt x="124683" y="58784"/>
                  </a:lnTo>
                  <a:lnTo>
                    <a:pt x="125385" y="60865"/>
                  </a:lnTo>
                  <a:lnTo>
                    <a:pt x="122394" y="60399"/>
                  </a:lnTo>
                  <a:lnTo>
                    <a:pt x="121349" y="60540"/>
                  </a:lnTo>
                  <a:lnTo>
                    <a:pt x="120679" y="61197"/>
                  </a:lnTo>
                  <a:lnTo>
                    <a:pt x="119291" y="61064"/>
                  </a:lnTo>
                  <a:lnTo>
                    <a:pt x="117572" y="61070"/>
                  </a:lnTo>
                  <a:lnTo>
                    <a:pt x="115775" y="61824"/>
                  </a:lnTo>
                  <a:lnTo>
                    <a:pt x="114780" y="62145"/>
                  </a:lnTo>
                  <a:lnTo>
                    <a:pt x="113452" y="61453"/>
                  </a:lnTo>
                  <a:lnTo>
                    <a:pt x="110977" y="59378"/>
                  </a:lnTo>
                  <a:lnTo>
                    <a:pt x="109474" y="57931"/>
                  </a:lnTo>
                  <a:lnTo>
                    <a:pt x="108356" y="57566"/>
                  </a:lnTo>
                  <a:lnTo>
                    <a:pt x="107229" y="57996"/>
                  </a:lnTo>
                  <a:lnTo>
                    <a:pt x="103212" y="58486"/>
                  </a:lnTo>
                  <a:lnTo>
                    <a:pt x="102262" y="59330"/>
                  </a:lnTo>
                  <a:lnTo>
                    <a:pt x="100407" y="60260"/>
                  </a:lnTo>
                  <a:lnTo>
                    <a:pt x="98539" y="60703"/>
                  </a:lnTo>
                  <a:lnTo>
                    <a:pt x="95860" y="61017"/>
                  </a:lnTo>
                  <a:lnTo>
                    <a:pt x="94447" y="60975"/>
                  </a:lnTo>
                  <a:lnTo>
                    <a:pt x="93659" y="61425"/>
                  </a:lnTo>
                  <a:lnTo>
                    <a:pt x="92996" y="62784"/>
                  </a:lnTo>
                  <a:lnTo>
                    <a:pt x="92545" y="64111"/>
                  </a:lnTo>
                  <a:lnTo>
                    <a:pt x="92150" y="64649"/>
                  </a:lnTo>
                  <a:lnTo>
                    <a:pt x="88809" y="65306"/>
                  </a:lnTo>
                  <a:lnTo>
                    <a:pt x="88077" y="66068"/>
                  </a:lnTo>
                  <a:lnTo>
                    <a:pt x="87872" y="66813"/>
                  </a:lnTo>
                  <a:lnTo>
                    <a:pt x="87936" y="67558"/>
                  </a:lnTo>
                  <a:lnTo>
                    <a:pt x="85276" y="66837"/>
                  </a:lnTo>
                  <a:lnTo>
                    <a:pt x="83216" y="67316"/>
                  </a:lnTo>
                  <a:lnTo>
                    <a:pt x="82732" y="67887"/>
                  </a:lnTo>
                  <a:lnTo>
                    <a:pt x="82301" y="68705"/>
                  </a:lnTo>
                  <a:lnTo>
                    <a:pt x="82543" y="69580"/>
                  </a:lnTo>
                  <a:lnTo>
                    <a:pt x="83300" y="70426"/>
                  </a:lnTo>
                  <a:lnTo>
                    <a:pt x="84015" y="72718"/>
                  </a:lnTo>
                  <a:lnTo>
                    <a:pt x="84272" y="75007"/>
                  </a:lnTo>
                  <a:lnTo>
                    <a:pt x="83834" y="76304"/>
                  </a:lnTo>
                  <a:lnTo>
                    <a:pt x="82309" y="77230"/>
                  </a:lnTo>
                  <a:lnTo>
                    <a:pt x="79146" y="78253"/>
                  </a:lnTo>
                  <a:lnTo>
                    <a:pt x="76086" y="77764"/>
                  </a:lnTo>
                  <a:lnTo>
                    <a:pt x="74736" y="78170"/>
                  </a:lnTo>
                  <a:lnTo>
                    <a:pt x="72471" y="78300"/>
                  </a:lnTo>
                  <a:lnTo>
                    <a:pt x="70383" y="78572"/>
                  </a:lnTo>
                  <a:lnTo>
                    <a:pt x="67174" y="79507"/>
                  </a:lnTo>
                  <a:lnTo>
                    <a:pt x="64283" y="80056"/>
                  </a:lnTo>
                  <a:lnTo>
                    <a:pt x="61678" y="78151"/>
                  </a:lnTo>
                  <a:lnTo>
                    <a:pt x="58586" y="76852"/>
                  </a:lnTo>
                  <a:lnTo>
                    <a:pt x="55343" y="76080"/>
                  </a:lnTo>
                  <a:lnTo>
                    <a:pt x="54214" y="76643"/>
                  </a:lnTo>
                  <a:lnTo>
                    <a:pt x="53725" y="77087"/>
                  </a:lnTo>
                  <a:lnTo>
                    <a:pt x="51013" y="75401"/>
                  </a:lnTo>
                  <a:lnTo>
                    <a:pt x="49795" y="74800"/>
                  </a:lnTo>
                  <a:lnTo>
                    <a:pt x="49206" y="74148"/>
                  </a:lnTo>
                  <a:lnTo>
                    <a:pt x="48076" y="71898"/>
                  </a:lnTo>
                  <a:lnTo>
                    <a:pt x="47405" y="71827"/>
                  </a:lnTo>
                  <a:lnTo>
                    <a:pt x="45168" y="72665"/>
                  </a:lnTo>
                  <a:lnTo>
                    <a:pt x="43017" y="72625"/>
                  </a:lnTo>
                  <a:lnTo>
                    <a:pt x="41711" y="72472"/>
                  </a:lnTo>
                  <a:lnTo>
                    <a:pt x="37856" y="72566"/>
                  </a:lnTo>
                  <a:lnTo>
                    <a:pt x="37345" y="74103"/>
                  </a:lnTo>
                  <a:lnTo>
                    <a:pt x="36867" y="74342"/>
                  </a:lnTo>
                  <a:lnTo>
                    <a:pt x="36031" y="74547"/>
                  </a:lnTo>
                  <a:lnTo>
                    <a:pt x="33982" y="74450"/>
                  </a:lnTo>
                  <a:lnTo>
                    <a:pt x="31361" y="75585"/>
                  </a:lnTo>
                  <a:lnTo>
                    <a:pt x="28549" y="76277"/>
                  </a:lnTo>
                  <a:lnTo>
                    <a:pt x="26353" y="76296"/>
                  </a:lnTo>
                  <a:lnTo>
                    <a:pt x="24088" y="75961"/>
                  </a:lnTo>
                  <a:lnTo>
                    <a:pt x="22732" y="76201"/>
                  </a:lnTo>
                  <a:lnTo>
                    <a:pt x="19808" y="76325"/>
                  </a:lnTo>
                  <a:lnTo>
                    <a:pt x="17953" y="77985"/>
                  </a:lnTo>
                  <a:lnTo>
                    <a:pt x="15070" y="77891"/>
                  </a:lnTo>
                  <a:lnTo>
                    <a:pt x="12648" y="77610"/>
                  </a:lnTo>
                  <a:lnTo>
                    <a:pt x="12950" y="77087"/>
                  </a:lnTo>
                  <a:lnTo>
                    <a:pt x="13431" y="70494"/>
                  </a:lnTo>
                  <a:lnTo>
                    <a:pt x="14630" y="67548"/>
                  </a:lnTo>
                  <a:lnTo>
                    <a:pt x="14584" y="66942"/>
                  </a:lnTo>
                  <a:lnTo>
                    <a:pt x="14327" y="66482"/>
                  </a:lnTo>
                  <a:lnTo>
                    <a:pt x="13265" y="66008"/>
                  </a:lnTo>
                  <a:lnTo>
                    <a:pt x="12496" y="64415"/>
                  </a:lnTo>
                  <a:lnTo>
                    <a:pt x="10896" y="60213"/>
                  </a:lnTo>
                  <a:lnTo>
                    <a:pt x="9996" y="59361"/>
                  </a:lnTo>
                  <a:lnTo>
                    <a:pt x="7480" y="58473"/>
                  </a:lnTo>
                  <a:lnTo>
                    <a:pt x="5277" y="57259"/>
                  </a:lnTo>
                  <a:lnTo>
                    <a:pt x="3410" y="55657"/>
                  </a:lnTo>
                  <a:lnTo>
                    <a:pt x="0" y="51696"/>
                  </a:lnTo>
                  <a:lnTo>
                    <a:pt x="1725" y="51300"/>
                  </a:lnTo>
                  <a:lnTo>
                    <a:pt x="2248" y="50493"/>
                  </a:lnTo>
                  <a:lnTo>
                    <a:pt x="3969" y="48313"/>
                  </a:lnTo>
                  <a:lnTo>
                    <a:pt x="4166" y="47240"/>
                  </a:lnTo>
                  <a:lnTo>
                    <a:pt x="3984" y="46634"/>
                  </a:lnTo>
                  <a:lnTo>
                    <a:pt x="2831" y="45583"/>
                  </a:lnTo>
                  <a:lnTo>
                    <a:pt x="2039" y="43293"/>
                  </a:lnTo>
                  <a:lnTo>
                    <a:pt x="2637" y="41146"/>
                  </a:lnTo>
                  <a:lnTo>
                    <a:pt x="2688" y="40042"/>
                  </a:lnTo>
                  <a:lnTo>
                    <a:pt x="2105" y="38949"/>
                  </a:lnTo>
                  <a:lnTo>
                    <a:pt x="2714" y="37589"/>
                  </a:lnTo>
                  <a:lnTo>
                    <a:pt x="3952" y="36844"/>
                  </a:lnTo>
                  <a:lnTo>
                    <a:pt x="4733" y="36626"/>
                  </a:lnTo>
                  <a:lnTo>
                    <a:pt x="8007" y="36480"/>
                  </a:lnTo>
                  <a:lnTo>
                    <a:pt x="10080" y="33753"/>
                  </a:lnTo>
                  <a:lnTo>
                    <a:pt x="11339" y="32881"/>
                  </a:lnTo>
                  <a:lnTo>
                    <a:pt x="12630" y="31334"/>
                  </a:lnTo>
                  <a:lnTo>
                    <a:pt x="13229" y="30768"/>
                  </a:lnTo>
                  <a:lnTo>
                    <a:pt x="13796" y="29562"/>
                  </a:lnTo>
                  <a:lnTo>
                    <a:pt x="13993" y="28328"/>
                  </a:lnTo>
                  <a:lnTo>
                    <a:pt x="11399" y="26600"/>
                  </a:lnTo>
                  <a:lnTo>
                    <a:pt x="10518" y="25300"/>
                  </a:lnTo>
                  <a:lnTo>
                    <a:pt x="9365" y="23864"/>
                  </a:lnTo>
                  <a:lnTo>
                    <a:pt x="7804" y="22871"/>
                  </a:lnTo>
                  <a:lnTo>
                    <a:pt x="4655" y="21165"/>
                  </a:lnTo>
                  <a:lnTo>
                    <a:pt x="3429" y="19432"/>
                  </a:lnTo>
                  <a:lnTo>
                    <a:pt x="2876" y="17185"/>
                  </a:lnTo>
                  <a:lnTo>
                    <a:pt x="2040" y="15480"/>
                  </a:lnTo>
                  <a:lnTo>
                    <a:pt x="1123" y="14369"/>
                  </a:lnTo>
                  <a:lnTo>
                    <a:pt x="948" y="13465"/>
                  </a:lnTo>
                  <a:lnTo>
                    <a:pt x="566" y="12354"/>
                  </a:lnTo>
                  <a:lnTo>
                    <a:pt x="473" y="10171"/>
                  </a:lnTo>
                  <a:lnTo>
                    <a:pt x="1216" y="7267"/>
                  </a:lnTo>
                  <a:lnTo>
                    <a:pt x="1697" y="6241"/>
                  </a:lnTo>
                  <a:lnTo>
                    <a:pt x="2764" y="5955"/>
                  </a:lnTo>
                  <a:lnTo>
                    <a:pt x="5603" y="4404"/>
                  </a:lnTo>
                  <a:lnTo>
                    <a:pt x="5735" y="2418"/>
                  </a:lnTo>
                  <a:lnTo>
                    <a:pt x="6247" y="1185"/>
                  </a:lnTo>
                  <a:lnTo>
                    <a:pt x="7152" y="477"/>
                  </a:lnTo>
                  <a:lnTo>
                    <a:pt x="7983" y="0"/>
                  </a:lnTo>
                  <a:lnTo>
                    <a:pt x="9534" y="1155"/>
                  </a:lnTo>
                  <a:lnTo>
                    <a:pt x="13298" y="2996"/>
                  </a:lnTo>
                  <a:lnTo>
                    <a:pt x="15135" y="4331"/>
                  </a:lnTo>
                  <a:lnTo>
                    <a:pt x="15044" y="5164"/>
                  </a:lnTo>
                  <a:lnTo>
                    <a:pt x="14181" y="5983"/>
                  </a:lnTo>
                  <a:lnTo>
                    <a:pt x="12544" y="6788"/>
                  </a:lnTo>
                  <a:lnTo>
                    <a:pt x="11591" y="7852"/>
                  </a:lnTo>
                  <a:lnTo>
                    <a:pt x="11330" y="9173"/>
                  </a:lnTo>
                  <a:lnTo>
                    <a:pt x="11579" y="10105"/>
                  </a:lnTo>
                  <a:lnTo>
                    <a:pt x="12714" y="10918"/>
                  </a:lnTo>
                  <a:lnTo>
                    <a:pt x="19471" y="9853"/>
                  </a:lnTo>
                  <a:lnTo>
                    <a:pt x="26325" y="10402"/>
                  </a:lnTo>
                  <a:lnTo>
                    <a:pt x="35528" y="12209"/>
                  </a:lnTo>
                  <a:lnTo>
                    <a:pt x="41631" y="12835"/>
                  </a:lnTo>
                  <a:lnTo>
                    <a:pt x="46137" y="12000"/>
                  </a:lnTo>
                  <a:lnTo>
                    <a:pt x="54488" y="13512"/>
                  </a:lnTo>
                  <a:lnTo>
                    <a:pt x="62259" y="14917"/>
                  </a:lnTo>
                  <a:lnTo>
                    <a:pt x="69720" y="15336"/>
                  </a:lnTo>
                  <a:lnTo>
                    <a:pt x="73900" y="14231"/>
                  </a:lnTo>
                  <a:lnTo>
                    <a:pt x="76835" y="12744"/>
                  </a:lnTo>
                  <a:lnTo>
                    <a:pt x="79368" y="9943"/>
                  </a:lnTo>
                  <a:lnTo>
                    <a:pt x="85613" y="6245"/>
                  </a:lnTo>
                  <a:lnTo>
                    <a:pt x="91659" y="4169"/>
                  </a:lnTo>
                  <a:lnTo>
                    <a:pt x="99586" y="2484"/>
                  </a:lnTo>
                  <a:lnTo>
                    <a:pt x="104875" y="1909"/>
                  </a:lnTo>
                  <a:lnTo>
                    <a:pt x="105622" y="2485"/>
                  </a:lnTo>
                  <a:lnTo>
                    <a:pt x="112359" y="5887"/>
                  </a:lnTo>
                  <a:lnTo>
                    <a:pt x="115359" y="5899"/>
                  </a:lnTo>
                  <a:lnTo>
                    <a:pt x="117788" y="6502"/>
                  </a:lnTo>
                  <a:lnTo>
                    <a:pt x="118669" y="7400"/>
                  </a:lnTo>
                  <a:lnTo>
                    <a:pt x="119284" y="7625"/>
                  </a:lnTo>
                  <a:lnTo>
                    <a:pt x="122506" y="6784"/>
                  </a:lnTo>
                  <a:lnTo>
                    <a:pt x="123936" y="8644"/>
                  </a:lnTo>
                  <a:lnTo>
                    <a:pt x="126170" y="11243"/>
                  </a:lnTo>
                  <a:lnTo>
                    <a:pt x="129973" y="12582"/>
                  </a:lnTo>
                  <a:lnTo>
                    <a:pt x="133362" y="13340"/>
                  </a:lnTo>
                  <a:lnTo>
                    <a:pt x="134428" y="13456"/>
                  </a:lnTo>
                  <a:close/>
                </a:path>
              </a:pathLst>
            </a:custGeom>
            <a:solidFill>
              <a:srgbClr val="C7CDD0"/>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AT" sz="1600" err="1">
                <a:solidFill>
                  <a:schemeClr val="tx1"/>
                </a:solidFill>
                <a:latin typeface="Calibri" panose="020F0502020204030204" pitchFamily="34" charset="0"/>
                <a:cs typeface="Calibri" panose="020F0502020204030204" pitchFamily="34" charset="0"/>
              </a:endParaRPr>
            </a:p>
          </p:txBody>
        </p:sp>
        <p:sp>
          <p:nvSpPr>
            <p:cNvPr id="69" name="ee4p_BA_1_86241">
              <a:extLst>
                <a:ext uri="{FF2B5EF4-FFF2-40B4-BE49-F238E27FC236}">
                  <a16:creationId xmlns:a16="http://schemas.microsoft.com/office/drawing/2014/main" id="{065D5212-17A8-4D58-BCC1-7068D5B832E1}"/>
                </a:ext>
              </a:extLst>
            </p:cNvPr>
            <p:cNvSpPr>
              <a:spLocks noChangeAspect="1"/>
            </p:cNvSpPr>
            <p:nvPr>
              <p:custDataLst>
                <p:tags r:id="rId8"/>
              </p:custDataLst>
            </p:nvPr>
          </p:nvSpPr>
          <p:spPr>
            <a:xfrm>
              <a:off x="7166532" y="3453592"/>
              <a:ext cx="257814" cy="228532"/>
            </a:xfrm>
            <a:custGeom>
              <a:avLst/>
              <a:gdLst/>
              <a:ahLst/>
              <a:cxnLst/>
              <a:rect l="0" t="0" r="0" b="0"/>
              <a:pathLst>
                <a:path w="85070" h="73469">
                  <a:moveTo>
                    <a:pt x="26137" y="0"/>
                  </a:moveTo>
                  <a:lnTo>
                    <a:pt x="30709" y="2871"/>
                  </a:lnTo>
                  <a:lnTo>
                    <a:pt x="32594" y="3301"/>
                  </a:lnTo>
                  <a:lnTo>
                    <a:pt x="33656" y="2904"/>
                  </a:lnTo>
                  <a:lnTo>
                    <a:pt x="35103" y="3085"/>
                  </a:lnTo>
                  <a:lnTo>
                    <a:pt x="38310" y="3924"/>
                  </a:lnTo>
                  <a:lnTo>
                    <a:pt x="39050" y="4278"/>
                  </a:lnTo>
                  <a:lnTo>
                    <a:pt x="40015" y="4218"/>
                  </a:lnTo>
                  <a:lnTo>
                    <a:pt x="42387" y="3098"/>
                  </a:lnTo>
                  <a:lnTo>
                    <a:pt x="43196" y="3237"/>
                  </a:lnTo>
                  <a:lnTo>
                    <a:pt x="45908" y="5434"/>
                  </a:lnTo>
                  <a:lnTo>
                    <a:pt x="47271" y="5458"/>
                  </a:lnTo>
                  <a:lnTo>
                    <a:pt x="48912" y="4510"/>
                  </a:lnTo>
                  <a:lnTo>
                    <a:pt x="49966" y="3692"/>
                  </a:lnTo>
                  <a:lnTo>
                    <a:pt x="53082" y="4305"/>
                  </a:lnTo>
                  <a:lnTo>
                    <a:pt x="54868" y="3935"/>
                  </a:lnTo>
                  <a:lnTo>
                    <a:pt x="56349" y="3897"/>
                  </a:lnTo>
                  <a:lnTo>
                    <a:pt x="57956" y="4273"/>
                  </a:lnTo>
                  <a:lnTo>
                    <a:pt x="59422" y="4781"/>
                  </a:lnTo>
                  <a:lnTo>
                    <a:pt x="60845" y="5223"/>
                  </a:lnTo>
                  <a:lnTo>
                    <a:pt x="64700" y="5453"/>
                  </a:lnTo>
                  <a:lnTo>
                    <a:pt x="66546" y="6845"/>
                  </a:lnTo>
                  <a:lnTo>
                    <a:pt x="67282" y="8192"/>
                  </a:lnTo>
                  <a:lnTo>
                    <a:pt x="67299" y="9012"/>
                  </a:lnTo>
                  <a:lnTo>
                    <a:pt x="67481" y="9895"/>
                  </a:lnTo>
                  <a:lnTo>
                    <a:pt x="68543" y="10759"/>
                  </a:lnTo>
                  <a:lnTo>
                    <a:pt x="70862" y="11252"/>
                  </a:lnTo>
                  <a:lnTo>
                    <a:pt x="72318" y="11143"/>
                  </a:lnTo>
                  <a:lnTo>
                    <a:pt x="73091" y="11084"/>
                  </a:lnTo>
                  <a:lnTo>
                    <a:pt x="75069" y="10312"/>
                  </a:lnTo>
                  <a:lnTo>
                    <a:pt x="77396" y="9912"/>
                  </a:lnTo>
                  <a:lnTo>
                    <a:pt x="79074" y="10371"/>
                  </a:lnTo>
                  <a:lnTo>
                    <a:pt x="79869" y="10823"/>
                  </a:lnTo>
                  <a:lnTo>
                    <a:pt x="80051" y="11433"/>
                  </a:lnTo>
                  <a:lnTo>
                    <a:pt x="79556" y="13558"/>
                  </a:lnTo>
                  <a:lnTo>
                    <a:pt x="78615" y="15845"/>
                  </a:lnTo>
                  <a:lnTo>
                    <a:pt x="77094" y="18220"/>
                  </a:lnTo>
                  <a:lnTo>
                    <a:pt x="75507" y="20458"/>
                  </a:lnTo>
                  <a:lnTo>
                    <a:pt x="75088" y="21642"/>
                  </a:lnTo>
                  <a:lnTo>
                    <a:pt x="74976" y="23524"/>
                  </a:lnTo>
                  <a:lnTo>
                    <a:pt x="74780" y="25007"/>
                  </a:lnTo>
                  <a:lnTo>
                    <a:pt x="74997" y="25813"/>
                  </a:lnTo>
                  <a:lnTo>
                    <a:pt x="75518" y="26566"/>
                  </a:lnTo>
                  <a:lnTo>
                    <a:pt x="77280" y="27163"/>
                  </a:lnTo>
                  <a:lnTo>
                    <a:pt x="79653" y="28647"/>
                  </a:lnTo>
                  <a:lnTo>
                    <a:pt x="81672" y="30581"/>
                  </a:lnTo>
                  <a:lnTo>
                    <a:pt x="84259" y="32776"/>
                  </a:lnTo>
                  <a:lnTo>
                    <a:pt x="85069" y="33589"/>
                  </a:lnTo>
                  <a:lnTo>
                    <a:pt x="85067" y="34465"/>
                  </a:lnTo>
                  <a:lnTo>
                    <a:pt x="84311" y="35114"/>
                  </a:lnTo>
                  <a:lnTo>
                    <a:pt x="82098" y="35360"/>
                  </a:lnTo>
                  <a:lnTo>
                    <a:pt x="79794" y="35168"/>
                  </a:lnTo>
                  <a:lnTo>
                    <a:pt x="78910" y="34945"/>
                  </a:lnTo>
                  <a:lnTo>
                    <a:pt x="78088" y="35213"/>
                  </a:lnTo>
                  <a:lnTo>
                    <a:pt x="77578" y="35711"/>
                  </a:lnTo>
                  <a:lnTo>
                    <a:pt x="77848" y="36299"/>
                  </a:lnTo>
                  <a:lnTo>
                    <a:pt x="80210" y="38962"/>
                  </a:lnTo>
                  <a:lnTo>
                    <a:pt x="82955" y="42775"/>
                  </a:lnTo>
                  <a:lnTo>
                    <a:pt x="83108" y="44412"/>
                  </a:lnTo>
                  <a:lnTo>
                    <a:pt x="82774" y="45698"/>
                  </a:lnTo>
                  <a:lnTo>
                    <a:pt x="82138" y="46590"/>
                  </a:lnTo>
                  <a:lnTo>
                    <a:pt x="80996" y="46442"/>
                  </a:lnTo>
                  <a:lnTo>
                    <a:pt x="80128" y="45744"/>
                  </a:lnTo>
                  <a:lnTo>
                    <a:pt x="78811" y="45789"/>
                  </a:lnTo>
                  <a:lnTo>
                    <a:pt x="77788" y="45989"/>
                  </a:lnTo>
                  <a:lnTo>
                    <a:pt x="76457" y="47365"/>
                  </a:lnTo>
                  <a:lnTo>
                    <a:pt x="75794" y="47307"/>
                  </a:lnTo>
                  <a:lnTo>
                    <a:pt x="74654" y="47515"/>
                  </a:lnTo>
                  <a:lnTo>
                    <a:pt x="73931" y="47785"/>
                  </a:lnTo>
                  <a:lnTo>
                    <a:pt x="72786" y="47386"/>
                  </a:lnTo>
                  <a:lnTo>
                    <a:pt x="71590" y="47122"/>
                  </a:lnTo>
                  <a:lnTo>
                    <a:pt x="71070" y="47544"/>
                  </a:lnTo>
                  <a:lnTo>
                    <a:pt x="70839" y="48350"/>
                  </a:lnTo>
                  <a:lnTo>
                    <a:pt x="71581" y="49813"/>
                  </a:lnTo>
                  <a:lnTo>
                    <a:pt x="72972" y="52102"/>
                  </a:lnTo>
                  <a:lnTo>
                    <a:pt x="72749" y="53846"/>
                  </a:lnTo>
                  <a:lnTo>
                    <a:pt x="71689" y="54035"/>
                  </a:lnTo>
                  <a:lnTo>
                    <a:pt x="70715" y="52582"/>
                  </a:lnTo>
                  <a:lnTo>
                    <a:pt x="69852" y="52347"/>
                  </a:lnTo>
                  <a:lnTo>
                    <a:pt x="68867" y="52397"/>
                  </a:lnTo>
                  <a:lnTo>
                    <a:pt x="66615" y="54085"/>
                  </a:lnTo>
                  <a:lnTo>
                    <a:pt x="64957" y="55502"/>
                  </a:lnTo>
                  <a:lnTo>
                    <a:pt x="64572" y="56491"/>
                  </a:lnTo>
                  <a:lnTo>
                    <a:pt x="63978" y="57573"/>
                  </a:lnTo>
                  <a:lnTo>
                    <a:pt x="63799" y="58353"/>
                  </a:lnTo>
                  <a:lnTo>
                    <a:pt x="63838" y="60952"/>
                  </a:lnTo>
                  <a:lnTo>
                    <a:pt x="60849" y="61368"/>
                  </a:lnTo>
                  <a:lnTo>
                    <a:pt x="60223" y="61750"/>
                  </a:lnTo>
                  <a:lnTo>
                    <a:pt x="59862" y="62539"/>
                  </a:lnTo>
                  <a:lnTo>
                    <a:pt x="60111" y="65869"/>
                  </a:lnTo>
                  <a:lnTo>
                    <a:pt x="60353" y="67657"/>
                  </a:lnTo>
                  <a:lnTo>
                    <a:pt x="62061" y="70412"/>
                  </a:lnTo>
                  <a:lnTo>
                    <a:pt x="62119" y="71282"/>
                  </a:lnTo>
                  <a:lnTo>
                    <a:pt x="61877" y="71856"/>
                  </a:lnTo>
                  <a:lnTo>
                    <a:pt x="60663" y="72948"/>
                  </a:lnTo>
                  <a:lnTo>
                    <a:pt x="60085" y="73340"/>
                  </a:lnTo>
                  <a:lnTo>
                    <a:pt x="59696" y="73468"/>
                  </a:lnTo>
                  <a:lnTo>
                    <a:pt x="57712" y="72749"/>
                  </a:lnTo>
                  <a:lnTo>
                    <a:pt x="56770" y="72409"/>
                  </a:lnTo>
                  <a:lnTo>
                    <a:pt x="52788" y="69974"/>
                  </a:lnTo>
                  <a:lnTo>
                    <a:pt x="51033" y="68619"/>
                  </a:lnTo>
                  <a:lnTo>
                    <a:pt x="48254" y="66850"/>
                  </a:lnTo>
                  <a:lnTo>
                    <a:pt x="46539" y="65843"/>
                  </a:lnTo>
                  <a:lnTo>
                    <a:pt x="45669" y="64312"/>
                  </a:lnTo>
                  <a:lnTo>
                    <a:pt x="44304" y="63958"/>
                  </a:lnTo>
                  <a:lnTo>
                    <a:pt x="42697" y="64450"/>
                  </a:lnTo>
                  <a:lnTo>
                    <a:pt x="40875" y="63345"/>
                  </a:lnTo>
                  <a:lnTo>
                    <a:pt x="42164" y="62772"/>
                  </a:lnTo>
                  <a:lnTo>
                    <a:pt x="42482" y="62227"/>
                  </a:lnTo>
                  <a:lnTo>
                    <a:pt x="42320" y="61517"/>
                  </a:lnTo>
                  <a:lnTo>
                    <a:pt x="41752" y="60547"/>
                  </a:lnTo>
                  <a:lnTo>
                    <a:pt x="36830" y="56358"/>
                  </a:lnTo>
                  <a:lnTo>
                    <a:pt x="34416" y="53492"/>
                  </a:lnTo>
                  <a:lnTo>
                    <a:pt x="34023" y="52464"/>
                  </a:lnTo>
                  <a:lnTo>
                    <a:pt x="33991" y="49723"/>
                  </a:lnTo>
                  <a:lnTo>
                    <a:pt x="33421" y="49064"/>
                  </a:lnTo>
                  <a:lnTo>
                    <a:pt x="29806" y="47816"/>
                  </a:lnTo>
                  <a:lnTo>
                    <a:pt x="25766" y="44246"/>
                  </a:lnTo>
                  <a:lnTo>
                    <a:pt x="21600" y="40744"/>
                  </a:lnTo>
                  <a:lnTo>
                    <a:pt x="21030" y="39766"/>
                  </a:lnTo>
                  <a:lnTo>
                    <a:pt x="18881" y="37114"/>
                  </a:lnTo>
                  <a:lnTo>
                    <a:pt x="16262" y="34695"/>
                  </a:lnTo>
                  <a:lnTo>
                    <a:pt x="14172" y="33151"/>
                  </a:lnTo>
                  <a:lnTo>
                    <a:pt x="12460" y="31394"/>
                  </a:lnTo>
                  <a:lnTo>
                    <a:pt x="10561" y="28937"/>
                  </a:lnTo>
                  <a:lnTo>
                    <a:pt x="9579" y="25223"/>
                  </a:lnTo>
                  <a:lnTo>
                    <a:pt x="8705" y="21916"/>
                  </a:lnTo>
                  <a:lnTo>
                    <a:pt x="8111" y="20630"/>
                  </a:lnTo>
                  <a:lnTo>
                    <a:pt x="6908" y="20179"/>
                  </a:lnTo>
                  <a:lnTo>
                    <a:pt x="3172" y="16249"/>
                  </a:lnTo>
                  <a:lnTo>
                    <a:pt x="0" y="13963"/>
                  </a:lnTo>
                  <a:lnTo>
                    <a:pt x="30" y="11492"/>
                  </a:lnTo>
                  <a:lnTo>
                    <a:pt x="550" y="7365"/>
                  </a:lnTo>
                  <a:lnTo>
                    <a:pt x="1138" y="2674"/>
                  </a:lnTo>
                  <a:lnTo>
                    <a:pt x="1907" y="2022"/>
                  </a:lnTo>
                  <a:lnTo>
                    <a:pt x="3353" y="1667"/>
                  </a:lnTo>
                  <a:lnTo>
                    <a:pt x="5010" y="1803"/>
                  </a:lnTo>
                  <a:lnTo>
                    <a:pt x="6450" y="2383"/>
                  </a:lnTo>
                  <a:lnTo>
                    <a:pt x="9303" y="5595"/>
                  </a:lnTo>
                  <a:lnTo>
                    <a:pt x="10933" y="6843"/>
                  </a:lnTo>
                  <a:lnTo>
                    <a:pt x="12311" y="7329"/>
                  </a:lnTo>
                  <a:lnTo>
                    <a:pt x="13896" y="5975"/>
                  </a:lnTo>
                  <a:lnTo>
                    <a:pt x="15852" y="3138"/>
                  </a:lnTo>
                  <a:lnTo>
                    <a:pt x="17558" y="1640"/>
                  </a:lnTo>
                  <a:lnTo>
                    <a:pt x="23311" y="2183"/>
                  </a:lnTo>
                  <a:close/>
                </a:path>
              </a:pathLst>
            </a:custGeom>
            <a:solidFill>
              <a:srgbClr val="C7CDD0"/>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AT" sz="1600" err="1">
                <a:solidFill>
                  <a:schemeClr val="tx1"/>
                </a:solidFill>
                <a:latin typeface="Calibri" panose="020F0502020204030204" pitchFamily="34" charset="0"/>
                <a:cs typeface="Calibri" panose="020F0502020204030204" pitchFamily="34" charset="0"/>
              </a:endParaRPr>
            </a:p>
          </p:txBody>
        </p:sp>
        <p:sp>
          <p:nvSpPr>
            <p:cNvPr id="70" name="ee4p_BY_1_86241">
              <a:extLst>
                <a:ext uri="{FF2B5EF4-FFF2-40B4-BE49-F238E27FC236}">
                  <a16:creationId xmlns:a16="http://schemas.microsoft.com/office/drawing/2014/main" id="{BD817B26-6432-45B4-90C4-4966BBC0ED68}"/>
                </a:ext>
              </a:extLst>
            </p:cNvPr>
            <p:cNvSpPr>
              <a:spLocks noChangeAspect="1"/>
            </p:cNvSpPr>
            <p:nvPr>
              <p:custDataLst>
                <p:tags r:id="rId9"/>
              </p:custDataLst>
            </p:nvPr>
          </p:nvSpPr>
          <p:spPr>
            <a:xfrm>
              <a:off x="7665007" y="2467075"/>
              <a:ext cx="638987" cy="459002"/>
            </a:xfrm>
            <a:custGeom>
              <a:avLst/>
              <a:gdLst/>
              <a:ahLst/>
              <a:cxnLst/>
              <a:rect l="0" t="0" r="0" b="0"/>
              <a:pathLst>
                <a:path w="210844" h="147561">
                  <a:moveTo>
                    <a:pt x="109961" y="90"/>
                  </a:moveTo>
                  <a:lnTo>
                    <a:pt x="112975" y="2805"/>
                  </a:lnTo>
                  <a:lnTo>
                    <a:pt x="113683" y="2911"/>
                  </a:lnTo>
                  <a:lnTo>
                    <a:pt x="115359" y="1844"/>
                  </a:lnTo>
                  <a:lnTo>
                    <a:pt x="115689" y="1773"/>
                  </a:lnTo>
                  <a:lnTo>
                    <a:pt x="119160" y="1680"/>
                  </a:lnTo>
                  <a:lnTo>
                    <a:pt x="120773" y="2623"/>
                  </a:lnTo>
                  <a:lnTo>
                    <a:pt x="121965" y="4466"/>
                  </a:lnTo>
                  <a:lnTo>
                    <a:pt x="123070" y="5939"/>
                  </a:lnTo>
                  <a:lnTo>
                    <a:pt x="124262" y="6337"/>
                  </a:lnTo>
                  <a:lnTo>
                    <a:pt x="127639" y="4483"/>
                  </a:lnTo>
                  <a:lnTo>
                    <a:pt x="129503" y="3870"/>
                  </a:lnTo>
                  <a:lnTo>
                    <a:pt x="130734" y="3890"/>
                  </a:lnTo>
                  <a:lnTo>
                    <a:pt x="135059" y="5549"/>
                  </a:lnTo>
                  <a:lnTo>
                    <a:pt x="137093" y="6457"/>
                  </a:lnTo>
                  <a:lnTo>
                    <a:pt x="137560" y="7283"/>
                  </a:lnTo>
                  <a:lnTo>
                    <a:pt x="137601" y="8252"/>
                  </a:lnTo>
                  <a:lnTo>
                    <a:pt x="137052" y="9693"/>
                  </a:lnTo>
                  <a:lnTo>
                    <a:pt x="136616" y="11258"/>
                  </a:lnTo>
                  <a:lnTo>
                    <a:pt x="137933" y="13107"/>
                  </a:lnTo>
                  <a:lnTo>
                    <a:pt x="139464" y="14357"/>
                  </a:lnTo>
                  <a:lnTo>
                    <a:pt x="142733" y="12289"/>
                  </a:lnTo>
                  <a:lnTo>
                    <a:pt x="143938" y="11713"/>
                  </a:lnTo>
                  <a:lnTo>
                    <a:pt x="145256" y="11692"/>
                  </a:lnTo>
                  <a:lnTo>
                    <a:pt x="147020" y="10924"/>
                  </a:lnTo>
                  <a:lnTo>
                    <a:pt x="148296" y="9768"/>
                  </a:lnTo>
                  <a:lnTo>
                    <a:pt x="149521" y="9365"/>
                  </a:lnTo>
                  <a:lnTo>
                    <a:pt x="151857" y="9640"/>
                  </a:lnTo>
                  <a:lnTo>
                    <a:pt x="156078" y="9367"/>
                  </a:lnTo>
                  <a:lnTo>
                    <a:pt x="161002" y="11182"/>
                  </a:lnTo>
                  <a:lnTo>
                    <a:pt x="161425" y="11742"/>
                  </a:lnTo>
                  <a:lnTo>
                    <a:pt x="163887" y="13869"/>
                  </a:lnTo>
                  <a:lnTo>
                    <a:pt x="164746" y="14925"/>
                  </a:lnTo>
                  <a:lnTo>
                    <a:pt x="165558" y="15260"/>
                  </a:lnTo>
                  <a:lnTo>
                    <a:pt x="166871" y="16294"/>
                  </a:lnTo>
                  <a:lnTo>
                    <a:pt x="168620" y="16944"/>
                  </a:lnTo>
                  <a:lnTo>
                    <a:pt x="169840" y="16746"/>
                  </a:lnTo>
                  <a:lnTo>
                    <a:pt x="170421" y="17091"/>
                  </a:lnTo>
                  <a:lnTo>
                    <a:pt x="170965" y="17908"/>
                  </a:lnTo>
                  <a:lnTo>
                    <a:pt x="171008" y="19292"/>
                  </a:lnTo>
                  <a:lnTo>
                    <a:pt x="170827" y="23249"/>
                  </a:lnTo>
                  <a:lnTo>
                    <a:pt x="169970" y="24393"/>
                  </a:lnTo>
                  <a:lnTo>
                    <a:pt x="169067" y="25323"/>
                  </a:lnTo>
                  <a:lnTo>
                    <a:pt x="168836" y="26042"/>
                  </a:lnTo>
                  <a:lnTo>
                    <a:pt x="168923" y="26915"/>
                  </a:lnTo>
                  <a:lnTo>
                    <a:pt x="170315" y="28619"/>
                  </a:lnTo>
                  <a:lnTo>
                    <a:pt x="172116" y="31265"/>
                  </a:lnTo>
                  <a:lnTo>
                    <a:pt x="172533" y="32798"/>
                  </a:lnTo>
                  <a:lnTo>
                    <a:pt x="172533" y="33946"/>
                  </a:lnTo>
                  <a:lnTo>
                    <a:pt x="170080" y="37319"/>
                  </a:lnTo>
                  <a:lnTo>
                    <a:pt x="169264" y="38110"/>
                  </a:lnTo>
                  <a:lnTo>
                    <a:pt x="168702" y="39769"/>
                  </a:lnTo>
                  <a:lnTo>
                    <a:pt x="168404" y="41453"/>
                  </a:lnTo>
                  <a:lnTo>
                    <a:pt x="168577" y="42151"/>
                  </a:lnTo>
                  <a:lnTo>
                    <a:pt x="172675" y="44827"/>
                  </a:lnTo>
                  <a:lnTo>
                    <a:pt x="175707" y="46278"/>
                  </a:lnTo>
                  <a:lnTo>
                    <a:pt x="176390" y="46986"/>
                  </a:lnTo>
                  <a:lnTo>
                    <a:pt x="176450" y="47426"/>
                  </a:lnTo>
                  <a:lnTo>
                    <a:pt x="174837" y="50294"/>
                  </a:lnTo>
                  <a:lnTo>
                    <a:pt x="174680" y="51067"/>
                  </a:lnTo>
                  <a:lnTo>
                    <a:pt x="177111" y="52252"/>
                  </a:lnTo>
                  <a:lnTo>
                    <a:pt x="178454" y="54122"/>
                  </a:lnTo>
                  <a:lnTo>
                    <a:pt x="179640" y="57168"/>
                  </a:lnTo>
                  <a:lnTo>
                    <a:pt x="181950" y="60082"/>
                  </a:lnTo>
                  <a:lnTo>
                    <a:pt x="186921" y="62658"/>
                  </a:lnTo>
                  <a:lnTo>
                    <a:pt x="190538" y="64337"/>
                  </a:lnTo>
                  <a:lnTo>
                    <a:pt x="191289" y="65101"/>
                  </a:lnTo>
                  <a:lnTo>
                    <a:pt x="191551" y="66009"/>
                  </a:lnTo>
                  <a:lnTo>
                    <a:pt x="191274" y="68004"/>
                  </a:lnTo>
                  <a:lnTo>
                    <a:pt x="190339" y="70428"/>
                  </a:lnTo>
                  <a:lnTo>
                    <a:pt x="189702" y="71776"/>
                  </a:lnTo>
                  <a:lnTo>
                    <a:pt x="191175" y="72336"/>
                  </a:lnTo>
                  <a:lnTo>
                    <a:pt x="194965" y="72186"/>
                  </a:lnTo>
                  <a:lnTo>
                    <a:pt x="199569" y="72659"/>
                  </a:lnTo>
                  <a:lnTo>
                    <a:pt x="205092" y="75329"/>
                  </a:lnTo>
                  <a:lnTo>
                    <a:pt x="205109" y="76525"/>
                  </a:lnTo>
                  <a:lnTo>
                    <a:pt x="204539" y="77613"/>
                  </a:lnTo>
                  <a:lnTo>
                    <a:pt x="204920" y="78761"/>
                  </a:lnTo>
                  <a:lnTo>
                    <a:pt x="205522" y="79734"/>
                  </a:lnTo>
                  <a:lnTo>
                    <a:pt x="210301" y="82713"/>
                  </a:lnTo>
                  <a:lnTo>
                    <a:pt x="210758" y="83577"/>
                  </a:lnTo>
                  <a:lnTo>
                    <a:pt x="210843" y="85022"/>
                  </a:lnTo>
                  <a:lnTo>
                    <a:pt x="210711" y="86078"/>
                  </a:lnTo>
                  <a:lnTo>
                    <a:pt x="209387" y="86301"/>
                  </a:lnTo>
                  <a:lnTo>
                    <a:pt x="207919" y="86797"/>
                  </a:lnTo>
                  <a:lnTo>
                    <a:pt x="205516" y="88062"/>
                  </a:lnTo>
                  <a:lnTo>
                    <a:pt x="204563" y="89856"/>
                  </a:lnTo>
                  <a:lnTo>
                    <a:pt x="200681" y="92323"/>
                  </a:lnTo>
                  <a:lnTo>
                    <a:pt x="198277" y="93439"/>
                  </a:lnTo>
                  <a:lnTo>
                    <a:pt x="196364" y="93490"/>
                  </a:lnTo>
                  <a:lnTo>
                    <a:pt x="191814" y="92988"/>
                  </a:lnTo>
                  <a:lnTo>
                    <a:pt x="190216" y="91768"/>
                  </a:lnTo>
                  <a:lnTo>
                    <a:pt x="189553" y="90649"/>
                  </a:lnTo>
                  <a:lnTo>
                    <a:pt x="187802" y="90146"/>
                  </a:lnTo>
                  <a:lnTo>
                    <a:pt x="185474" y="90099"/>
                  </a:lnTo>
                  <a:lnTo>
                    <a:pt x="182266" y="90293"/>
                  </a:lnTo>
                  <a:lnTo>
                    <a:pt x="181613" y="90630"/>
                  </a:lnTo>
                  <a:lnTo>
                    <a:pt x="181087" y="92005"/>
                  </a:lnTo>
                  <a:lnTo>
                    <a:pt x="179724" y="94346"/>
                  </a:lnTo>
                  <a:lnTo>
                    <a:pt x="178748" y="95670"/>
                  </a:lnTo>
                  <a:lnTo>
                    <a:pt x="179551" y="96476"/>
                  </a:lnTo>
                  <a:lnTo>
                    <a:pt x="180832" y="98162"/>
                  </a:lnTo>
                  <a:lnTo>
                    <a:pt x="182816" y="100304"/>
                  </a:lnTo>
                  <a:lnTo>
                    <a:pt x="184859" y="102204"/>
                  </a:lnTo>
                  <a:lnTo>
                    <a:pt x="185515" y="103369"/>
                  </a:lnTo>
                  <a:lnTo>
                    <a:pt x="185485" y="104198"/>
                  </a:lnTo>
                  <a:lnTo>
                    <a:pt x="184511" y="105174"/>
                  </a:lnTo>
                  <a:lnTo>
                    <a:pt x="184660" y="107134"/>
                  </a:lnTo>
                  <a:lnTo>
                    <a:pt x="186645" y="109720"/>
                  </a:lnTo>
                  <a:lnTo>
                    <a:pt x="185973" y="110128"/>
                  </a:lnTo>
                  <a:lnTo>
                    <a:pt x="185775" y="113295"/>
                  </a:lnTo>
                  <a:lnTo>
                    <a:pt x="185792" y="116673"/>
                  </a:lnTo>
                  <a:lnTo>
                    <a:pt x="186327" y="117489"/>
                  </a:lnTo>
                  <a:lnTo>
                    <a:pt x="187396" y="118160"/>
                  </a:lnTo>
                  <a:lnTo>
                    <a:pt x="188297" y="119392"/>
                  </a:lnTo>
                  <a:lnTo>
                    <a:pt x="189800" y="122202"/>
                  </a:lnTo>
                  <a:lnTo>
                    <a:pt x="189905" y="122935"/>
                  </a:lnTo>
                  <a:lnTo>
                    <a:pt x="185712" y="122727"/>
                  </a:lnTo>
                  <a:lnTo>
                    <a:pt x="180676" y="122808"/>
                  </a:lnTo>
                  <a:lnTo>
                    <a:pt x="177845" y="124440"/>
                  </a:lnTo>
                  <a:lnTo>
                    <a:pt x="176750" y="124064"/>
                  </a:lnTo>
                  <a:lnTo>
                    <a:pt x="174779" y="123649"/>
                  </a:lnTo>
                  <a:lnTo>
                    <a:pt x="172598" y="124559"/>
                  </a:lnTo>
                  <a:lnTo>
                    <a:pt x="169614" y="127313"/>
                  </a:lnTo>
                  <a:lnTo>
                    <a:pt x="167614" y="129024"/>
                  </a:lnTo>
                  <a:lnTo>
                    <a:pt x="165668" y="131416"/>
                  </a:lnTo>
                  <a:lnTo>
                    <a:pt x="165053" y="132715"/>
                  </a:lnTo>
                  <a:lnTo>
                    <a:pt x="163824" y="135105"/>
                  </a:lnTo>
                  <a:lnTo>
                    <a:pt x="162699" y="137832"/>
                  </a:lnTo>
                  <a:lnTo>
                    <a:pt x="163312" y="139739"/>
                  </a:lnTo>
                  <a:lnTo>
                    <a:pt x="164233" y="141510"/>
                  </a:lnTo>
                  <a:lnTo>
                    <a:pt x="164440" y="143416"/>
                  </a:lnTo>
                  <a:lnTo>
                    <a:pt x="164900" y="144910"/>
                  </a:lnTo>
                  <a:lnTo>
                    <a:pt x="163671" y="145997"/>
                  </a:lnTo>
                  <a:lnTo>
                    <a:pt x="162954" y="147560"/>
                  </a:lnTo>
                  <a:lnTo>
                    <a:pt x="160853" y="147289"/>
                  </a:lnTo>
                  <a:lnTo>
                    <a:pt x="158286" y="145787"/>
                  </a:lnTo>
                  <a:lnTo>
                    <a:pt x="157746" y="143614"/>
                  </a:lnTo>
                  <a:lnTo>
                    <a:pt x="155768" y="142098"/>
                  </a:lnTo>
                  <a:lnTo>
                    <a:pt x="154468" y="141315"/>
                  </a:lnTo>
                  <a:lnTo>
                    <a:pt x="152324" y="141193"/>
                  </a:lnTo>
                  <a:lnTo>
                    <a:pt x="148896" y="141899"/>
                  </a:lnTo>
                  <a:lnTo>
                    <a:pt x="144414" y="142441"/>
                  </a:lnTo>
                  <a:lnTo>
                    <a:pt x="141032" y="142587"/>
                  </a:lnTo>
                  <a:lnTo>
                    <a:pt x="139186" y="143357"/>
                  </a:lnTo>
                  <a:lnTo>
                    <a:pt x="136463" y="144114"/>
                  </a:lnTo>
                  <a:lnTo>
                    <a:pt x="135409" y="143219"/>
                  </a:lnTo>
                  <a:lnTo>
                    <a:pt x="133897" y="140753"/>
                  </a:lnTo>
                  <a:lnTo>
                    <a:pt x="132653" y="138295"/>
                  </a:lnTo>
                  <a:lnTo>
                    <a:pt x="131800" y="137216"/>
                  </a:lnTo>
                  <a:lnTo>
                    <a:pt x="131058" y="136914"/>
                  </a:lnTo>
                  <a:lnTo>
                    <a:pt x="130144" y="136976"/>
                  </a:lnTo>
                  <a:lnTo>
                    <a:pt x="129090" y="137756"/>
                  </a:lnTo>
                  <a:lnTo>
                    <a:pt x="128309" y="138555"/>
                  </a:lnTo>
                  <a:lnTo>
                    <a:pt x="127199" y="138838"/>
                  </a:lnTo>
                  <a:lnTo>
                    <a:pt x="125474" y="139484"/>
                  </a:lnTo>
                  <a:lnTo>
                    <a:pt x="124230" y="140361"/>
                  </a:lnTo>
                  <a:lnTo>
                    <a:pt x="122859" y="142622"/>
                  </a:lnTo>
                  <a:lnTo>
                    <a:pt x="121952" y="142461"/>
                  </a:lnTo>
                  <a:lnTo>
                    <a:pt x="121012" y="141942"/>
                  </a:lnTo>
                  <a:lnTo>
                    <a:pt x="119935" y="139412"/>
                  </a:lnTo>
                  <a:lnTo>
                    <a:pt x="118454" y="138829"/>
                  </a:lnTo>
                  <a:lnTo>
                    <a:pt x="116078" y="138795"/>
                  </a:lnTo>
                  <a:lnTo>
                    <a:pt x="113137" y="138259"/>
                  </a:lnTo>
                  <a:lnTo>
                    <a:pt x="110753" y="137493"/>
                  </a:lnTo>
                  <a:lnTo>
                    <a:pt x="109883" y="137676"/>
                  </a:lnTo>
                  <a:lnTo>
                    <a:pt x="108464" y="138753"/>
                  </a:lnTo>
                  <a:lnTo>
                    <a:pt x="106927" y="138908"/>
                  </a:lnTo>
                  <a:lnTo>
                    <a:pt x="103562" y="137949"/>
                  </a:lnTo>
                  <a:lnTo>
                    <a:pt x="102904" y="138388"/>
                  </a:lnTo>
                  <a:lnTo>
                    <a:pt x="102020" y="139808"/>
                  </a:lnTo>
                  <a:lnTo>
                    <a:pt x="100969" y="141177"/>
                  </a:lnTo>
                  <a:lnTo>
                    <a:pt x="100055" y="141312"/>
                  </a:lnTo>
                  <a:lnTo>
                    <a:pt x="99542" y="140961"/>
                  </a:lnTo>
                  <a:lnTo>
                    <a:pt x="99829" y="138536"/>
                  </a:lnTo>
                  <a:lnTo>
                    <a:pt x="97875" y="137677"/>
                  </a:lnTo>
                  <a:lnTo>
                    <a:pt x="94579" y="137545"/>
                  </a:lnTo>
                  <a:lnTo>
                    <a:pt x="92264" y="137897"/>
                  </a:lnTo>
                  <a:lnTo>
                    <a:pt x="91128" y="137801"/>
                  </a:lnTo>
                  <a:lnTo>
                    <a:pt x="90550" y="137325"/>
                  </a:lnTo>
                  <a:lnTo>
                    <a:pt x="87717" y="133246"/>
                  </a:lnTo>
                  <a:lnTo>
                    <a:pt x="86216" y="132987"/>
                  </a:lnTo>
                  <a:lnTo>
                    <a:pt x="83534" y="133189"/>
                  </a:lnTo>
                  <a:lnTo>
                    <a:pt x="79567" y="132696"/>
                  </a:lnTo>
                  <a:lnTo>
                    <a:pt x="75000" y="131776"/>
                  </a:lnTo>
                  <a:lnTo>
                    <a:pt x="72491" y="131436"/>
                  </a:lnTo>
                  <a:lnTo>
                    <a:pt x="71184" y="130522"/>
                  </a:lnTo>
                  <a:lnTo>
                    <a:pt x="68371" y="130209"/>
                  </a:lnTo>
                  <a:lnTo>
                    <a:pt x="60813" y="128482"/>
                  </a:lnTo>
                  <a:lnTo>
                    <a:pt x="57727" y="128177"/>
                  </a:lnTo>
                  <a:lnTo>
                    <a:pt x="53184" y="128150"/>
                  </a:lnTo>
                  <a:lnTo>
                    <a:pt x="46261" y="127766"/>
                  </a:lnTo>
                  <a:lnTo>
                    <a:pt x="41828" y="127979"/>
                  </a:lnTo>
                  <a:lnTo>
                    <a:pt x="39774" y="128552"/>
                  </a:lnTo>
                  <a:lnTo>
                    <a:pt x="37399" y="128907"/>
                  </a:lnTo>
                  <a:lnTo>
                    <a:pt x="33391" y="129227"/>
                  </a:lnTo>
                  <a:lnTo>
                    <a:pt x="31758" y="129191"/>
                  </a:lnTo>
                  <a:lnTo>
                    <a:pt x="29191" y="129381"/>
                  </a:lnTo>
                  <a:lnTo>
                    <a:pt x="26243" y="129840"/>
                  </a:lnTo>
                  <a:lnTo>
                    <a:pt x="25399" y="130699"/>
                  </a:lnTo>
                  <a:lnTo>
                    <a:pt x="24434" y="132578"/>
                  </a:lnTo>
                  <a:lnTo>
                    <a:pt x="21046" y="135821"/>
                  </a:lnTo>
                  <a:lnTo>
                    <a:pt x="17761" y="137980"/>
                  </a:lnTo>
                  <a:lnTo>
                    <a:pt x="17161" y="138164"/>
                  </a:lnTo>
                  <a:lnTo>
                    <a:pt x="15239" y="137019"/>
                  </a:lnTo>
                  <a:lnTo>
                    <a:pt x="13635" y="136632"/>
                  </a:lnTo>
                  <a:lnTo>
                    <a:pt x="11758" y="136509"/>
                  </a:lnTo>
                  <a:lnTo>
                    <a:pt x="10428" y="136875"/>
                  </a:lnTo>
                  <a:lnTo>
                    <a:pt x="9586" y="137416"/>
                  </a:lnTo>
                  <a:lnTo>
                    <a:pt x="9700" y="139919"/>
                  </a:lnTo>
                  <a:lnTo>
                    <a:pt x="9513" y="140138"/>
                  </a:lnTo>
                  <a:lnTo>
                    <a:pt x="8061" y="137168"/>
                  </a:lnTo>
                  <a:lnTo>
                    <a:pt x="8176" y="134478"/>
                  </a:lnTo>
                  <a:lnTo>
                    <a:pt x="8983" y="132941"/>
                  </a:lnTo>
                  <a:lnTo>
                    <a:pt x="9964" y="131557"/>
                  </a:lnTo>
                  <a:lnTo>
                    <a:pt x="9560" y="129478"/>
                  </a:lnTo>
                  <a:lnTo>
                    <a:pt x="10525" y="126724"/>
                  </a:lnTo>
                  <a:lnTo>
                    <a:pt x="10555" y="124731"/>
                  </a:lnTo>
                  <a:lnTo>
                    <a:pt x="10132" y="123867"/>
                  </a:lnTo>
                  <a:lnTo>
                    <a:pt x="9351" y="122876"/>
                  </a:lnTo>
                  <a:lnTo>
                    <a:pt x="7210" y="121771"/>
                  </a:lnTo>
                  <a:lnTo>
                    <a:pt x="6265" y="120908"/>
                  </a:lnTo>
                  <a:lnTo>
                    <a:pt x="3362" y="119754"/>
                  </a:lnTo>
                  <a:lnTo>
                    <a:pt x="484" y="118316"/>
                  </a:lnTo>
                  <a:lnTo>
                    <a:pt x="0" y="117435"/>
                  </a:lnTo>
                  <a:lnTo>
                    <a:pt x="136" y="116831"/>
                  </a:lnTo>
                  <a:lnTo>
                    <a:pt x="642" y="115913"/>
                  </a:lnTo>
                  <a:lnTo>
                    <a:pt x="2835" y="113225"/>
                  </a:lnTo>
                  <a:lnTo>
                    <a:pt x="5215" y="110612"/>
                  </a:lnTo>
                  <a:lnTo>
                    <a:pt x="6733" y="109560"/>
                  </a:lnTo>
                  <a:lnTo>
                    <a:pt x="14807" y="106204"/>
                  </a:lnTo>
                  <a:lnTo>
                    <a:pt x="16057" y="105029"/>
                  </a:lnTo>
                  <a:lnTo>
                    <a:pt x="16371" y="103040"/>
                  </a:lnTo>
                  <a:lnTo>
                    <a:pt x="16390" y="101591"/>
                  </a:lnTo>
                  <a:lnTo>
                    <a:pt x="16237" y="99017"/>
                  </a:lnTo>
                  <a:lnTo>
                    <a:pt x="15744" y="95346"/>
                  </a:lnTo>
                  <a:lnTo>
                    <a:pt x="15127" y="92811"/>
                  </a:lnTo>
                  <a:lnTo>
                    <a:pt x="13581" y="88043"/>
                  </a:lnTo>
                  <a:lnTo>
                    <a:pt x="9372" y="78158"/>
                  </a:lnTo>
                  <a:lnTo>
                    <a:pt x="6846" y="67858"/>
                  </a:lnTo>
                  <a:lnTo>
                    <a:pt x="8491" y="68464"/>
                  </a:lnTo>
                  <a:lnTo>
                    <a:pt x="12352" y="68693"/>
                  </a:lnTo>
                  <a:lnTo>
                    <a:pt x="15423" y="67983"/>
                  </a:lnTo>
                  <a:lnTo>
                    <a:pt x="17012" y="67884"/>
                  </a:lnTo>
                  <a:lnTo>
                    <a:pt x="18429" y="68106"/>
                  </a:lnTo>
                  <a:lnTo>
                    <a:pt x="20538" y="67700"/>
                  </a:lnTo>
                  <a:lnTo>
                    <a:pt x="22471" y="67536"/>
                  </a:lnTo>
                  <a:lnTo>
                    <a:pt x="23473" y="68459"/>
                  </a:lnTo>
                  <a:lnTo>
                    <a:pt x="25272" y="69278"/>
                  </a:lnTo>
                  <a:lnTo>
                    <a:pt x="28822" y="68100"/>
                  </a:lnTo>
                  <a:lnTo>
                    <a:pt x="31966" y="66645"/>
                  </a:lnTo>
                  <a:lnTo>
                    <a:pt x="35226" y="66802"/>
                  </a:lnTo>
                  <a:lnTo>
                    <a:pt x="35693" y="66086"/>
                  </a:lnTo>
                  <a:lnTo>
                    <a:pt x="36498" y="62421"/>
                  </a:lnTo>
                  <a:lnTo>
                    <a:pt x="37468" y="61626"/>
                  </a:lnTo>
                  <a:lnTo>
                    <a:pt x="41372" y="61994"/>
                  </a:lnTo>
                  <a:lnTo>
                    <a:pt x="42817" y="61329"/>
                  </a:lnTo>
                  <a:lnTo>
                    <a:pt x="44322" y="59525"/>
                  </a:lnTo>
                  <a:lnTo>
                    <a:pt x="46626" y="58399"/>
                  </a:lnTo>
                  <a:lnTo>
                    <a:pt x="48548" y="58400"/>
                  </a:lnTo>
                  <a:lnTo>
                    <a:pt x="50550" y="57135"/>
                  </a:lnTo>
                  <a:lnTo>
                    <a:pt x="51534" y="57983"/>
                  </a:lnTo>
                  <a:lnTo>
                    <a:pt x="52013" y="59498"/>
                  </a:lnTo>
                  <a:lnTo>
                    <a:pt x="51351" y="60711"/>
                  </a:lnTo>
                  <a:lnTo>
                    <a:pt x="51638" y="61186"/>
                  </a:lnTo>
                  <a:lnTo>
                    <a:pt x="53024" y="61786"/>
                  </a:lnTo>
                  <a:lnTo>
                    <a:pt x="55402" y="61768"/>
                  </a:lnTo>
                  <a:lnTo>
                    <a:pt x="56920" y="61266"/>
                  </a:lnTo>
                  <a:lnTo>
                    <a:pt x="57274" y="60573"/>
                  </a:lnTo>
                  <a:lnTo>
                    <a:pt x="57269" y="59314"/>
                  </a:lnTo>
                  <a:lnTo>
                    <a:pt x="56896" y="58143"/>
                  </a:lnTo>
                  <a:lnTo>
                    <a:pt x="55888" y="57129"/>
                  </a:lnTo>
                  <a:lnTo>
                    <a:pt x="53994" y="56607"/>
                  </a:lnTo>
                  <a:lnTo>
                    <a:pt x="52681" y="56590"/>
                  </a:lnTo>
                  <a:lnTo>
                    <a:pt x="52456" y="55945"/>
                  </a:lnTo>
                  <a:lnTo>
                    <a:pt x="52903" y="54567"/>
                  </a:lnTo>
                  <a:lnTo>
                    <a:pt x="54069" y="52025"/>
                  </a:lnTo>
                  <a:lnTo>
                    <a:pt x="55503" y="49723"/>
                  </a:lnTo>
                  <a:lnTo>
                    <a:pt x="56380" y="48853"/>
                  </a:lnTo>
                  <a:lnTo>
                    <a:pt x="56531" y="48055"/>
                  </a:lnTo>
                  <a:lnTo>
                    <a:pt x="56360" y="46659"/>
                  </a:lnTo>
                  <a:lnTo>
                    <a:pt x="56328" y="44154"/>
                  </a:lnTo>
                  <a:lnTo>
                    <a:pt x="57619" y="40618"/>
                  </a:lnTo>
                  <a:lnTo>
                    <a:pt x="59353" y="37978"/>
                  </a:lnTo>
                  <a:lnTo>
                    <a:pt x="61679" y="37122"/>
                  </a:lnTo>
                  <a:lnTo>
                    <a:pt x="64521" y="36657"/>
                  </a:lnTo>
                  <a:lnTo>
                    <a:pt x="66339" y="35397"/>
                  </a:lnTo>
                  <a:lnTo>
                    <a:pt x="67237" y="33949"/>
                  </a:lnTo>
                  <a:lnTo>
                    <a:pt x="67578" y="32726"/>
                  </a:lnTo>
                  <a:lnTo>
                    <a:pt x="68010" y="31667"/>
                  </a:lnTo>
                  <a:lnTo>
                    <a:pt x="68917" y="31203"/>
                  </a:lnTo>
                  <a:lnTo>
                    <a:pt x="75758" y="31493"/>
                  </a:lnTo>
                  <a:lnTo>
                    <a:pt x="76803" y="29212"/>
                  </a:lnTo>
                  <a:lnTo>
                    <a:pt x="77391" y="28574"/>
                  </a:lnTo>
                  <a:lnTo>
                    <a:pt x="78704" y="27900"/>
                  </a:lnTo>
                  <a:lnTo>
                    <a:pt x="79617" y="27088"/>
                  </a:lnTo>
                  <a:lnTo>
                    <a:pt x="79273" y="26463"/>
                  </a:lnTo>
                  <a:lnTo>
                    <a:pt x="77529" y="26058"/>
                  </a:lnTo>
                  <a:lnTo>
                    <a:pt x="73417" y="25701"/>
                  </a:lnTo>
                  <a:lnTo>
                    <a:pt x="72584" y="24946"/>
                  </a:lnTo>
                  <a:lnTo>
                    <a:pt x="72847" y="24036"/>
                  </a:lnTo>
                  <a:lnTo>
                    <a:pt x="73946" y="21680"/>
                  </a:lnTo>
                  <a:lnTo>
                    <a:pt x="74994" y="18637"/>
                  </a:lnTo>
                  <a:lnTo>
                    <a:pt x="75529" y="16277"/>
                  </a:lnTo>
                  <a:lnTo>
                    <a:pt x="75589" y="14885"/>
                  </a:lnTo>
                  <a:lnTo>
                    <a:pt x="76179" y="14510"/>
                  </a:lnTo>
                  <a:lnTo>
                    <a:pt x="79533" y="14064"/>
                  </a:lnTo>
                  <a:lnTo>
                    <a:pt x="80651" y="13591"/>
                  </a:lnTo>
                  <a:lnTo>
                    <a:pt x="83538" y="10370"/>
                  </a:lnTo>
                  <a:lnTo>
                    <a:pt x="85739" y="9822"/>
                  </a:lnTo>
                  <a:lnTo>
                    <a:pt x="91414" y="10651"/>
                  </a:lnTo>
                  <a:lnTo>
                    <a:pt x="94022" y="10587"/>
                  </a:lnTo>
                  <a:lnTo>
                    <a:pt x="94731" y="10663"/>
                  </a:lnTo>
                  <a:lnTo>
                    <a:pt x="97330" y="10810"/>
                  </a:lnTo>
                  <a:lnTo>
                    <a:pt x="97611" y="10487"/>
                  </a:lnTo>
                  <a:lnTo>
                    <a:pt x="98779" y="7298"/>
                  </a:lnTo>
                  <a:lnTo>
                    <a:pt x="99928" y="6369"/>
                  </a:lnTo>
                  <a:lnTo>
                    <a:pt x="104396" y="2174"/>
                  </a:lnTo>
                  <a:lnTo>
                    <a:pt x="107397" y="390"/>
                  </a:lnTo>
                  <a:lnTo>
                    <a:pt x="109296" y="0"/>
                  </a:lnTo>
                  <a:close/>
                </a:path>
              </a:pathLst>
            </a:custGeom>
            <a:solidFill>
              <a:srgbClr val="C7CDD0"/>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AT" sz="1600" err="1">
                <a:solidFill>
                  <a:schemeClr val="tx1"/>
                </a:solidFill>
                <a:latin typeface="Calibri" panose="020F0502020204030204" pitchFamily="34" charset="0"/>
                <a:cs typeface="Calibri" panose="020F0502020204030204" pitchFamily="34" charset="0"/>
              </a:endParaRPr>
            </a:p>
          </p:txBody>
        </p:sp>
        <p:sp>
          <p:nvSpPr>
            <p:cNvPr id="71" name="ee4p_CH_1_86241">
              <a:extLst>
                <a:ext uri="{FF2B5EF4-FFF2-40B4-BE49-F238E27FC236}">
                  <a16:creationId xmlns:a16="http://schemas.microsoft.com/office/drawing/2014/main" id="{6D58D916-C5A0-47B7-BE31-377960712370}"/>
                </a:ext>
              </a:extLst>
            </p:cNvPr>
            <p:cNvSpPr>
              <a:spLocks noChangeAspect="1"/>
            </p:cNvSpPr>
            <p:nvPr>
              <p:custDataLst>
                <p:tags r:id="rId10"/>
              </p:custDataLst>
            </p:nvPr>
          </p:nvSpPr>
          <p:spPr>
            <a:xfrm>
              <a:off x="6512040" y="3237711"/>
              <a:ext cx="300528" cy="168563"/>
            </a:xfrm>
            <a:custGeom>
              <a:avLst/>
              <a:gdLst/>
              <a:ahLst/>
              <a:cxnLst/>
              <a:rect l="0" t="0" r="0" b="0"/>
              <a:pathLst>
                <a:path w="99164" h="54190">
                  <a:moveTo>
                    <a:pt x="78586" y="7066"/>
                  </a:moveTo>
                  <a:lnTo>
                    <a:pt x="79258" y="7434"/>
                  </a:lnTo>
                  <a:lnTo>
                    <a:pt x="80838" y="8671"/>
                  </a:lnTo>
                  <a:lnTo>
                    <a:pt x="80467" y="10781"/>
                  </a:lnTo>
                  <a:lnTo>
                    <a:pt x="78664" y="14171"/>
                  </a:lnTo>
                  <a:lnTo>
                    <a:pt x="77707" y="16915"/>
                  </a:lnTo>
                  <a:lnTo>
                    <a:pt x="77601" y="19015"/>
                  </a:lnTo>
                  <a:lnTo>
                    <a:pt x="77783" y="20000"/>
                  </a:lnTo>
                  <a:lnTo>
                    <a:pt x="78107" y="19987"/>
                  </a:lnTo>
                  <a:lnTo>
                    <a:pt x="79830" y="20137"/>
                  </a:lnTo>
                  <a:lnTo>
                    <a:pt x="80707" y="20134"/>
                  </a:lnTo>
                  <a:lnTo>
                    <a:pt x="83473" y="20703"/>
                  </a:lnTo>
                  <a:lnTo>
                    <a:pt x="85690" y="21533"/>
                  </a:lnTo>
                  <a:lnTo>
                    <a:pt x="86118" y="22409"/>
                  </a:lnTo>
                  <a:lnTo>
                    <a:pt x="86407" y="23477"/>
                  </a:lnTo>
                  <a:lnTo>
                    <a:pt x="89042" y="24936"/>
                  </a:lnTo>
                  <a:lnTo>
                    <a:pt x="92063" y="25879"/>
                  </a:lnTo>
                  <a:lnTo>
                    <a:pt x="93087" y="25577"/>
                  </a:lnTo>
                  <a:lnTo>
                    <a:pt x="96837" y="22164"/>
                  </a:lnTo>
                  <a:lnTo>
                    <a:pt x="98286" y="22731"/>
                  </a:lnTo>
                  <a:lnTo>
                    <a:pt x="99163" y="24544"/>
                  </a:lnTo>
                  <a:lnTo>
                    <a:pt x="99124" y="25505"/>
                  </a:lnTo>
                  <a:lnTo>
                    <a:pt x="98090" y="29128"/>
                  </a:lnTo>
                  <a:lnTo>
                    <a:pt x="97911" y="31070"/>
                  </a:lnTo>
                  <a:lnTo>
                    <a:pt x="98802" y="32354"/>
                  </a:lnTo>
                  <a:lnTo>
                    <a:pt x="98895" y="33354"/>
                  </a:lnTo>
                  <a:lnTo>
                    <a:pt x="98634" y="34266"/>
                  </a:lnTo>
                  <a:lnTo>
                    <a:pt x="97140" y="34349"/>
                  </a:lnTo>
                  <a:lnTo>
                    <a:pt x="95131" y="33855"/>
                  </a:lnTo>
                  <a:lnTo>
                    <a:pt x="93434" y="32292"/>
                  </a:lnTo>
                  <a:lnTo>
                    <a:pt x="92152" y="32479"/>
                  </a:lnTo>
                  <a:lnTo>
                    <a:pt x="91035" y="32881"/>
                  </a:lnTo>
                  <a:lnTo>
                    <a:pt x="90465" y="34357"/>
                  </a:lnTo>
                  <a:lnTo>
                    <a:pt x="89958" y="36122"/>
                  </a:lnTo>
                  <a:lnTo>
                    <a:pt x="90120" y="37102"/>
                  </a:lnTo>
                  <a:lnTo>
                    <a:pt x="90923" y="37855"/>
                  </a:lnTo>
                  <a:lnTo>
                    <a:pt x="91536" y="39460"/>
                  </a:lnTo>
                  <a:lnTo>
                    <a:pt x="91983" y="41535"/>
                  </a:lnTo>
                  <a:lnTo>
                    <a:pt x="92322" y="42489"/>
                  </a:lnTo>
                  <a:lnTo>
                    <a:pt x="91949" y="42912"/>
                  </a:lnTo>
                  <a:lnTo>
                    <a:pt x="90892" y="43196"/>
                  </a:lnTo>
                  <a:lnTo>
                    <a:pt x="90018" y="42916"/>
                  </a:lnTo>
                  <a:lnTo>
                    <a:pt x="88485" y="40435"/>
                  </a:lnTo>
                  <a:lnTo>
                    <a:pt x="87768" y="39489"/>
                  </a:lnTo>
                  <a:lnTo>
                    <a:pt x="86557" y="39324"/>
                  </a:lnTo>
                  <a:lnTo>
                    <a:pt x="84419" y="39926"/>
                  </a:lnTo>
                  <a:lnTo>
                    <a:pt x="81139" y="41316"/>
                  </a:lnTo>
                  <a:lnTo>
                    <a:pt x="79815" y="41310"/>
                  </a:lnTo>
                  <a:lnTo>
                    <a:pt x="78690" y="41030"/>
                  </a:lnTo>
                  <a:lnTo>
                    <a:pt x="77636" y="39850"/>
                  </a:lnTo>
                  <a:lnTo>
                    <a:pt x="76742" y="37576"/>
                  </a:lnTo>
                  <a:lnTo>
                    <a:pt x="76455" y="36146"/>
                  </a:lnTo>
                  <a:lnTo>
                    <a:pt x="75829" y="36192"/>
                  </a:lnTo>
                  <a:lnTo>
                    <a:pt x="73730" y="35779"/>
                  </a:lnTo>
                  <a:lnTo>
                    <a:pt x="72752" y="36344"/>
                  </a:lnTo>
                  <a:lnTo>
                    <a:pt x="72743" y="38673"/>
                  </a:lnTo>
                  <a:lnTo>
                    <a:pt x="72551" y="41568"/>
                  </a:lnTo>
                  <a:lnTo>
                    <a:pt x="71497" y="43438"/>
                  </a:lnTo>
                  <a:lnTo>
                    <a:pt x="68569" y="46669"/>
                  </a:lnTo>
                  <a:lnTo>
                    <a:pt x="67494" y="48078"/>
                  </a:lnTo>
                  <a:lnTo>
                    <a:pt x="67066" y="49088"/>
                  </a:lnTo>
                  <a:lnTo>
                    <a:pt x="66975" y="49966"/>
                  </a:lnTo>
                  <a:lnTo>
                    <a:pt x="67422" y="51484"/>
                  </a:lnTo>
                  <a:lnTo>
                    <a:pt x="68031" y="52933"/>
                  </a:lnTo>
                  <a:lnTo>
                    <a:pt x="67524" y="53757"/>
                  </a:lnTo>
                  <a:lnTo>
                    <a:pt x="65975" y="54189"/>
                  </a:lnTo>
                  <a:lnTo>
                    <a:pt x="64883" y="53309"/>
                  </a:lnTo>
                  <a:lnTo>
                    <a:pt x="64460" y="51744"/>
                  </a:lnTo>
                  <a:lnTo>
                    <a:pt x="62091" y="49605"/>
                  </a:lnTo>
                  <a:lnTo>
                    <a:pt x="63168" y="47813"/>
                  </a:lnTo>
                  <a:lnTo>
                    <a:pt x="62987" y="47368"/>
                  </a:lnTo>
                  <a:lnTo>
                    <a:pt x="59076" y="46438"/>
                  </a:lnTo>
                  <a:lnTo>
                    <a:pt x="57390" y="45082"/>
                  </a:lnTo>
                  <a:lnTo>
                    <a:pt x="55023" y="42700"/>
                  </a:lnTo>
                  <a:lnTo>
                    <a:pt x="54583" y="41677"/>
                  </a:lnTo>
                  <a:lnTo>
                    <a:pt x="54682" y="38353"/>
                  </a:lnTo>
                  <a:lnTo>
                    <a:pt x="54546" y="37546"/>
                  </a:lnTo>
                  <a:lnTo>
                    <a:pt x="54230" y="37153"/>
                  </a:lnTo>
                  <a:lnTo>
                    <a:pt x="53084" y="37179"/>
                  </a:lnTo>
                  <a:lnTo>
                    <a:pt x="51488" y="38335"/>
                  </a:lnTo>
                  <a:lnTo>
                    <a:pt x="50016" y="40060"/>
                  </a:lnTo>
                  <a:lnTo>
                    <a:pt x="47003" y="42004"/>
                  </a:lnTo>
                  <a:lnTo>
                    <a:pt x="46690" y="42420"/>
                  </a:lnTo>
                  <a:lnTo>
                    <a:pt x="47701" y="44314"/>
                  </a:lnTo>
                  <a:lnTo>
                    <a:pt x="47655" y="45051"/>
                  </a:lnTo>
                  <a:lnTo>
                    <a:pt x="45202" y="48066"/>
                  </a:lnTo>
                  <a:lnTo>
                    <a:pt x="44736" y="49060"/>
                  </a:lnTo>
                  <a:lnTo>
                    <a:pt x="41622" y="50950"/>
                  </a:lnTo>
                  <a:lnTo>
                    <a:pt x="40197" y="51657"/>
                  </a:lnTo>
                  <a:lnTo>
                    <a:pt x="35878" y="50267"/>
                  </a:lnTo>
                  <a:lnTo>
                    <a:pt x="34684" y="50102"/>
                  </a:lnTo>
                  <a:lnTo>
                    <a:pt x="32760" y="51033"/>
                  </a:lnTo>
                  <a:lnTo>
                    <a:pt x="30026" y="51918"/>
                  </a:lnTo>
                  <a:lnTo>
                    <a:pt x="25627" y="52799"/>
                  </a:lnTo>
                  <a:lnTo>
                    <a:pt x="24008" y="52155"/>
                  </a:lnTo>
                  <a:lnTo>
                    <a:pt x="23241" y="51548"/>
                  </a:lnTo>
                  <a:lnTo>
                    <a:pt x="22861" y="50636"/>
                  </a:lnTo>
                  <a:lnTo>
                    <a:pt x="21751" y="49026"/>
                  </a:lnTo>
                  <a:lnTo>
                    <a:pt x="20503" y="48070"/>
                  </a:lnTo>
                  <a:lnTo>
                    <a:pt x="19635" y="47029"/>
                  </a:lnTo>
                  <a:lnTo>
                    <a:pt x="18478" y="45889"/>
                  </a:lnTo>
                  <a:lnTo>
                    <a:pt x="17735" y="44935"/>
                  </a:lnTo>
                  <a:lnTo>
                    <a:pt x="18724" y="41889"/>
                  </a:lnTo>
                  <a:lnTo>
                    <a:pt x="18002" y="40815"/>
                  </a:lnTo>
                  <a:lnTo>
                    <a:pt x="17631" y="39284"/>
                  </a:lnTo>
                  <a:lnTo>
                    <a:pt x="17823" y="38246"/>
                  </a:lnTo>
                  <a:lnTo>
                    <a:pt x="17426" y="37993"/>
                  </a:lnTo>
                  <a:lnTo>
                    <a:pt x="13448" y="37394"/>
                  </a:lnTo>
                  <a:lnTo>
                    <a:pt x="10147" y="37584"/>
                  </a:lnTo>
                  <a:lnTo>
                    <a:pt x="7780" y="38605"/>
                  </a:lnTo>
                  <a:lnTo>
                    <a:pt x="5852" y="40298"/>
                  </a:lnTo>
                  <a:lnTo>
                    <a:pt x="5621" y="40663"/>
                  </a:lnTo>
                  <a:lnTo>
                    <a:pt x="5740" y="40968"/>
                  </a:lnTo>
                  <a:lnTo>
                    <a:pt x="6698" y="42524"/>
                  </a:lnTo>
                  <a:lnTo>
                    <a:pt x="5072" y="44162"/>
                  </a:lnTo>
                  <a:lnTo>
                    <a:pt x="2578" y="45436"/>
                  </a:lnTo>
                  <a:lnTo>
                    <a:pt x="810" y="45566"/>
                  </a:lnTo>
                  <a:lnTo>
                    <a:pt x="32" y="45320"/>
                  </a:lnTo>
                  <a:lnTo>
                    <a:pt x="0" y="43564"/>
                  </a:lnTo>
                  <a:lnTo>
                    <a:pt x="1461" y="42916"/>
                  </a:lnTo>
                  <a:lnTo>
                    <a:pt x="2783" y="41773"/>
                  </a:lnTo>
                  <a:lnTo>
                    <a:pt x="3226" y="40159"/>
                  </a:lnTo>
                  <a:lnTo>
                    <a:pt x="3388" y="39023"/>
                  </a:lnTo>
                  <a:lnTo>
                    <a:pt x="1995" y="37649"/>
                  </a:lnTo>
                  <a:lnTo>
                    <a:pt x="2166" y="36806"/>
                  </a:lnTo>
                  <a:lnTo>
                    <a:pt x="3029" y="35210"/>
                  </a:lnTo>
                  <a:lnTo>
                    <a:pt x="3530" y="33795"/>
                  </a:lnTo>
                  <a:lnTo>
                    <a:pt x="4217" y="32572"/>
                  </a:lnTo>
                  <a:lnTo>
                    <a:pt x="6968" y="30569"/>
                  </a:lnTo>
                  <a:lnTo>
                    <a:pt x="9732" y="28556"/>
                  </a:lnTo>
                  <a:lnTo>
                    <a:pt x="10149" y="26415"/>
                  </a:lnTo>
                  <a:lnTo>
                    <a:pt x="10361" y="23806"/>
                  </a:lnTo>
                  <a:lnTo>
                    <a:pt x="10751" y="23180"/>
                  </a:lnTo>
                  <a:lnTo>
                    <a:pt x="14479" y="21617"/>
                  </a:lnTo>
                  <a:lnTo>
                    <a:pt x="15409" y="20998"/>
                  </a:lnTo>
                  <a:lnTo>
                    <a:pt x="15878" y="20112"/>
                  </a:lnTo>
                  <a:lnTo>
                    <a:pt x="18810" y="17180"/>
                  </a:lnTo>
                  <a:lnTo>
                    <a:pt x="21715" y="14271"/>
                  </a:lnTo>
                  <a:lnTo>
                    <a:pt x="22300" y="13294"/>
                  </a:lnTo>
                  <a:lnTo>
                    <a:pt x="22788" y="12722"/>
                  </a:lnTo>
                  <a:lnTo>
                    <a:pt x="22788" y="12247"/>
                  </a:lnTo>
                  <a:lnTo>
                    <a:pt x="22423" y="11881"/>
                  </a:lnTo>
                  <a:lnTo>
                    <a:pt x="21039" y="11637"/>
                  </a:lnTo>
                  <a:lnTo>
                    <a:pt x="20572" y="10712"/>
                  </a:lnTo>
                  <a:lnTo>
                    <a:pt x="22075" y="9058"/>
                  </a:lnTo>
                  <a:lnTo>
                    <a:pt x="23956" y="8045"/>
                  </a:lnTo>
                  <a:lnTo>
                    <a:pt x="25783" y="8031"/>
                  </a:lnTo>
                  <a:lnTo>
                    <a:pt x="26517" y="8497"/>
                  </a:lnTo>
                  <a:lnTo>
                    <a:pt x="26478" y="9045"/>
                  </a:lnTo>
                  <a:lnTo>
                    <a:pt x="27266" y="9633"/>
                  </a:lnTo>
                  <a:lnTo>
                    <a:pt x="28651" y="9828"/>
                  </a:lnTo>
                  <a:lnTo>
                    <a:pt x="30363" y="9623"/>
                  </a:lnTo>
                  <a:lnTo>
                    <a:pt x="32062" y="9004"/>
                  </a:lnTo>
                  <a:lnTo>
                    <a:pt x="33110" y="7531"/>
                  </a:lnTo>
                  <a:lnTo>
                    <a:pt x="33718" y="6417"/>
                  </a:lnTo>
                  <a:lnTo>
                    <a:pt x="36388" y="5143"/>
                  </a:lnTo>
                  <a:lnTo>
                    <a:pt x="38210" y="5784"/>
                  </a:lnTo>
                  <a:lnTo>
                    <a:pt x="43274" y="5953"/>
                  </a:lnTo>
                  <a:lnTo>
                    <a:pt x="46960" y="5608"/>
                  </a:lnTo>
                  <a:lnTo>
                    <a:pt x="49271" y="4744"/>
                  </a:lnTo>
                  <a:lnTo>
                    <a:pt x="52136" y="4744"/>
                  </a:lnTo>
                  <a:lnTo>
                    <a:pt x="54058" y="5231"/>
                  </a:lnTo>
                  <a:lnTo>
                    <a:pt x="54397" y="5159"/>
                  </a:lnTo>
                  <a:lnTo>
                    <a:pt x="54926" y="5045"/>
                  </a:lnTo>
                  <a:lnTo>
                    <a:pt x="55449" y="4582"/>
                  </a:lnTo>
                  <a:lnTo>
                    <a:pt x="57258" y="4264"/>
                  </a:lnTo>
                  <a:lnTo>
                    <a:pt x="57502" y="3876"/>
                  </a:lnTo>
                  <a:lnTo>
                    <a:pt x="57426" y="3480"/>
                  </a:lnTo>
                  <a:lnTo>
                    <a:pt x="57100" y="3277"/>
                  </a:lnTo>
                  <a:lnTo>
                    <a:pt x="54876" y="3483"/>
                  </a:lnTo>
                  <a:lnTo>
                    <a:pt x="54025" y="3176"/>
                  </a:lnTo>
                  <a:lnTo>
                    <a:pt x="53807" y="2471"/>
                  </a:lnTo>
                  <a:lnTo>
                    <a:pt x="54522" y="1246"/>
                  </a:lnTo>
                  <a:lnTo>
                    <a:pt x="56161" y="246"/>
                  </a:lnTo>
                  <a:lnTo>
                    <a:pt x="57550" y="0"/>
                  </a:lnTo>
                  <a:lnTo>
                    <a:pt x="58549" y="268"/>
                  </a:lnTo>
                  <a:lnTo>
                    <a:pt x="60992" y="2126"/>
                  </a:lnTo>
                  <a:lnTo>
                    <a:pt x="61577" y="2183"/>
                  </a:lnTo>
                  <a:lnTo>
                    <a:pt x="61916" y="1849"/>
                  </a:lnTo>
                  <a:lnTo>
                    <a:pt x="62423" y="1662"/>
                  </a:lnTo>
                  <a:lnTo>
                    <a:pt x="63265" y="2026"/>
                  </a:lnTo>
                  <a:lnTo>
                    <a:pt x="64213" y="3176"/>
                  </a:lnTo>
                  <a:lnTo>
                    <a:pt x="64371" y="3354"/>
                  </a:lnTo>
                  <a:lnTo>
                    <a:pt x="69819" y="2951"/>
                  </a:lnTo>
                  <a:lnTo>
                    <a:pt x="71041" y="2951"/>
                  </a:lnTo>
                  <a:lnTo>
                    <a:pt x="74738" y="4969"/>
                  </a:lnTo>
                  <a:close/>
                </a:path>
              </a:pathLst>
            </a:custGeom>
            <a:solidFill>
              <a:srgbClr val="C7CDD0"/>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AT" sz="1600" err="1">
                <a:solidFill>
                  <a:schemeClr val="tx1"/>
                </a:solidFill>
                <a:latin typeface="Calibri" panose="020F0502020204030204" pitchFamily="34" charset="0"/>
                <a:cs typeface="Calibri" panose="020F0502020204030204" pitchFamily="34" charset="0"/>
              </a:endParaRPr>
            </a:p>
          </p:txBody>
        </p:sp>
        <p:sp>
          <p:nvSpPr>
            <p:cNvPr id="72" name="ee4p_CZ_1_86241">
              <a:extLst>
                <a:ext uri="{FF2B5EF4-FFF2-40B4-BE49-F238E27FC236}">
                  <a16:creationId xmlns:a16="http://schemas.microsoft.com/office/drawing/2014/main" id="{4BFA4184-39C0-4837-B9EA-D5CC5EDAEE53}"/>
                </a:ext>
              </a:extLst>
            </p:cNvPr>
            <p:cNvSpPr>
              <a:spLocks noChangeAspect="1"/>
            </p:cNvSpPr>
            <p:nvPr>
              <p:custDataLst>
                <p:tags r:id="rId11"/>
              </p:custDataLst>
            </p:nvPr>
          </p:nvSpPr>
          <p:spPr>
            <a:xfrm>
              <a:off x="6922143" y="2946759"/>
              <a:ext cx="451837" cy="220554"/>
            </a:xfrm>
            <a:custGeom>
              <a:avLst/>
              <a:gdLst/>
              <a:ahLst/>
              <a:cxnLst/>
              <a:rect l="0" t="0" r="0" b="0"/>
              <a:pathLst>
                <a:path w="149091" h="70904">
                  <a:moveTo>
                    <a:pt x="60137" y="5220"/>
                  </a:moveTo>
                  <a:lnTo>
                    <a:pt x="62048" y="5150"/>
                  </a:lnTo>
                  <a:lnTo>
                    <a:pt x="63974" y="4416"/>
                  </a:lnTo>
                  <a:lnTo>
                    <a:pt x="64129" y="3229"/>
                  </a:lnTo>
                  <a:lnTo>
                    <a:pt x="64008" y="1005"/>
                  </a:lnTo>
                  <a:lnTo>
                    <a:pt x="64214" y="685"/>
                  </a:lnTo>
                  <a:lnTo>
                    <a:pt x="67137" y="1313"/>
                  </a:lnTo>
                  <a:lnTo>
                    <a:pt x="70070" y="2315"/>
                  </a:lnTo>
                  <a:lnTo>
                    <a:pt x="70478" y="4520"/>
                  </a:lnTo>
                  <a:lnTo>
                    <a:pt x="71264" y="5606"/>
                  </a:lnTo>
                  <a:lnTo>
                    <a:pt x="72188" y="6597"/>
                  </a:lnTo>
                  <a:lnTo>
                    <a:pt x="73078" y="7048"/>
                  </a:lnTo>
                  <a:lnTo>
                    <a:pt x="74611" y="7119"/>
                  </a:lnTo>
                  <a:lnTo>
                    <a:pt x="78591" y="8429"/>
                  </a:lnTo>
                  <a:lnTo>
                    <a:pt x="80506" y="8696"/>
                  </a:lnTo>
                  <a:lnTo>
                    <a:pt x="82467" y="9599"/>
                  </a:lnTo>
                  <a:lnTo>
                    <a:pt x="84118" y="10524"/>
                  </a:lnTo>
                  <a:lnTo>
                    <a:pt x="85326" y="10717"/>
                  </a:lnTo>
                  <a:lnTo>
                    <a:pt x="85885" y="11730"/>
                  </a:lnTo>
                  <a:lnTo>
                    <a:pt x="86623" y="12423"/>
                  </a:lnTo>
                  <a:lnTo>
                    <a:pt x="87932" y="11891"/>
                  </a:lnTo>
                  <a:lnTo>
                    <a:pt x="92704" y="11143"/>
                  </a:lnTo>
                  <a:lnTo>
                    <a:pt x="94423" y="12139"/>
                  </a:lnTo>
                  <a:lnTo>
                    <a:pt x="95585" y="13192"/>
                  </a:lnTo>
                  <a:lnTo>
                    <a:pt x="95745" y="13527"/>
                  </a:lnTo>
                  <a:lnTo>
                    <a:pt x="95138" y="14456"/>
                  </a:lnTo>
                  <a:lnTo>
                    <a:pt x="94847" y="15175"/>
                  </a:lnTo>
                  <a:lnTo>
                    <a:pt x="94350" y="15652"/>
                  </a:lnTo>
                  <a:lnTo>
                    <a:pt x="92711" y="16159"/>
                  </a:lnTo>
                  <a:lnTo>
                    <a:pt x="91787" y="16981"/>
                  </a:lnTo>
                  <a:lnTo>
                    <a:pt x="91115" y="17880"/>
                  </a:lnTo>
                  <a:lnTo>
                    <a:pt x="91566" y="18739"/>
                  </a:lnTo>
                  <a:lnTo>
                    <a:pt x="92905" y="19383"/>
                  </a:lnTo>
                  <a:lnTo>
                    <a:pt x="93853" y="19528"/>
                  </a:lnTo>
                  <a:lnTo>
                    <a:pt x="94214" y="20156"/>
                  </a:lnTo>
                  <a:lnTo>
                    <a:pt x="97246" y="22961"/>
                  </a:lnTo>
                  <a:lnTo>
                    <a:pt x="99657" y="26619"/>
                  </a:lnTo>
                  <a:lnTo>
                    <a:pt x="100597" y="27191"/>
                  </a:lnTo>
                  <a:lnTo>
                    <a:pt x="101480" y="27326"/>
                  </a:lnTo>
                  <a:lnTo>
                    <a:pt x="102501" y="26789"/>
                  </a:lnTo>
                  <a:lnTo>
                    <a:pt x="103680" y="25604"/>
                  </a:lnTo>
                  <a:lnTo>
                    <a:pt x="105078" y="24746"/>
                  </a:lnTo>
                  <a:lnTo>
                    <a:pt x="106261" y="24305"/>
                  </a:lnTo>
                  <a:lnTo>
                    <a:pt x="108347" y="23293"/>
                  </a:lnTo>
                  <a:lnTo>
                    <a:pt x="108429" y="22633"/>
                  </a:lnTo>
                  <a:lnTo>
                    <a:pt x="106691" y="20156"/>
                  </a:lnTo>
                  <a:lnTo>
                    <a:pt x="105682" y="18147"/>
                  </a:lnTo>
                  <a:lnTo>
                    <a:pt x="105924" y="17783"/>
                  </a:lnTo>
                  <a:lnTo>
                    <a:pt x="108150" y="18101"/>
                  </a:lnTo>
                  <a:lnTo>
                    <a:pt x="111936" y="19197"/>
                  </a:lnTo>
                  <a:lnTo>
                    <a:pt x="117758" y="22776"/>
                  </a:lnTo>
                  <a:lnTo>
                    <a:pt x="118799" y="22776"/>
                  </a:lnTo>
                  <a:lnTo>
                    <a:pt x="120839" y="22507"/>
                  </a:lnTo>
                  <a:lnTo>
                    <a:pt x="123053" y="21923"/>
                  </a:lnTo>
                  <a:lnTo>
                    <a:pt x="124104" y="21258"/>
                  </a:lnTo>
                  <a:lnTo>
                    <a:pt x="124499" y="21506"/>
                  </a:lnTo>
                  <a:lnTo>
                    <a:pt x="124838" y="23471"/>
                  </a:lnTo>
                  <a:lnTo>
                    <a:pt x="124259" y="24548"/>
                  </a:lnTo>
                  <a:lnTo>
                    <a:pt x="121608" y="25592"/>
                  </a:lnTo>
                  <a:lnTo>
                    <a:pt x="121761" y="26111"/>
                  </a:lnTo>
                  <a:lnTo>
                    <a:pt x="122441" y="26779"/>
                  </a:lnTo>
                  <a:lnTo>
                    <a:pt x="123635" y="27230"/>
                  </a:lnTo>
                  <a:lnTo>
                    <a:pt x="125084" y="28502"/>
                  </a:lnTo>
                  <a:lnTo>
                    <a:pt x="126082" y="29951"/>
                  </a:lnTo>
                  <a:lnTo>
                    <a:pt x="126957" y="30623"/>
                  </a:lnTo>
                  <a:lnTo>
                    <a:pt x="127920" y="30942"/>
                  </a:lnTo>
                  <a:lnTo>
                    <a:pt x="130330" y="30168"/>
                  </a:lnTo>
                  <a:lnTo>
                    <a:pt x="131012" y="29556"/>
                  </a:lnTo>
                  <a:lnTo>
                    <a:pt x="131314" y="29123"/>
                  </a:lnTo>
                  <a:lnTo>
                    <a:pt x="131783" y="29219"/>
                  </a:lnTo>
                  <a:lnTo>
                    <a:pt x="132627" y="29931"/>
                  </a:lnTo>
                  <a:lnTo>
                    <a:pt x="132882" y="30350"/>
                  </a:lnTo>
                  <a:lnTo>
                    <a:pt x="135227" y="31159"/>
                  </a:lnTo>
                  <a:lnTo>
                    <a:pt x="136577" y="32153"/>
                  </a:lnTo>
                  <a:lnTo>
                    <a:pt x="137438" y="32621"/>
                  </a:lnTo>
                  <a:lnTo>
                    <a:pt x="138393" y="32166"/>
                  </a:lnTo>
                  <a:lnTo>
                    <a:pt x="142103" y="32957"/>
                  </a:lnTo>
                  <a:lnTo>
                    <a:pt x="143124" y="33621"/>
                  </a:lnTo>
                  <a:lnTo>
                    <a:pt x="143450" y="34723"/>
                  </a:lnTo>
                  <a:lnTo>
                    <a:pt x="143266" y="35391"/>
                  </a:lnTo>
                  <a:lnTo>
                    <a:pt x="143837" y="37122"/>
                  </a:lnTo>
                  <a:lnTo>
                    <a:pt x="148531" y="41266"/>
                  </a:lnTo>
                  <a:lnTo>
                    <a:pt x="149025" y="43380"/>
                  </a:lnTo>
                  <a:lnTo>
                    <a:pt x="149090" y="44222"/>
                  </a:lnTo>
                  <a:lnTo>
                    <a:pt x="148533" y="44267"/>
                  </a:lnTo>
                  <a:lnTo>
                    <a:pt x="147265" y="44704"/>
                  </a:lnTo>
                  <a:lnTo>
                    <a:pt x="145640" y="44863"/>
                  </a:lnTo>
                  <a:lnTo>
                    <a:pt x="143878" y="44777"/>
                  </a:lnTo>
                  <a:lnTo>
                    <a:pt x="142508" y="45545"/>
                  </a:lnTo>
                  <a:lnTo>
                    <a:pt x="141215" y="46795"/>
                  </a:lnTo>
                  <a:lnTo>
                    <a:pt x="139883" y="47660"/>
                  </a:lnTo>
                  <a:lnTo>
                    <a:pt x="139159" y="48434"/>
                  </a:lnTo>
                  <a:lnTo>
                    <a:pt x="138755" y="49227"/>
                  </a:lnTo>
                  <a:lnTo>
                    <a:pt x="134247" y="51485"/>
                  </a:lnTo>
                  <a:lnTo>
                    <a:pt x="133621" y="52424"/>
                  </a:lnTo>
                  <a:lnTo>
                    <a:pt x="133119" y="53704"/>
                  </a:lnTo>
                  <a:lnTo>
                    <a:pt x="132908" y="55432"/>
                  </a:lnTo>
                  <a:lnTo>
                    <a:pt x="132588" y="56980"/>
                  </a:lnTo>
                  <a:lnTo>
                    <a:pt x="131813" y="57797"/>
                  </a:lnTo>
                  <a:lnTo>
                    <a:pt x="129377" y="58498"/>
                  </a:lnTo>
                  <a:lnTo>
                    <a:pt x="128770" y="58876"/>
                  </a:lnTo>
                  <a:lnTo>
                    <a:pt x="128315" y="59663"/>
                  </a:lnTo>
                  <a:lnTo>
                    <a:pt x="126948" y="60876"/>
                  </a:lnTo>
                  <a:lnTo>
                    <a:pt x="125348" y="62030"/>
                  </a:lnTo>
                  <a:lnTo>
                    <a:pt x="122405" y="63348"/>
                  </a:lnTo>
                  <a:lnTo>
                    <a:pt x="119248" y="63749"/>
                  </a:lnTo>
                  <a:lnTo>
                    <a:pt x="115140" y="63321"/>
                  </a:lnTo>
                  <a:lnTo>
                    <a:pt x="112743" y="62804"/>
                  </a:lnTo>
                  <a:lnTo>
                    <a:pt x="111575" y="63371"/>
                  </a:lnTo>
                  <a:lnTo>
                    <a:pt x="109975" y="65088"/>
                  </a:lnTo>
                  <a:lnTo>
                    <a:pt x="108250" y="68042"/>
                  </a:lnTo>
                  <a:lnTo>
                    <a:pt x="107540" y="70261"/>
                  </a:lnTo>
                  <a:lnTo>
                    <a:pt x="106991" y="69634"/>
                  </a:lnTo>
                  <a:lnTo>
                    <a:pt x="106004" y="67280"/>
                  </a:lnTo>
                  <a:lnTo>
                    <a:pt x="104888" y="66978"/>
                  </a:lnTo>
                  <a:lnTo>
                    <a:pt x="103367" y="66759"/>
                  </a:lnTo>
                  <a:lnTo>
                    <a:pt x="102223" y="66412"/>
                  </a:lnTo>
                  <a:lnTo>
                    <a:pt x="99752" y="65056"/>
                  </a:lnTo>
                  <a:lnTo>
                    <a:pt x="98483" y="64647"/>
                  </a:lnTo>
                  <a:lnTo>
                    <a:pt x="97032" y="64537"/>
                  </a:lnTo>
                  <a:lnTo>
                    <a:pt x="95637" y="65335"/>
                  </a:lnTo>
                  <a:lnTo>
                    <a:pt x="94585" y="66277"/>
                  </a:lnTo>
                  <a:lnTo>
                    <a:pt x="91314" y="66264"/>
                  </a:lnTo>
                  <a:lnTo>
                    <a:pt x="87729" y="65827"/>
                  </a:lnTo>
                  <a:lnTo>
                    <a:pt x="82598" y="62704"/>
                  </a:lnTo>
                  <a:lnTo>
                    <a:pt x="81268" y="62677"/>
                  </a:lnTo>
                  <a:lnTo>
                    <a:pt x="79847" y="62818"/>
                  </a:lnTo>
                  <a:lnTo>
                    <a:pt x="77606" y="62080"/>
                  </a:lnTo>
                  <a:lnTo>
                    <a:pt x="73261" y="60056"/>
                  </a:lnTo>
                  <a:lnTo>
                    <a:pt x="71227" y="59581"/>
                  </a:lnTo>
                  <a:lnTo>
                    <a:pt x="69940" y="59871"/>
                  </a:lnTo>
                  <a:lnTo>
                    <a:pt x="68766" y="60319"/>
                  </a:lnTo>
                  <a:lnTo>
                    <a:pt x="67928" y="60372"/>
                  </a:lnTo>
                  <a:lnTo>
                    <a:pt x="67442" y="59714"/>
                  </a:lnTo>
                  <a:lnTo>
                    <a:pt x="65829" y="58901"/>
                  </a:lnTo>
                  <a:lnTo>
                    <a:pt x="64207" y="58808"/>
                  </a:lnTo>
                  <a:lnTo>
                    <a:pt x="63736" y="59298"/>
                  </a:lnTo>
                  <a:lnTo>
                    <a:pt x="63188" y="63750"/>
                  </a:lnTo>
                  <a:lnTo>
                    <a:pt x="62639" y="65354"/>
                  </a:lnTo>
                  <a:lnTo>
                    <a:pt x="60413" y="65280"/>
                  </a:lnTo>
                  <a:lnTo>
                    <a:pt x="59618" y="66038"/>
                  </a:lnTo>
                  <a:lnTo>
                    <a:pt x="57865" y="68184"/>
                  </a:lnTo>
                  <a:lnTo>
                    <a:pt x="57526" y="70249"/>
                  </a:lnTo>
                  <a:lnTo>
                    <a:pt x="54488" y="69849"/>
                  </a:lnTo>
                  <a:lnTo>
                    <a:pt x="53045" y="69502"/>
                  </a:lnTo>
                  <a:lnTo>
                    <a:pt x="51771" y="69765"/>
                  </a:lnTo>
                  <a:lnTo>
                    <a:pt x="50367" y="70903"/>
                  </a:lnTo>
                  <a:lnTo>
                    <a:pt x="46437" y="70836"/>
                  </a:lnTo>
                  <a:lnTo>
                    <a:pt x="43326" y="70157"/>
                  </a:lnTo>
                  <a:lnTo>
                    <a:pt x="41991" y="67600"/>
                  </a:lnTo>
                  <a:lnTo>
                    <a:pt x="40566" y="66588"/>
                  </a:lnTo>
                  <a:lnTo>
                    <a:pt x="38772" y="65682"/>
                  </a:lnTo>
                  <a:lnTo>
                    <a:pt x="38143" y="65481"/>
                  </a:lnTo>
                  <a:lnTo>
                    <a:pt x="37152" y="64085"/>
                  </a:lnTo>
                  <a:lnTo>
                    <a:pt x="35273" y="62355"/>
                  </a:lnTo>
                  <a:lnTo>
                    <a:pt x="32237" y="59990"/>
                  </a:lnTo>
                  <a:lnTo>
                    <a:pt x="29873" y="60107"/>
                  </a:lnTo>
                  <a:lnTo>
                    <a:pt x="28998" y="59479"/>
                  </a:lnTo>
                  <a:lnTo>
                    <a:pt x="28612" y="58609"/>
                  </a:lnTo>
                  <a:lnTo>
                    <a:pt x="27625" y="57104"/>
                  </a:lnTo>
                  <a:lnTo>
                    <a:pt x="26513" y="56057"/>
                  </a:lnTo>
                  <a:lnTo>
                    <a:pt x="25165" y="55651"/>
                  </a:lnTo>
                  <a:lnTo>
                    <a:pt x="23235" y="54317"/>
                  </a:lnTo>
                  <a:lnTo>
                    <a:pt x="20652" y="51407"/>
                  </a:lnTo>
                  <a:lnTo>
                    <a:pt x="18285" y="49393"/>
                  </a:lnTo>
                  <a:lnTo>
                    <a:pt x="16001" y="49425"/>
                  </a:lnTo>
                  <a:lnTo>
                    <a:pt x="14552" y="48369"/>
                  </a:lnTo>
                  <a:lnTo>
                    <a:pt x="13077" y="46985"/>
                  </a:lnTo>
                  <a:lnTo>
                    <a:pt x="11991" y="45644"/>
                  </a:lnTo>
                  <a:lnTo>
                    <a:pt x="10304" y="42383"/>
                  </a:lnTo>
                  <a:lnTo>
                    <a:pt x="9078" y="40520"/>
                  </a:lnTo>
                  <a:lnTo>
                    <a:pt x="8121" y="39367"/>
                  </a:lnTo>
                  <a:lnTo>
                    <a:pt x="7041" y="38406"/>
                  </a:lnTo>
                  <a:lnTo>
                    <a:pt x="6651" y="37645"/>
                  </a:lnTo>
                  <a:lnTo>
                    <a:pt x="7970" y="35903"/>
                  </a:lnTo>
                  <a:lnTo>
                    <a:pt x="8449" y="35041"/>
                  </a:lnTo>
                  <a:lnTo>
                    <a:pt x="9017" y="34379"/>
                  </a:lnTo>
                  <a:lnTo>
                    <a:pt x="9348" y="33676"/>
                  </a:lnTo>
                  <a:lnTo>
                    <a:pt x="9337" y="33147"/>
                  </a:lnTo>
                  <a:lnTo>
                    <a:pt x="8134" y="31425"/>
                  </a:lnTo>
                  <a:lnTo>
                    <a:pt x="6510" y="30182"/>
                  </a:lnTo>
                  <a:lnTo>
                    <a:pt x="4128" y="28919"/>
                  </a:lnTo>
                  <a:lnTo>
                    <a:pt x="2610" y="27325"/>
                  </a:lnTo>
                  <a:lnTo>
                    <a:pt x="2051" y="25864"/>
                  </a:lnTo>
                  <a:lnTo>
                    <a:pt x="1885" y="25061"/>
                  </a:lnTo>
                  <a:lnTo>
                    <a:pt x="842" y="23973"/>
                  </a:lnTo>
                  <a:lnTo>
                    <a:pt x="0" y="22377"/>
                  </a:lnTo>
                  <a:lnTo>
                    <a:pt x="2" y="21416"/>
                  </a:lnTo>
                  <a:lnTo>
                    <a:pt x="209" y="21148"/>
                  </a:lnTo>
                  <a:lnTo>
                    <a:pt x="998" y="21149"/>
                  </a:lnTo>
                  <a:lnTo>
                    <a:pt x="1880" y="21803"/>
                  </a:lnTo>
                  <a:lnTo>
                    <a:pt x="3127" y="23063"/>
                  </a:lnTo>
                  <a:lnTo>
                    <a:pt x="4148" y="24898"/>
                  </a:lnTo>
                  <a:lnTo>
                    <a:pt x="4774" y="24196"/>
                  </a:lnTo>
                  <a:lnTo>
                    <a:pt x="5945" y="22241"/>
                  </a:lnTo>
                  <a:lnTo>
                    <a:pt x="8024" y="20023"/>
                  </a:lnTo>
                  <a:lnTo>
                    <a:pt x="10156" y="18759"/>
                  </a:lnTo>
                  <a:lnTo>
                    <a:pt x="12069" y="18653"/>
                  </a:lnTo>
                  <a:lnTo>
                    <a:pt x="13636" y="18303"/>
                  </a:lnTo>
                  <a:lnTo>
                    <a:pt x="14941" y="17670"/>
                  </a:lnTo>
                  <a:lnTo>
                    <a:pt x="17214" y="17923"/>
                  </a:lnTo>
                  <a:lnTo>
                    <a:pt x="18860" y="18381"/>
                  </a:lnTo>
                  <a:lnTo>
                    <a:pt x="19393" y="18098"/>
                  </a:lnTo>
                  <a:lnTo>
                    <a:pt x="20063" y="16942"/>
                  </a:lnTo>
                  <a:lnTo>
                    <a:pt x="20490" y="15945"/>
                  </a:lnTo>
                  <a:lnTo>
                    <a:pt x="24133" y="15361"/>
                  </a:lnTo>
                  <a:lnTo>
                    <a:pt x="25383" y="13436"/>
                  </a:lnTo>
                  <a:lnTo>
                    <a:pt x="26087" y="13446"/>
                  </a:lnTo>
                  <a:lnTo>
                    <a:pt x="26895" y="13158"/>
                  </a:lnTo>
                  <a:lnTo>
                    <a:pt x="27668" y="12428"/>
                  </a:lnTo>
                  <a:lnTo>
                    <a:pt x="28411" y="12129"/>
                  </a:lnTo>
                  <a:lnTo>
                    <a:pt x="28998" y="12490"/>
                  </a:lnTo>
                  <a:lnTo>
                    <a:pt x="29771" y="12729"/>
                  </a:lnTo>
                  <a:lnTo>
                    <a:pt x="30577" y="12268"/>
                  </a:lnTo>
                  <a:lnTo>
                    <a:pt x="31771" y="10061"/>
                  </a:lnTo>
                  <a:lnTo>
                    <a:pt x="32438" y="9717"/>
                  </a:lnTo>
                  <a:lnTo>
                    <a:pt x="35636" y="9371"/>
                  </a:lnTo>
                  <a:lnTo>
                    <a:pt x="39996" y="8068"/>
                  </a:lnTo>
                  <a:lnTo>
                    <a:pt x="42205" y="6907"/>
                  </a:lnTo>
                  <a:lnTo>
                    <a:pt x="44373" y="6277"/>
                  </a:lnTo>
                  <a:lnTo>
                    <a:pt x="46701" y="5155"/>
                  </a:lnTo>
                  <a:lnTo>
                    <a:pt x="50400" y="4061"/>
                  </a:lnTo>
                  <a:lnTo>
                    <a:pt x="50577" y="3614"/>
                  </a:lnTo>
                  <a:lnTo>
                    <a:pt x="48860" y="2489"/>
                  </a:lnTo>
                  <a:lnTo>
                    <a:pt x="48283" y="1779"/>
                  </a:lnTo>
                  <a:lnTo>
                    <a:pt x="47897" y="1050"/>
                  </a:lnTo>
                  <a:lnTo>
                    <a:pt x="48502" y="243"/>
                  </a:lnTo>
                  <a:lnTo>
                    <a:pt x="49309" y="0"/>
                  </a:lnTo>
                  <a:lnTo>
                    <a:pt x="50361" y="337"/>
                  </a:lnTo>
                  <a:lnTo>
                    <a:pt x="53458" y="816"/>
                  </a:lnTo>
                  <a:lnTo>
                    <a:pt x="54306" y="1281"/>
                  </a:lnTo>
                  <a:lnTo>
                    <a:pt x="54615" y="2421"/>
                  </a:lnTo>
                  <a:lnTo>
                    <a:pt x="55401" y="3481"/>
                  </a:lnTo>
                  <a:lnTo>
                    <a:pt x="56034" y="3594"/>
                  </a:lnTo>
                  <a:lnTo>
                    <a:pt x="55807" y="5320"/>
                  </a:lnTo>
                  <a:lnTo>
                    <a:pt x="56794" y="5989"/>
                  </a:lnTo>
                  <a:lnTo>
                    <a:pt x="58234" y="6511"/>
                  </a:lnTo>
                  <a:lnTo>
                    <a:pt x="59189" y="6406"/>
                  </a:lnTo>
                  <a:lnTo>
                    <a:pt x="59873" y="5706"/>
                  </a:lnTo>
                  <a:close/>
                </a:path>
              </a:pathLst>
            </a:custGeom>
            <a:solidFill>
              <a:srgbClr val="C7CDD0"/>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AT" sz="1600" err="1">
                <a:solidFill>
                  <a:schemeClr val="tx1"/>
                </a:solidFill>
                <a:latin typeface="Calibri" panose="020F0502020204030204" pitchFamily="34" charset="0"/>
                <a:cs typeface="Calibri" panose="020F0502020204030204" pitchFamily="34" charset="0"/>
              </a:endParaRPr>
            </a:p>
          </p:txBody>
        </p:sp>
        <p:sp>
          <p:nvSpPr>
            <p:cNvPr id="73" name="ee4p_DE_1_86241">
              <a:extLst>
                <a:ext uri="{FF2B5EF4-FFF2-40B4-BE49-F238E27FC236}">
                  <a16:creationId xmlns:a16="http://schemas.microsoft.com/office/drawing/2014/main" id="{EB5D3F6B-545E-43FE-A8AB-21B204893A6B}"/>
                </a:ext>
              </a:extLst>
            </p:cNvPr>
            <p:cNvSpPr>
              <a:spLocks noChangeAspect="1"/>
            </p:cNvSpPr>
            <p:nvPr>
              <p:custDataLst>
                <p:tags r:id="rId12"/>
              </p:custDataLst>
            </p:nvPr>
          </p:nvSpPr>
          <p:spPr>
            <a:xfrm>
              <a:off x="6504503" y="2571877"/>
              <a:ext cx="613782" cy="709211"/>
            </a:xfrm>
            <a:custGeom>
              <a:avLst/>
              <a:gdLst>
                <a:gd name="connsiteX0" fmla="*/ 176238 w 202527"/>
                <a:gd name="connsiteY0" fmla="*/ 28478 h 227999"/>
                <a:gd name="connsiteX1" fmla="*/ 180907 w 202527"/>
                <a:gd name="connsiteY1" fmla="*/ 31292 h 227999"/>
                <a:gd name="connsiteX2" fmla="*/ 184723 w 202527"/>
                <a:gd name="connsiteY2" fmla="*/ 33847 h 227999"/>
                <a:gd name="connsiteX3" fmla="*/ 184431 w 202527"/>
                <a:gd name="connsiteY3" fmla="*/ 34795 h 227999"/>
                <a:gd name="connsiteX4" fmla="*/ 184772 w 202527"/>
                <a:gd name="connsiteY4" fmla="*/ 36258 h 227999"/>
                <a:gd name="connsiteX5" fmla="*/ 183854 w 202527"/>
                <a:gd name="connsiteY5" fmla="*/ 36149 h 227999"/>
                <a:gd name="connsiteX6" fmla="*/ 181117 w 202527"/>
                <a:gd name="connsiteY6" fmla="*/ 36490 h 227999"/>
                <a:gd name="connsiteX7" fmla="*/ 178406 w 202527"/>
                <a:gd name="connsiteY7" fmla="*/ 36007 h 227999"/>
                <a:gd name="connsiteX8" fmla="*/ 177884 w 202527"/>
                <a:gd name="connsiteY8" fmla="*/ 34192 h 227999"/>
                <a:gd name="connsiteX9" fmla="*/ 178316 w 202527"/>
                <a:gd name="connsiteY9" fmla="*/ 32443 h 227999"/>
                <a:gd name="connsiteX10" fmla="*/ 177227 w 202527"/>
                <a:gd name="connsiteY10" fmla="*/ 31240 h 227999"/>
                <a:gd name="connsiteX11" fmla="*/ 176225 w 202527"/>
                <a:gd name="connsiteY11" fmla="*/ 30534 h 227999"/>
                <a:gd name="connsiteX12" fmla="*/ 176077 w 202527"/>
                <a:gd name="connsiteY12" fmla="*/ 29524 h 227999"/>
                <a:gd name="connsiteX13" fmla="*/ 115590 w 202527"/>
                <a:gd name="connsiteY13" fmla="*/ 16104 h 227999"/>
                <a:gd name="connsiteX14" fmla="*/ 118877 w 202527"/>
                <a:gd name="connsiteY14" fmla="*/ 17086 h 227999"/>
                <a:gd name="connsiteX15" fmla="*/ 119909 w 202527"/>
                <a:gd name="connsiteY15" fmla="*/ 19005 h 227999"/>
                <a:gd name="connsiteX16" fmla="*/ 119965 w 202527"/>
                <a:gd name="connsiteY16" fmla="*/ 19628 h 227999"/>
                <a:gd name="connsiteX17" fmla="*/ 116570 w 202527"/>
                <a:gd name="connsiteY17" fmla="*/ 19687 h 227999"/>
                <a:gd name="connsiteX18" fmla="*/ 115274 w 202527"/>
                <a:gd name="connsiteY18" fmla="*/ 18467 h 227999"/>
                <a:gd name="connsiteX19" fmla="*/ 113970 w 202527"/>
                <a:gd name="connsiteY19" fmla="*/ 18157 h 227999"/>
                <a:gd name="connsiteX20" fmla="*/ 114672 w 202527"/>
                <a:gd name="connsiteY20" fmla="*/ 16652 h 227999"/>
                <a:gd name="connsiteX21" fmla="*/ 167283 w 202527"/>
                <a:gd name="connsiteY21" fmla="*/ 11030 h 227999"/>
                <a:gd name="connsiteX22" fmla="*/ 167888 w 202527"/>
                <a:gd name="connsiteY22" fmla="*/ 12552 h 227999"/>
                <a:gd name="connsiteX23" fmla="*/ 168797 w 202527"/>
                <a:gd name="connsiteY23" fmla="*/ 13599 h 227999"/>
                <a:gd name="connsiteX24" fmla="*/ 171999 w 202527"/>
                <a:gd name="connsiteY24" fmla="*/ 14772 h 227999"/>
                <a:gd name="connsiteX25" fmla="*/ 172477 w 202527"/>
                <a:gd name="connsiteY25" fmla="*/ 15305 h 227999"/>
                <a:gd name="connsiteX26" fmla="*/ 172766 w 202527"/>
                <a:gd name="connsiteY26" fmla="*/ 16042 h 227999"/>
                <a:gd name="connsiteX27" fmla="*/ 171276 w 202527"/>
                <a:gd name="connsiteY27" fmla="*/ 17485 h 227999"/>
                <a:gd name="connsiteX28" fmla="*/ 170771 w 202527"/>
                <a:gd name="connsiteY28" fmla="*/ 18224 h 227999"/>
                <a:gd name="connsiteX29" fmla="*/ 171244 w 202527"/>
                <a:gd name="connsiteY29" fmla="*/ 19409 h 227999"/>
                <a:gd name="connsiteX30" fmla="*/ 173617 w 202527"/>
                <a:gd name="connsiteY30" fmla="*/ 20703 h 227999"/>
                <a:gd name="connsiteX31" fmla="*/ 174170 w 202527"/>
                <a:gd name="connsiteY31" fmla="*/ 22753 h 227999"/>
                <a:gd name="connsiteX32" fmla="*/ 173576 w 202527"/>
                <a:gd name="connsiteY32" fmla="*/ 23797 h 227999"/>
                <a:gd name="connsiteX33" fmla="*/ 171090 w 202527"/>
                <a:gd name="connsiteY33" fmla="*/ 22060 h 227999"/>
                <a:gd name="connsiteX34" fmla="*/ 168594 w 202527"/>
                <a:gd name="connsiteY34" fmla="*/ 22084 h 227999"/>
                <a:gd name="connsiteX35" fmla="*/ 167102 w 202527"/>
                <a:gd name="connsiteY35" fmla="*/ 24759 h 227999"/>
                <a:gd name="connsiteX36" fmla="*/ 165992 w 202527"/>
                <a:gd name="connsiteY36" fmla="*/ 24872 h 227999"/>
                <a:gd name="connsiteX37" fmla="*/ 162138 w 202527"/>
                <a:gd name="connsiteY37" fmla="*/ 22442 h 227999"/>
                <a:gd name="connsiteX38" fmla="*/ 161520 w 202527"/>
                <a:gd name="connsiteY38" fmla="*/ 21256 h 227999"/>
                <a:gd name="connsiteX39" fmla="*/ 161393 w 202527"/>
                <a:gd name="connsiteY39" fmla="*/ 20270 h 227999"/>
                <a:gd name="connsiteX40" fmla="*/ 161943 w 202527"/>
                <a:gd name="connsiteY40" fmla="*/ 16850 h 227999"/>
                <a:gd name="connsiteX41" fmla="*/ 161842 w 202527"/>
                <a:gd name="connsiteY41" fmla="*/ 15773 h 227999"/>
                <a:gd name="connsiteX42" fmla="*/ 163053 w 202527"/>
                <a:gd name="connsiteY42" fmla="*/ 14596 h 227999"/>
                <a:gd name="connsiteX43" fmla="*/ 163241 w 202527"/>
                <a:gd name="connsiteY43" fmla="*/ 12894 h 227999"/>
                <a:gd name="connsiteX44" fmla="*/ 165383 w 202527"/>
                <a:gd name="connsiteY44" fmla="*/ 11098 h 227999"/>
                <a:gd name="connsiteX45" fmla="*/ 58651 w 202527"/>
                <a:gd name="connsiteY45" fmla="*/ 9162 h 227999"/>
                <a:gd name="connsiteX46" fmla="*/ 60055 w 202527"/>
                <a:gd name="connsiteY46" fmla="*/ 9517 h 227999"/>
                <a:gd name="connsiteX47" fmla="*/ 60374 w 202527"/>
                <a:gd name="connsiteY47" fmla="*/ 10621 h 227999"/>
                <a:gd name="connsiteX48" fmla="*/ 59513 w 202527"/>
                <a:gd name="connsiteY48" fmla="*/ 11371 h 227999"/>
                <a:gd name="connsiteX49" fmla="*/ 57409 w 202527"/>
                <a:gd name="connsiteY49" fmla="*/ 11283 h 227999"/>
                <a:gd name="connsiteX50" fmla="*/ 56228 w 202527"/>
                <a:gd name="connsiteY50" fmla="*/ 10577 h 227999"/>
                <a:gd name="connsiteX51" fmla="*/ 56611 w 202527"/>
                <a:gd name="connsiteY51" fmla="*/ 9825 h 227999"/>
                <a:gd name="connsiteX52" fmla="*/ 57727 w 202527"/>
                <a:gd name="connsiteY52" fmla="*/ 9251 h 227999"/>
                <a:gd name="connsiteX53" fmla="*/ 62197 w 202527"/>
                <a:gd name="connsiteY53" fmla="*/ 4773 h 227999"/>
                <a:gd name="connsiteX54" fmla="*/ 62206 w 202527"/>
                <a:gd name="connsiteY54" fmla="*/ 4776 h 227999"/>
                <a:gd name="connsiteX55" fmla="*/ 66330 w 202527"/>
                <a:gd name="connsiteY55" fmla="*/ 4843 h 227999"/>
                <a:gd name="connsiteX56" fmla="*/ 67341 w 202527"/>
                <a:gd name="connsiteY56" fmla="*/ 4973 h 227999"/>
                <a:gd name="connsiteX57" fmla="*/ 73596 w 202527"/>
                <a:gd name="connsiteY57" fmla="*/ 6576 h 227999"/>
                <a:gd name="connsiteX58" fmla="*/ 75125 w 202527"/>
                <a:gd name="connsiteY58" fmla="*/ 7700 h 227999"/>
                <a:gd name="connsiteX59" fmla="*/ 77049 w 202527"/>
                <a:gd name="connsiteY59" fmla="*/ 7753 h 227999"/>
                <a:gd name="connsiteX60" fmla="*/ 80515 w 202527"/>
                <a:gd name="connsiteY60" fmla="*/ 6706 h 227999"/>
                <a:gd name="connsiteX61" fmla="*/ 83104 w 202527"/>
                <a:gd name="connsiteY61" fmla="*/ 6246 h 227999"/>
                <a:gd name="connsiteX62" fmla="*/ 84108 w 202527"/>
                <a:gd name="connsiteY62" fmla="*/ 6892 h 227999"/>
                <a:gd name="connsiteX63" fmla="*/ 85518 w 202527"/>
                <a:gd name="connsiteY63" fmla="*/ 7163 h 227999"/>
                <a:gd name="connsiteX64" fmla="*/ 85844 w 202527"/>
                <a:gd name="connsiteY64" fmla="*/ 7163 h 227999"/>
                <a:gd name="connsiteX65" fmla="*/ 85981 w 202527"/>
                <a:gd name="connsiteY65" fmla="*/ 7726 h 227999"/>
                <a:gd name="connsiteX66" fmla="*/ 89217 w 202527"/>
                <a:gd name="connsiteY66" fmla="*/ 8540 h 227999"/>
                <a:gd name="connsiteX67" fmla="*/ 90578 w 202527"/>
                <a:gd name="connsiteY67" fmla="*/ 9837 h 227999"/>
                <a:gd name="connsiteX68" fmla="*/ 92089 w 202527"/>
                <a:gd name="connsiteY68" fmla="*/ 11807 h 227999"/>
                <a:gd name="connsiteX69" fmla="*/ 92236 w 202527"/>
                <a:gd name="connsiteY69" fmla="*/ 14641 h 227999"/>
                <a:gd name="connsiteX70" fmla="*/ 90301 w 202527"/>
                <a:gd name="connsiteY70" fmla="*/ 16677 h 227999"/>
                <a:gd name="connsiteX71" fmla="*/ 88695 w 202527"/>
                <a:gd name="connsiteY71" fmla="*/ 17965 h 227999"/>
                <a:gd name="connsiteX72" fmla="*/ 94771 w 202527"/>
                <a:gd name="connsiteY72" fmla="*/ 17478 h 227999"/>
                <a:gd name="connsiteX73" fmla="*/ 95376 w 202527"/>
                <a:gd name="connsiteY73" fmla="*/ 18645 h 227999"/>
                <a:gd name="connsiteX74" fmla="*/ 96296 w 202527"/>
                <a:gd name="connsiteY74" fmla="*/ 19903 h 227999"/>
                <a:gd name="connsiteX75" fmla="*/ 99569 w 202527"/>
                <a:gd name="connsiteY75" fmla="*/ 19007 h 227999"/>
                <a:gd name="connsiteX76" fmla="*/ 107775 w 202527"/>
                <a:gd name="connsiteY76" fmla="*/ 22728 h 227999"/>
                <a:gd name="connsiteX77" fmla="*/ 112737 w 202527"/>
                <a:gd name="connsiteY77" fmla="*/ 20917 h 227999"/>
                <a:gd name="connsiteX78" fmla="*/ 114007 w 202527"/>
                <a:gd name="connsiteY78" fmla="*/ 20811 h 227999"/>
                <a:gd name="connsiteX79" fmla="*/ 115134 w 202527"/>
                <a:gd name="connsiteY79" fmla="*/ 23817 h 227999"/>
                <a:gd name="connsiteX80" fmla="*/ 113901 w 202527"/>
                <a:gd name="connsiteY80" fmla="*/ 26840 h 227999"/>
                <a:gd name="connsiteX81" fmla="*/ 109526 w 202527"/>
                <a:gd name="connsiteY81" fmla="*/ 30061 h 227999"/>
                <a:gd name="connsiteX82" fmla="*/ 110496 w 202527"/>
                <a:gd name="connsiteY82" fmla="*/ 32043 h 227999"/>
                <a:gd name="connsiteX83" fmla="*/ 111893 w 202527"/>
                <a:gd name="connsiteY83" fmla="*/ 32483 h 227999"/>
                <a:gd name="connsiteX84" fmla="*/ 116017 w 202527"/>
                <a:gd name="connsiteY84" fmla="*/ 32063 h 227999"/>
                <a:gd name="connsiteX85" fmla="*/ 122547 w 202527"/>
                <a:gd name="connsiteY85" fmla="*/ 34020 h 227999"/>
                <a:gd name="connsiteX86" fmla="*/ 123908 w 202527"/>
                <a:gd name="connsiteY86" fmla="*/ 33410 h 227999"/>
                <a:gd name="connsiteX87" fmla="*/ 129203 w 202527"/>
                <a:gd name="connsiteY87" fmla="*/ 28895 h 227999"/>
                <a:gd name="connsiteX88" fmla="*/ 131319 w 202527"/>
                <a:gd name="connsiteY88" fmla="*/ 27925 h 227999"/>
                <a:gd name="connsiteX89" fmla="*/ 138285 w 202527"/>
                <a:gd name="connsiteY89" fmla="*/ 27230 h 227999"/>
                <a:gd name="connsiteX90" fmla="*/ 139552 w 202527"/>
                <a:gd name="connsiteY90" fmla="*/ 25479 h 227999"/>
                <a:gd name="connsiteX91" fmla="*/ 142375 w 202527"/>
                <a:gd name="connsiteY91" fmla="*/ 23717 h 227999"/>
                <a:gd name="connsiteX92" fmla="*/ 144193 w 202527"/>
                <a:gd name="connsiteY92" fmla="*/ 21791 h 227999"/>
                <a:gd name="connsiteX93" fmla="*/ 148546 w 202527"/>
                <a:gd name="connsiteY93" fmla="*/ 18120 h 227999"/>
                <a:gd name="connsiteX94" fmla="*/ 153051 w 202527"/>
                <a:gd name="connsiteY94" fmla="*/ 18782 h 227999"/>
                <a:gd name="connsiteX95" fmla="*/ 155681 w 202527"/>
                <a:gd name="connsiteY95" fmla="*/ 19485 h 227999"/>
                <a:gd name="connsiteX96" fmla="*/ 158568 w 202527"/>
                <a:gd name="connsiteY96" fmla="*/ 19839 h 227999"/>
                <a:gd name="connsiteX97" fmla="*/ 161196 w 202527"/>
                <a:gd name="connsiteY97" fmla="*/ 23749 h 227999"/>
                <a:gd name="connsiteX98" fmla="*/ 167843 w 202527"/>
                <a:gd name="connsiteY98" fmla="*/ 28064 h 227999"/>
                <a:gd name="connsiteX99" fmla="*/ 173950 w 202527"/>
                <a:gd name="connsiteY99" fmla="*/ 27689 h 227999"/>
                <a:gd name="connsiteX100" fmla="*/ 176117 w 202527"/>
                <a:gd name="connsiteY100" fmla="*/ 31764 h 227999"/>
                <a:gd name="connsiteX101" fmla="*/ 177074 w 202527"/>
                <a:gd name="connsiteY101" fmla="*/ 36785 h 227999"/>
                <a:gd name="connsiteX102" fmla="*/ 178950 w 202527"/>
                <a:gd name="connsiteY102" fmla="*/ 38358 h 227999"/>
                <a:gd name="connsiteX103" fmla="*/ 180600 w 202527"/>
                <a:gd name="connsiteY103" fmla="*/ 39385 h 227999"/>
                <a:gd name="connsiteX104" fmla="*/ 185576 w 202527"/>
                <a:gd name="connsiteY104" fmla="*/ 40460 h 227999"/>
                <a:gd name="connsiteX105" fmla="*/ 185772 w 202527"/>
                <a:gd name="connsiteY105" fmla="*/ 40528 h 227999"/>
                <a:gd name="connsiteX106" fmla="*/ 185932 w 202527"/>
                <a:gd name="connsiteY106" fmla="*/ 41208 h 227999"/>
                <a:gd name="connsiteX107" fmla="*/ 186236 w 202527"/>
                <a:gd name="connsiteY107" fmla="*/ 43696 h 227999"/>
                <a:gd name="connsiteX108" fmla="*/ 186653 w 202527"/>
                <a:gd name="connsiteY108" fmla="*/ 45757 h 227999"/>
                <a:gd name="connsiteX109" fmla="*/ 189214 w 202527"/>
                <a:gd name="connsiteY109" fmla="*/ 53974 h 227999"/>
                <a:gd name="connsiteX110" fmla="*/ 189165 w 202527"/>
                <a:gd name="connsiteY110" fmla="*/ 55979 h 227999"/>
                <a:gd name="connsiteX111" fmla="*/ 189134 w 202527"/>
                <a:gd name="connsiteY111" fmla="*/ 56511 h 227999"/>
                <a:gd name="connsiteX112" fmla="*/ 188197 w 202527"/>
                <a:gd name="connsiteY112" fmla="*/ 59315 h 227999"/>
                <a:gd name="connsiteX113" fmla="*/ 186530 w 202527"/>
                <a:gd name="connsiteY113" fmla="*/ 61677 h 227999"/>
                <a:gd name="connsiteX114" fmla="*/ 184330 w 202527"/>
                <a:gd name="connsiteY114" fmla="*/ 63008 h 227999"/>
                <a:gd name="connsiteX115" fmla="*/ 183118 w 202527"/>
                <a:gd name="connsiteY115" fmla="*/ 64488 h 227999"/>
                <a:gd name="connsiteX116" fmla="*/ 182891 w 202527"/>
                <a:gd name="connsiteY116" fmla="*/ 66122 h 227999"/>
                <a:gd name="connsiteX117" fmla="*/ 185658 w 202527"/>
                <a:gd name="connsiteY117" fmla="*/ 68981 h 227999"/>
                <a:gd name="connsiteX118" fmla="*/ 191414 w 202527"/>
                <a:gd name="connsiteY118" fmla="*/ 73066 h 227999"/>
                <a:gd name="connsiteX119" fmla="*/ 193744 w 202527"/>
                <a:gd name="connsiteY119" fmla="*/ 76554 h 227999"/>
                <a:gd name="connsiteX120" fmla="*/ 192645 w 202527"/>
                <a:gd name="connsiteY120" fmla="*/ 79452 h 227999"/>
                <a:gd name="connsiteX121" fmla="*/ 192311 w 202527"/>
                <a:gd name="connsiteY121" fmla="*/ 81575 h 227999"/>
                <a:gd name="connsiteX122" fmla="*/ 192738 w 202527"/>
                <a:gd name="connsiteY122" fmla="*/ 82926 h 227999"/>
                <a:gd name="connsiteX123" fmla="*/ 193660 w 202527"/>
                <a:gd name="connsiteY123" fmla="*/ 84010 h 227999"/>
                <a:gd name="connsiteX124" fmla="*/ 195081 w 202527"/>
                <a:gd name="connsiteY124" fmla="*/ 84830 h 227999"/>
                <a:gd name="connsiteX125" fmla="*/ 195645 w 202527"/>
                <a:gd name="connsiteY125" fmla="*/ 86091 h 227999"/>
                <a:gd name="connsiteX126" fmla="*/ 195358 w 202527"/>
                <a:gd name="connsiteY126" fmla="*/ 87793 h 227999"/>
                <a:gd name="connsiteX127" fmla="*/ 195627 w 202527"/>
                <a:gd name="connsiteY127" fmla="*/ 88973 h 227999"/>
                <a:gd name="connsiteX128" fmla="*/ 196688 w 202527"/>
                <a:gd name="connsiteY128" fmla="*/ 89813 h 227999"/>
                <a:gd name="connsiteX129" fmla="*/ 196590 w 202527"/>
                <a:gd name="connsiteY129" fmla="*/ 90139 h 227999"/>
                <a:gd name="connsiteX130" fmla="*/ 196075 w 202527"/>
                <a:gd name="connsiteY130" fmla="*/ 91321 h 227999"/>
                <a:gd name="connsiteX131" fmla="*/ 195370 w 202527"/>
                <a:gd name="connsiteY131" fmla="*/ 93475 h 227999"/>
                <a:gd name="connsiteX132" fmla="*/ 194971 w 202527"/>
                <a:gd name="connsiteY132" fmla="*/ 95046 h 227999"/>
                <a:gd name="connsiteX133" fmla="*/ 193351 w 202527"/>
                <a:gd name="connsiteY133" fmla="*/ 97185 h 227999"/>
                <a:gd name="connsiteX134" fmla="*/ 193844 w 202527"/>
                <a:gd name="connsiteY134" fmla="*/ 99001 h 227999"/>
                <a:gd name="connsiteX135" fmla="*/ 195113 w 202527"/>
                <a:gd name="connsiteY135" fmla="*/ 101141 h 227999"/>
                <a:gd name="connsiteX136" fmla="*/ 196077 w 202527"/>
                <a:gd name="connsiteY136" fmla="*/ 102216 h 227999"/>
                <a:gd name="connsiteX137" fmla="*/ 196381 w 202527"/>
                <a:gd name="connsiteY137" fmla="*/ 103234 h 227999"/>
                <a:gd name="connsiteX138" fmla="*/ 195768 w 202527"/>
                <a:gd name="connsiteY138" fmla="*/ 105653 h 227999"/>
                <a:gd name="connsiteX139" fmla="*/ 196072 w 202527"/>
                <a:gd name="connsiteY139" fmla="*/ 106271 h 227999"/>
                <a:gd name="connsiteX140" fmla="*/ 200080 w 202527"/>
                <a:gd name="connsiteY140" fmla="*/ 108051 h 227999"/>
                <a:gd name="connsiteX141" fmla="*/ 200734 w 202527"/>
                <a:gd name="connsiteY141" fmla="*/ 108872 h 227999"/>
                <a:gd name="connsiteX142" fmla="*/ 201123 w 202527"/>
                <a:gd name="connsiteY142" fmla="*/ 110581 h 227999"/>
                <a:gd name="connsiteX143" fmla="*/ 202527 w 202527"/>
                <a:gd name="connsiteY143" fmla="*/ 114229 h 227999"/>
                <a:gd name="connsiteX144" fmla="*/ 201361 w 202527"/>
                <a:gd name="connsiteY144" fmla="*/ 118843 h 227999"/>
                <a:gd name="connsiteX145" fmla="*/ 200335 w 202527"/>
                <a:gd name="connsiteY145" fmla="*/ 121367 h 227999"/>
                <a:gd name="connsiteX146" fmla="*/ 198052 w 202527"/>
                <a:gd name="connsiteY146" fmla="*/ 125369 h 227999"/>
                <a:gd name="connsiteX147" fmla="*/ 197945 w 202527"/>
                <a:gd name="connsiteY147" fmla="*/ 125738 h 227999"/>
                <a:gd name="connsiteX148" fmla="*/ 197681 w 202527"/>
                <a:gd name="connsiteY148" fmla="*/ 126224 h 227999"/>
                <a:gd name="connsiteX149" fmla="*/ 196997 w 202527"/>
                <a:gd name="connsiteY149" fmla="*/ 126924 h 227999"/>
                <a:gd name="connsiteX150" fmla="*/ 196042 w 202527"/>
                <a:gd name="connsiteY150" fmla="*/ 127029 h 227999"/>
                <a:gd name="connsiteX151" fmla="*/ 194602 w 202527"/>
                <a:gd name="connsiteY151" fmla="*/ 126507 h 227999"/>
                <a:gd name="connsiteX152" fmla="*/ 193615 w 202527"/>
                <a:gd name="connsiteY152" fmla="*/ 125838 h 227999"/>
                <a:gd name="connsiteX153" fmla="*/ 193842 w 202527"/>
                <a:gd name="connsiteY153" fmla="*/ 124112 h 227999"/>
                <a:gd name="connsiteX154" fmla="*/ 193209 w 202527"/>
                <a:gd name="connsiteY154" fmla="*/ 123999 h 227999"/>
                <a:gd name="connsiteX155" fmla="*/ 192423 w 202527"/>
                <a:gd name="connsiteY155" fmla="*/ 122939 h 227999"/>
                <a:gd name="connsiteX156" fmla="*/ 192114 w 202527"/>
                <a:gd name="connsiteY156" fmla="*/ 121799 h 227999"/>
                <a:gd name="connsiteX157" fmla="*/ 191266 w 202527"/>
                <a:gd name="connsiteY157" fmla="*/ 121334 h 227999"/>
                <a:gd name="connsiteX158" fmla="*/ 188169 w 202527"/>
                <a:gd name="connsiteY158" fmla="*/ 120855 h 227999"/>
                <a:gd name="connsiteX159" fmla="*/ 187117 w 202527"/>
                <a:gd name="connsiteY159" fmla="*/ 120518 h 227999"/>
                <a:gd name="connsiteX160" fmla="*/ 186310 w 202527"/>
                <a:gd name="connsiteY160" fmla="*/ 120761 h 227999"/>
                <a:gd name="connsiteX161" fmla="*/ 185705 w 202527"/>
                <a:gd name="connsiteY161" fmla="*/ 121568 h 227999"/>
                <a:gd name="connsiteX162" fmla="*/ 186091 w 202527"/>
                <a:gd name="connsiteY162" fmla="*/ 122297 h 227999"/>
                <a:gd name="connsiteX163" fmla="*/ 186668 w 202527"/>
                <a:gd name="connsiteY163" fmla="*/ 123007 h 227999"/>
                <a:gd name="connsiteX164" fmla="*/ 188385 w 202527"/>
                <a:gd name="connsiteY164" fmla="*/ 124132 h 227999"/>
                <a:gd name="connsiteX165" fmla="*/ 188208 w 202527"/>
                <a:gd name="connsiteY165" fmla="*/ 124579 h 227999"/>
                <a:gd name="connsiteX166" fmla="*/ 184509 w 202527"/>
                <a:gd name="connsiteY166" fmla="*/ 125673 h 227999"/>
                <a:gd name="connsiteX167" fmla="*/ 182181 w 202527"/>
                <a:gd name="connsiteY167" fmla="*/ 126795 h 227999"/>
                <a:gd name="connsiteX168" fmla="*/ 180013 w 202527"/>
                <a:gd name="connsiteY168" fmla="*/ 127425 h 227999"/>
                <a:gd name="connsiteX169" fmla="*/ 177804 w 202527"/>
                <a:gd name="connsiteY169" fmla="*/ 128586 h 227999"/>
                <a:gd name="connsiteX170" fmla="*/ 173444 w 202527"/>
                <a:gd name="connsiteY170" fmla="*/ 129889 h 227999"/>
                <a:gd name="connsiteX171" fmla="*/ 170246 w 202527"/>
                <a:gd name="connsiteY171" fmla="*/ 130235 h 227999"/>
                <a:gd name="connsiteX172" fmla="*/ 169579 w 202527"/>
                <a:gd name="connsiteY172" fmla="*/ 130579 h 227999"/>
                <a:gd name="connsiteX173" fmla="*/ 168385 w 202527"/>
                <a:gd name="connsiteY173" fmla="*/ 132786 h 227999"/>
                <a:gd name="connsiteX174" fmla="*/ 167579 w 202527"/>
                <a:gd name="connsiteY174" fmla="*/ 133247 h 227999"/>
                <a:gd name="connsiteX175" fmla="*/ 166806 w 202527"/>
                <a:gd name="connsiteY175" fmla="*/ 133008 h 227999"/>
                <a:gd name="connsiteX176" fmla="*/ 166219 w 202527"/>
                <a:gd name="connsiteY176" fmla="*/ 132647 h 227999"/>
                <a:gd name="connsiteX177" fmla="*/ 165476 w 202527"/>
                <a:gd name="connsiteY177" fmla="*/ 132946 h 227999"/>
                <a:gd name="connsiteX178" fmla="*/ 164703 w 202527"/>
                <a:gd name="connsiteY178" fmla="*/ 133676 h 227999"/>
                <a:gd name="connsiteX179" fmla="*/ 163895 w 202527"/>
                <a:gd name="connsiteY179" fmla="*/ 133964 h 227999"/>
                <a:gd name="connsiteX180" fmla="*/ 163191 w 202527"/>
                <a:gd name="connsiteY180" fmla="*/ 133954 h 227999"/>
                <a:gd name="connsiteX181" fmla="*/ 161941 w 202527"/>
                <a:gd name="connsiteY181" fmla="*/ 135879 h 227999"/>
                <a:gd name="connsiteX182" fmla="*/ 158298 w 202527"/>
                <a:gd name="connsiteY182" fmla="*/ 136463 h 227999"/>
                <a:gd name="connsiteX183" fmla="*/ 157871 w 202527"/>
                <a:gd name="connsiteY183" fmla="*/ 137460 h 227999"/>
                <a:gd name="connsiteX184" fmla="*/ 157201 w 202527"/>
                <a:gd name="connsiteY184" fmla="*/ 138616 h 227999"/>
                <a:gd name="connsiteX185" fmla="*/ 156668 w 202527"/>
                <a:gd name="connsiteY185" fmla="*/ 138899 h 227999"/>
                <a:gd name="connsiteX186" fmla="*/ 155022 w 202527"/>
                <a:gd name="connsiteY186" fmla="*/ 138441 h 227999"/>
                <a:gd name="connsiteX187" fmla="*/ 152749 w 202527"/>
                <a:gd name="connsiteY187" fmla="*/ 138188 h 227999"/>
                <a:gd name="connsiteX188" fmla="*/ 151444 w 202527"/>
                <a:gd name="connsiteY188" fmla="*/ 138821 h 227999"/>
                <a:gd name="connsiteX189" fmla="*/ 149877 w 202527"/>
                <a:gd name="connsiteY189" fmla="*/ 139171 h 227999"/>
                <a:gd name="connsiteX190" fmla="*/ 147964 w 202527"/>
                <a:gd name="connsiteY190" fmla="*/ 139277 h 227999"/>
                <a:gd name="connsiteX191" fmla="*/ 145832 w 202527"/>
                <a:gd name="connsiteY191" fmla="*/ 140541 h 227999"/>
                <a:gd name="connsiteX192" fmla="*/ 143753 w 202527"/>
                <a:gd name="connsiteY192" fmla="*/ 142759 h 227999"/>
                <a:gd name="connsiteX193" fmla="*/ 142582 w 202527"/>
                <a:gd name="connsiteY193" fmla="*/ 144714 h 227999"/>
                <a:gd name="connsiteX194" fmla="*/ 141956 w 202527"/>
                <a:gd name="connsiteY194" fmla="*/ 145416 h 227999"/>
                <a:gd name="connsiteX195" fmla="*/ 140935 w 202527"/>
                <a:gd name="connsiteY195" fmla="*/ 143581 h 227999"/>
                <a:gd name="connsiteX196" fmla="*/ 139688 w 202527"/>
                <a:gd name="connsiteY196" fmla="*/ 142321 h 227999"/>
                <a:gd name="connsiteX197" fmla="*/ 138806 w 202527"/>
                <a:gd name="connsiteY197" fmla="*/ 141667 h 227999"/>
                <a:gd name="connsiteX198" fmla="*/ 138017 w 202527"/>
                <a:gd name="connsiteY198" fmla="*/ 141666 h 227999"/>
                <a:gd name="connsiteX199" fmla="*/ 137810 w 202527"/>
                <a:gd name="connsiteY199" fmla="*/ 141934 h 227999"/>
                <a:gd name="connsiteX200" fmla="*/ 137808 w 202527"/>
                <a:gd name="connsiteY200" fmla="*/ 142895 h 227999"/>
                <a:gd name="connsiteX201" fmla="*/ 138650 w 202527"/>
                <a:gd name="connsiteY201" fmla="*/ 144491 h 227999"/>
                <a:gd name="connsiteX202" fmla="*/ 139693 w 202527"/>
                <a:gd name="connsiteY202" fmla="*/ 145579 h 227999"/>
                <a:gd name="connsiteX203" fmla="*/ 139859 w 202527"/>
                <a:gd name="connsiteY203" fmla="*/ 146382 h 227999"/>
                <a:gd name="connsiteX204" fmla="*/ 140418 w 202527"/>
                <a:gd name="connsiteY204" fmla="*/ 147843 h 227999"/>
                <a:gd name="connsiteX205" fmla="*/ 141936 w 202527"/>
                <a:gd name="connsiteY205" fmla="*/ 149437 h 227999"/>
                <a:gd name="connsiteX206" fmla="*/ 144318 w 202527"/>
                <a:gd name="connsiteY206" fmla="*/ 150700 h 227999"/>
                <a:gd name="connsiteX207" fmla="*/ 145942 w 202527"/>
                <a:gd name="connsiteY207" fmla="*/ 151943 h 227999"/>
                <a:gd name="connsiteX208" fmla="*/ 147145 w 202527"/>
                <a:gd name="connsiteY208" fmla="*/ 153665 h 227999"/>
                <a:gd name="connsiteX209" fmla="*/ 147156 w 202527"/>
                <a:gd name="connsiteY209" fmla="*/ 154194 h 227999"/>
                <a:gd name="connsiteX210" fmla="*/ 146825 w 202527"/>
                <a:gd name="connsiteY210" fmla="*/ 154897 h 227999"/>
                <a:gd name="connsiteX211" fmla="*/ 146257 w 202527"/>
                <a:gd name="connsiteY211" fmla="*/ 155559 h 227999"/>
                <a:gd name="connsiteX212" fmla="*/ 145778 w 202527"/>
                <a:gd name="connsiteY212" fmla="*/ 156421 h 227999"/>
                <a:gd name="connsiteX213" fmla="*/ 144459 w 202527"/>
                <a:gd name="connsiteY213" fmla="*/ 158163 h 227999"/>
                <a:gd name="connsiteX214" fmla="*/ 144849 w 202527"/>
                <a:gd name="connsiteY214" fmla="*/ 158924 h 227999"/>
                <a:gd name="connsiteX215" fmla="*/ 145929 w 202527"/>
                <a:gd name="connsiteY215" fmla="*/ 159885 h 227999"/>
                <a:gd name="connsiteX216" fmla="*/ 146886 w 202527"/>
                <a:gd name="connsiteY216" fmla="*/ 161038 h 227999"/>
                <a:gd name="connsiteX217" fmla="*/ 148112 w 202527"/>
                <a:gd name="connsiteY217" fmla="*/ 162901 h 227999"/>
                <a:gd name="connsiteX218" fmla="*/ 149799 w 202527"/>
                <a:gd name="connsiteY218" fmla="*/ 166162 h 227999"/>
                <a:gd name="connsiteX219" fmla="*/ 150885 w 202527"/>
                <a:gd name="connsiteY219" fmla="*/ 167503 h 227999"/>
                <a:gd name="connsiteX220" fmla="*/ 152360 w 202527"/>
                <a:gd name="connsiteY220" fmla="*/ 168887 h 227999"/>
                <a:gd name="connsiteX221" fmla="*/ 153809 w 202527"/>
                <a:gd name="connsiteY221" fmla="*/ 169943 h 227999"/>
                <a:gd name="connsiteX222" fmla="*/ 156093 w 202527"/>
                <a:gd name="connsiteY222" fmla="*/ 169911 h 227999"/>
                <a:gd name="connsiteX223" fmla="*/ 158460 w 202527"/>
                <a:gd name="connsiteY223" fmla="*/ 171925 h 227999"/>
                <a:gd name="connsiteX224" fmla="*/ 161043 w 202527"/>
                <a:gd name="connsiteY224" fmla="*/ 174835 h 227999"/>
                <a:gd name="connsiteX225" fmla="*/ 162973 w 202527"/>
                <a:gd name="connsiteY225" fmla="*/ 176169 h 227999"/>
                <a:gd name="connsiteX226" fmla="*/ 164321 w 202527"/>
                <a:gd name="connsiteY226" fmla="*/ 176575 h 227999"/>
                <a:gd name="connsiteX227" fmla="*/ 165433 w 202527"/>
                <a:gd name="connsiteY227" fmla="*/ 177622 h 227999"/>
                <a:gd name="connsiteX228" fmla="*/ 166420 w 202527"/>
                <a:gd name="connsiteY228" fmla="*/ 179127 h 227999"/>
                <a:gd name="connsiteX229" fmla="*/ 166806 w 202527"/>
                <a:gd name="connsiteY229" fmla="*/ 179997 h 227999"/>
                <a:gd name="connsiteX230" fmla="*/ 167681 w 202527"/>
                <a:gd name="connsiteY230" fmla="*/ 180625 h 227999"/>
                <a:gd name="connsiteX231" fmla="*/ 170045 w 202527"/>
                <a:gd name="connsiteY231" fmla="*/ 180508 h 227999"/>
                <a:gd name="connsiteX232" fmla="*/ 173081 w 202527"/>
                <a:gd name="connsiteY232" fmla="*/ 182873 h 227999"/>
                <a:gd name="connsiteX233" fmla="*/ 174960 w 202527"/>
                <a:gd name="connsiteY233" fmla="*/ 184603 h 227999"/>
                <a:gd name="connsiteX234" fmla="*/ 175951 w 202527"/>
                <a:gd name="connsiteY234" fmla="*/ 185999 h 227999"/>
                <a:gd name="connsiteX235" fmla="*/ 175690 w 202527"/>
                <a:gd name="connsiteY235" fmla="*/ 186552 h 227999"/>
                <a:gd name="connsiteX236" fmla="*/ 175569 w 202527"/>
                <a:gd name="connsiteY236" fmla="*/ 188289 h 227999"/>
                <a:gd name="connsiteX237" fmla="*/ 175599 w 202527"/>
                <a:gd name="connsiteY237" fmla="*/ 190129 h 227999"/>
                <a:gd name="connsiteX238" fmla="*/ 175301 w 202527"/>
                <a:gd name="connsiteY238" fmla="*/ 191102 h 227999"/>
                <a:gd name="connsiteX239" fmla="*/ 173943 w 202527"/>
                <a:gd name="connsiteY239" fmla="*/ 192382 h 227999"/>
                <a:gd name="connsiteX240" fmla="*/ 173241 w 202527"/>
                <a:gd name="connsiteY240" fmla="*/ 192654 h 227999"/>
                <a:gd name="connsiteX241" fmla="*/ 172866 w 202527"/>
                <a:gd name="connsiteY241" fmla="*/ 192930 h 227999"/>
                <a:gd name="connsiteX242" fmla="*/ 168696 w 202527"/>
                <a:gd name="connsiteY242" fmla="*/ 191261 h 227999"/>
                <a:gd name="connsiteX243" fmla="*/ 168365 w 202527"/>
                <a:gd name="connsiteY243" fmla="*/ 191546 h 227999"/>
                <a:gd name="connsiteX244" fmla="*/ 168104 w 202527"/>
                <a:gd name="connsiteY244" fmla="*/ 191752 h 227999"/>
                <a:gd name="connsiteX245" fmla="*/ 166988 w 202527"/>
                <a:gd name="connsiteY245" fmla="*/ 196586 h 227999"/>
                <a:gd name="connsiteX246" fmla="*/ 166219 w 202527"/>
                <a:gd name="connsiteY246" fmla="*/ 197514 h 227999"/>
                <a:gd name="connsiteX247" fmla="*/ 165074 w 202527"/>
                <a:gd name="connsiteY247" fmla="*/ 198368 h 227999"/>
                <a:gd name="connsiteX248" fmla="*/ 162695 w 202527"/>
                <a:gd name="connsiteY248" fmla="*/ 199199 h 227999"/>
                <a:gd name="connsiteX249" fmla="*/ 161041 w 202527"/>
                <a:gd name="connsiteY249" fmla="*/ 199537 h 227999"/>
                <a:gd name="connsiteX250" fmla="*/ 159752 w 202527"/>
                <a:gd name="connsiteY250" fmla="*/ 199958 h 227999"/>
                <a:gd name="connsiteX251" fmla="*/ 155668 w 202527"/>
                <a:gd name="connsiteY251" fmla="*/ 201977 h 227999"/>
                <a:gd name="connsiteX252" fmla="*/ 153828 w 202527"/>
                <a:gd name="connsiteY252" fmla="*/ 203189 h 227999"/>
                <a:gd name="connsiteX253" fmla="*/ 152636 w 202527"/>
                <a:gd name="connsiteY253" fmla="*/ 204711 h 227999"/>
                <a:gd name="connsiteX254" fmla="*/ 152630 w 202527"/>
                <a:gd name="connsiteY254" fmla="*/ 205587 h 227999"/>
                <a:gd name="connsiteX255" fmla="*/ 154616 w 202527"/>
                <a:gd name="connsiteY255" fmla="*/ 208160 h 227999"/>
                <a:gd name="connsiteX256" fmla="*/ 156908 w 202527"/>
                <a:gd name="connsiteY256" fmla="*/ 210815 h 227999"/>
                <a:gd name="connsiteX257" fmla="*/ 156923 w 202527"/>
                <a:gd name="connsiteY257" fmla="*/ 213149 h 227999"/>
                <a:gd name="connsiteX258" fmla="*/ 155908 w 202527"/>
                <a:gd name="connsiteY258" fmla="*/ 214893 h 227999"/>
                <a:gd name="connsiteX259" fmla="*/ 155672 w 202527"/>
                <a:gd name="connsiteY259" fmla="*/ 215567 h 227999"/>
                <a:gd name="connsiteX260" fmla="*/ 156346 w 202527"/>
                <a:gd name="connsiteY260" fmla="*/ 215820 h 227999"/>
                <a:gd name="connsiteX261" fmla="*/ 157616 w 202527"/>
                <a:gd name="connsiteY261" fmla="*/ 215917 h 227999"/>
                <a:gd name="connsiteX262" fmla="*/ 158678 w 202527"/>
                <a:gd name="connsiteY262" fmla="*/ 216217 h 227999"/>
                <a:gd name="connsiteX263" fmla="*/ 159132 w 202527"/>
                <a:gd name="connsiteY263" fmla="*/ 217443 h 227999"/>
                <a:gd name="connsiteX264" fmla="*/ 158996 w 202527"/>
                <a:gd name="connsiteY264" fmla="*/ 219578 h 227999"/>
                <a:gd name="connsiteX265" fmla="*/ 158633 w 202527"/>
                <a:gd name="connsiteY265" fmla="*/ 221575 h 227999"/>
                <a:gd name="connsiteX266" fmla="*/ 158253 w 202527"/>
                <a:gd name="connsiteY266" fmla="*/ 222415 h 227999"/>
                <a:gd name="connsiteX267" fmla="*/ 157229 w 202527"/>
                <a:gd name="connsiteY267" fmla="*/ 222482 h 227999"/>
                <a:gd name="connsiteX268" fmla="*/ 155258 w 202527"/>
                <a:gd name="connsiteY268" fmla="*/ 221619 h 227999"/>
                <a:gd name="connsiteX269" fmla="*/ 153720 w 202527"/>
                <a:gd name="connsiteY269" fmla="*/ 220616 h 227999"/>
                <a:gd name="connsiteX270" fmla="*/ 153133 w 202527"/>
                <a:gd name="connsiteY270" fmla="*/ 219999 h 227999"/>
                <a:gd name="connsiteX271" fmla="*/ 153096 w 202527"/>
                <a:gd name="connsiteY271" fmla="*/ 219261 h 227999"/>
                <a:gd name="connsiteX272" fmla="*/ 153429 w 202527"/>
                <a:gd name="connsiteY272" fmla="*/ 218795 h 227999"/>
                <a:gd name="connsiteX273" fmla="*/ 152880 w 202527"/>
                <a:gd name="connsiteY273" fmla="*/ 217885 h 227999"/>
                <a:gd name="connsiteX274" fmla="*/ 150989 w 202527"/>
                <a:gd name="connsiteY274" fmla="*/ 217044 h 227999"/>
                <a:gd name="connsiteX275" fmla="*/ 148963 w 202527"/>
                <a:gd name="connsiteY275" fmla="*/ 217410 h 227999"/>
                <a:gd name="connsiteX276" fmla="*/ 147467 w 202527"/>
                <a:gd name="connsiteY276" fmla="*/ 217977 h 227999"/>
                <a:gd name="connsiteX277" fmla="*/ 146502 w 202527"/>
                <a:gd name="connsiteY277" fmla="*/ 217944 h 227999"/>
                <a:gd name="connsiteX278" fmla="*/ 145459 w 202527"/>
                <a:gd name="connsiteY278" fmla="*/ 217134 h 227999"/>
                <a:gd name="connsiteX279" fmla="*/ 143854 w 202527"/>
                <a:gd name="connsiteY279" fmla="*/ 216514 h 227999"/>
                <a:gd name="connsiteX280" fmla="*/ 141757 w 202527"/>
                <a:gd name="connsiteY280" fmla="*/ 216105 h 227999"/>
                <a:gd name="connsiteX281" fmla="*/ 140451 w 202527"/>
                <a:gd name="connsiteY281" fmla="*/ 215668 h 227999"/>
                <a:gd name="connsiteX282" fmla="*/ 140176 w 202527"/>
                <a:gd name="connsiteY282" fmla="*/ 215926 h 227999"/>
                <a:gd name="connsiteX283" fmla="*/ 140330 w 202527"/>
                <a:gd name="connsiteY283" fmla="*/ 217679 h 227999"/>
                <a:gd name="connsiteX284" fmla="*/ 139928 w 202527"/>
                <a:gd name="connsiteY284" fmla="*/ 218444 h 227999"/>
                <a:gd name="connsiteX285" fmla="*/ 129561 w 202527"/>
                <a:gd name="connsiteY285" fmla="*/ 219456 h 227999"/>
                <a:gd name="connsiteX286" fmla="*/ 126402 w 202527"/>
                <a:gd name="connsiteY286" fmla="*/ 220404 h 227999"/>
                <a:gd name="connsiteX287" fmla="*/ 124102 w 202527"/>
                <a:gd name="connsiteY287" fmla="*/ 221629 h 227999"/>
                <a:gd name="connsiteX288" fmla="*/ 122400 w 202527"/>
                <a:gd name="connsiteY288" fmla="*/ 222160 h 227999"/>
                <a:gd name="connsiteX289" fmla="*/ 121984 w 202527"/>
                <a:gd name="connsiteY289" fmla="*/ 222915 h 227999"/>
                <a:gd name="connsiteX290" fmla="*/ 120299 w 202527"/>
                <a:gd name="connsiteY290" fmla="*/ 223906 h 227999"/>
                <a:gd name="connsiteX291" fmla="*/ 118397 w 202527"/>
                <a:gd name="connsiteY291" fmla="*/ 224223 h 227999"/>
                <a:gd name="connsiteX292" fmla="*/ 117939 w 202527"/>
                <a:gd name="connsiteY292" fmla="*/ 223898 h 227999"/>
                <a:gd name="connsiteX293" fmla="*/ 116719 w 202527"/>
                <a:gd name="connsiteY293" fmla="*/ 224356 h 227999"/>
                <a:gd name="connsiteX294" fmla="*/ 114640 w 202527"/>
                <a:gd name="connsiteY294" fmla="*/ 224797 h 227999"/>
                <a:gd name="connsiteX295" fmla="*/ 113288 w 202527"/>
                <a:gd name="connsiteY295" fmla="*/ 224657 h 227999"/>
                <a:gd name="connsiteX296" fmla="*/ 112653 w 202527"/>
                <a:gd name="connsiteY296" fmla="*/ 223856 h 227999"/>
                <a:gd name="connsiteX297" fmla="*/ 111366 w 202527"/>
                <a:gd name="connsiteY297" fmla="*/ 222629 h 227999"/>
                <a:gd name="connsiteX298" fmla="*/ 110850 w 202527"/>
                <a:gd name="connsiteY298" fmla="*/ 221778 h 227999"/>
                <a:gd name="connsiteX299" fmla="*/ 110904 w 202527"/>
                <a:gd name="connsiteY299" fmla="*/ 221233 h 227999"/>
                <a:gd name="connsiteX300" fmla="*/ 107997 w 202527"/>
                <a:gd name="connsiteY300" fmla="*/ 221123 h 227999"/>
                <a:gd name="connsiteX301" fmla="*/ 106164 w 202527"/>
                <a:gd name="connsiteY301" fmla="*/ 220475 h 227999"/>
                <a:gd name="connsiteX302" fmla="*/ 102275 w 202527"/>
                <a:gd name="connsiteY302" fmla="*/ 220627 h 227999"/>
                <a:gd name="connsiteX303" fmla="*/ 101316 w 202527"/>
                <a:gd name="connsiteY303" fmla="*/ 220353 h 227999"/>
                <a:gd name="connsiteX304" fmla="*/ 101116 w 202527"/>
                <a:gd name="connsiteY304" fmla="*/ 220647 h 227999"/>
                <a:gd name="connsiteX305" fmla="*/ 100530 w 202527"/>
                <a:gd name="connsiteY305" fmla="*/ 224128 h 227999"/>
                <a:gd name="connsiteX306" fmla="*/ 99761 w 202527"/>
                <a:gd name="connsiteY306" fmla="*/ 225556 h 227999"/>
                <a:gd name="connsiteX307" fmla="*/ 98515 w 202527"/>
                <a:gd name="connsiteY307" fmla="*/ 227030 h 227999"/>
                <a:gd name="connsiteX308" fmla="*/ 96920 w 202527"/>
                <a:gd name="connsiteY308" fmla="*/ 227850 h 227999"/>
                <a:gd name="connsiteX309" fmla="*/ 95646 w 202527"/>
                <a:gd name="connsiteY309" fmla="*/ 227999 h 227999"/>
                <a:gd name="connsiteX310" fmla="*/ 95706 w 202527"/>
                <a:gd name="connsiteY310" fmla="*/ 226925 h 227999"/>
                <a:gd name="connsiteX311" fmla="*/ 96028 w 202527"/>
                <a:gd name="connsiteY311" fmla="*/ 225630 h 227999"/>
                <a:gd name="connsiteX312" fmla="*/ 95110 w 202527"/>
                <a:gd name="connsiteY312" fmla="*/ 225326 h 227999"/>
                <a:gd name="connsiteX313" fmla="*/ 93732 w 202527"/>
                <a:gd name="connsiteY313" fmla="*/ 225177 h 227999"/>
                <a:gd name="connsiteX314" fmla="*/ 93065 w 202527"/>
                <a:gd name="connsiteY314" fmla="*/ 224791 h 227999"/>
                <a:gd name="connsiteX315" fmla="*/ 93240 w 202527"/>
                <a:gd name="connsiteY315" fmla="*/ 223805 h 227999"/>
                <a:gd name="connsiteX316" fmla="*/ 92923 w 202527"/>
                <a:gd name="connsiteY316" fmla="*/ 223229 h 227999"/>
                <a:gd name="connsiteX317" fmla="*/ 92353 w 202527"/>
                <a:gd name="connsiteY317" fmla="*/ 222541 h 227999"/>
                <a:gd name="connsiteX318" fmla="*/ 90971 w 202527"/>
                <a:gd name="connsiteY318" fmla="*/ 221651 h 227999"/>
                <a:gd name="connsiteX319" fmla="*/ 88042 w 202527"/>
                <a:gd name="connsiteY319" fmla="*/ 220332 h 227999"/>
                <a:gd name="connsiteX320" fmla="*/ 86047 w 202527"/>
                <a:gd name="connsiteY320" fmla="*/ 219680 h 227999"/>
                <a:gd name="connsiteX321" fmla="*/ 85300 w 202527"/>
                <a:gd name="connsiteY321" fmla="*/ 220374 h 227999"/>
                <a:gd name="connsiteX322" fmla="*/ 83873 w 202527"/>
                <a:gd name="connsiteY322" fmla="*/ 221074 h 227999"/>
                <a:gd name="connsiteX323" fmla="*/ 81625 w 202527"/>
                <a:gd name="connsiteY323" fmla="*/ 220845 h 227999"/>
                <a:gd name="connsiteX324" fmla="*/ 81074 w 202527"/>
                <a:gd name="connsiteY324" fmla="*/ 221120 h 227999"/>
                <a:gd name="connsiteX325" fmla="*/ 77226 w 202527"/>
                <a:gd name="connsiteY325" fmla="*/ 219023 h 227999"/>
                <a:gd name="connsiteX326" fmla="*/ 73529 w 202527"/>
                <a:gd name="connsiteY326" fmla="*/ 217005 h 227999"/>
                <a:gd name="connsiteX327" fmla="*/ 72307 w 202527"/>
                <a:gd name="connsiteY327" fmla="*/ 217005 h 227999"/>
                <a:gd name="connsiteX328" fmla="*/ 66859 w 202527"/>
                <a:gd name="connsiteY328" fmla="*/ 217408 h 227999"/>
                <a:gd name="connsiteX329" fmla="*/ 66701 w 202527"/>
                <a:gd name="connsiteY329" fmla="*/ 217230 h 227999"/>
                <a:gd name="connsiteX330" fmla="*/ 65753 w 202527"/>
                <a:gd name="connsiteY330" fmla="*/ 216080 h 227999"/>
                <a:gd name="connsiteX331" fmla="*/ 64911 w 202527"/>
                <a:gd name="connsiteY331" fmla="*/ 215716 h 227999"/>
                <a:gd name="connsiteX332" fmla="*/ 64404 w 202527"/>
                <a:gd name="connsiteY332" fmla="*/ 215903 h 227999"/>
                <a:gd name="connsiteX333" fmla="*/ 64065 w 202527"/>
                <a:gd name="connsiteY333" fmla="*/ 216237 h 227999"/>
                <a:gd name="connsiteX334" fmla="*/ 63480 w 202527"/>
                <a:gd name="connsiteY334" fmla="*/ 216180 h 227999"/>
                <a:gd name="connsiteX335" fmla="*/ 61037 w 202527"/>
                <a:gd name="connsiteY335" fmla="*/ 214322 h 227999"/>
                <a:gd name="connsiteX336" fmla="*/ 60038 w 202527"/>
                <a:gd name="connsiteY336" fmla="*/ 214054 h 227999"/>
                <a:gd name="connsiteX337" fmla="*/ 58649 w 202527"/>
                <a:gd name="connsiteY337" fmla="*/ 214300 h 227999"/>
                <a:gd name="connsiteX338" fmla="*/ 57010 w 202527"/>
                <a:gd name="connsiteY338" fmla="*/ 215300 h 227999"/>
                <a:gd name="connsiteX339" fmla="*/ 56295 w 202527"/>
                <a:gd name="connsiteY339" fmla="*/ 216525 h 227999"/>
                <a:gd name="connsiteX340" fmla="*/ 56513 w 202527"/>
                <a:gd name="connsiteY340" fmla="*/ 217230 h 227999"/>
                <a:gd name="connsiteX341" fmla="*/ 57364 w 202527"/>
                <a:gd name="connsiteY341" fmla="*/ 217537 h 227999"/>
                <a:gd name="connsiteX342" fmla="*/ 59588 w 202527"/>
                <a:gd name="connsiteY342" fmla="*/ 217331 h 227999"/>
                <a:gd name="connsiteX343" fmla="*/ 59914 w 202527"/>
                <a:gd name="connsiteY343" fmla="*/ 217534 h 227999"/>
                <a:gd name="connsiteX344" fmla="*/ 59990 w 202527"/>
                <a:gd name="connsiteY344" fmla="*/ 217930 h 227999"/>
                <a:gd name="connsiteX345" fmla="*/ 59746 w 202527"/>
                <a:gd name="connsiteY345" fmla="*/ 218318 h 227999"/>
                <a:gd name="connsiteX346" fmla="*/ 57937 w 202527"/>
                <a:gd name="connsiteY346" fmla="*/ 218636 h 227999"/>
                <a:gd name="connsiteX347" fmla="*/ 57414 w 202527"/>
                <a:gd name="connsiteY347" fmla="*/ 219099 h 227999"/>
                <a:gd name="connsiteX348" fmla="*/ 56885 w 202527"/>
                <a:gd name="connsiteY348" fmla="*/ 219213 h 227999"/>
                <a:gd name="connsiteX349" fmla="*/ 56546 w 202527"/>
                <a:gd name="connsiteY349" fmla="*/ 219285 h 227999"/>
                <a:gd name="connsiteX350" fmla="*/ 54624 w 202527"/>
                <a:gd name="connsiteY350" fmla="*/ 218798 h 227999"/>
                <a:gd name="connsiteX351" fmla="*/ 51759 w 202527"/>
                <a:gd name="connsiteY351" fmla="*/ 218798 h 227999"/>
                <a:gd name="connsiteX352" fmla="*/ 49448 w 202527"/>
                <a:gd name="connsiteY352" fmla="*/ 219662 h 227999"/>
                <a:gd name="connsiteX353" fmla="*/ 45762 w 202527"/>
                <a:gd name="connsiteY353" fmla="*/ 220007 h 227999"/>
                <a:gd name="connsiteX354" fmla="*/ 40698 w 202527"/>
                <a:gd name="connsiteY354" fmla="*/ 219838 h 227999"/>
                <a:gd name="connsiteX355" fmla="*/ 38876 w 202527"/>
                <a:gd name="connsiteY355" fmla="*/ 219197 h 227999"/>
                <a:gd name="connsiteX356" fmla="*/ 37766 w 202527"/>
                <a:gd name="connsiteY356" fmla="*/ 218809 h 227999"/>
                <a:gd name="connsiteX357" fmla="*/ 36969 w 202527"/>
                <a:gd name="connsiteY357" fmla="*/ 216916 h 227999"/>
                <a:gd name="connsiteX358" fmla="*/ 37172 w 202527"/>
                <a:gd name="connsiteY358" fmla="*/ 214110 h 227999"/>
                <a:gd name="connsiteX359" fmla="*/ 38381 w 202527"/>
                <a:gd name="connsiteY359" fmla="*/ 210391 h 227999"/>
                <a:gd name="connsiteX360" fmla="*/ 38718 w 202527"/>
                <a:gd name="connsiteY360" fmla="*/ 207658 h 227999"/>
                <a:gd name="connsiteX361" fmla="*/ 38180 w 202527"/>
                <a:gd name="connsiteY361" fmla="*/ 205916 h 227999"/>
                <a:gd name="connsiteX362" fmla="*/ 38897 w 202527"/>
                <a:gd name="connsiteY362" fmla="*/ 203303 h 227999"/>
                <a:gd name="connsiteX363" fmla="*/ 40867 w 202527"/>
                <a:gd name="connsiteY363" fmla="*/ 199818 h 227999"/>
                <a:gd name="connsiteX364" fmla="*/ 42182 w 202527"/>
                <a:gd name="connsiteY364" fmla="*/ 196136 h 227999"/>
                <a:gd name="connsiteX365" fmla="*/ 42838 w 202527"/>
                <a:gd name="connsiteY365" fmla="*/ 192255 h 227999"/>
                <a:gd name="connsiteX366" fmla="*/ 43792 w 202527"/>
                <a:gd name="connsiteY366" fmla="*/ 189722 h 227999"/>
                <a:gd name="connsiteX367" fmla="*/ 45667 w 202527"/>
                <a:gd name="connsiteY367" fmla="*/ 187945 h 227999"/>
                <a:gd name="connsiteX368" fmla="*/ 50117 w 202527"/>
                <a:gd name="connsiteY368" fmla="*/ 182971 h 227999"/>
                <a:gd name="connsiteX369" fmla="*/ 50478 w 202527"/>
                <a:gd name="connsiteY369" fmla="*/ 182596 h 227999"/>
                <a:gd name="connsiteX370" fmla="*/ 50357 w 202527"/>
                <a:gd name="connsiteY370" fmla="*/ 180111 h 227999"/>
                <a:gd name="connsiteX371" fmla="*/ 49158 w 202527"/>
                <a:gd name="connsiteY371" fmla="*/ 179760 h 227999"/>
                <a:gd name="connsiteX372" fmla="*/ 47403 w 202527"/>
                <a:gd name="connsiteY372" fmla="*/ 179046 h 227999"/>
                <a:gd name="connsiteX373" fmla="*/ 42935 w 202527"/>
                <a:gd name="connsiteY373" fmla="*/ 178162 h 227999"/>
                <a:gd name="connsiteX374" fmla="*/ 38772 w 202527"/>
                <a:gd name="connsiteY374" fmla="*/ 177595 h 227999"/>
                <a:gd name="connsiteX375" fmla="*/ 36882 w 202527"/>
                <a:gd name="connsiteY375" fmla="*/ 176892 h 227999"/>
                <a:gd name="connsiteX376" fmla="*/ 35226 w 202527"/>
                <a:gd name="connsiteY376" fmla="*/ 175011 h 227999"/>
                <a:gd name="connsiteX377" fmla="*/ 34200 w 202527"/>
                <a:gd name="connsiteY377" fmla="*/ 174986 h 227999"/>
                <a:gd name="connsiteX378" fmla="*/ 32192 w 202527"/>
                <a:gd name="connsiteY378" fmla="*/ 175659 h 227999"/>
                <a:gd name="connsiteX379" fmla="*/ 29683 w 202527"/>
                <a:gd name="connsiteY379" fmla="*/ 176114 h 227999"/>
                <a:gd name="connsiteX380" fmla="*/ 27859 w 202527"/>
                <a:gd name="connsiteY380" fmla="*/ 175716 h 227999"/>
                <a:gd name="connsiteX381" fmla="*/ 26716 w 202527"/>
                <a:gd name="connsiteY381" fmla="*/ 175793 h 227999"/>
                <a:gd name="connsiteX382" fmla="*/ 26075 w 202527"/>
                <a:gd name="connsiteY382" fmla="*/ 176140 h 227999"/>
                <a:gd name="connsiteX383" fmla="*/ 25753 w 202527"/>
                <a:gd name="connsiteY383" fmla="*/ 175833 h 227999"/>
                <a:gd name="connsiteX384" fmla="*/ 25295 w 202527"/>
                <a:gd name="connsiteY384" fmla="*/ 174220 h 227999"/>
                <a:gd name="connsiteX385" fmla="*/ 24341 w 202527"/>
                <a:gd name="connsiteY385" fmla="*/ 173798 h 227999"/>
                <a:gd name="connsiteX386" fmla="*/ 22857 w 202527"/>
                <a:gd name="connsiteY386" fmla="*/ 173429 h 227999"/>
                <a:gd name="connsiteX387" fmla="*/ 21935 w 202527"/>
                <a:gd name="connsiteY387" fmla="*/ 173589 h 227999"/>
                <a:gd name="connsiteX388" fmla="*/ 21298 w 202527"/>
                <a:gd name="connsiteY388" fmla="*/ 174390 h 227999"/>
                <a:gd name="connsiteX389" fmla="*/ 20316 w 202527"/>
                <a:gd name="connsiteY389" fmla="*/ 174955 h 227999"/>
                <a:gd name="connsiteX390" fmla="*/ 19413 w 202527"/>
                <a:gd name="connsiteY390" fmla="*/ 174771 h 227999"/>
                <a:gd name="connsiteX391" fmla="*/ 16586 w 202527"/>
                <a:gd name="connsiteY391" fmla="*/ 171044 h 227999"/>
                <a:gd name="connsiteX392" fmla="*/ 15858 w 202527"/>
                <a:gd name="connsiteY392" fmla="*/ 170219 h 227999"/>
                <a:gd name="connsiteX393" fmla="*/ 15673 w 202527"/>
                <a:gd name="connsiteY393" fmla="*/ 169460 h 227999"/>
                <a:gd name="connsiteX394" fmla="*/ 14965 w 202527"/>
                <a:gd name="connsiteY394" fmla="*/ 168071 h 227999"/>
                <a:gd name="connsiteX395" fmla="*/ 13280 w 202527"/>
                <a:gd name="connsiteY395" fmla="*/ 166689 h 227999"/>
                <a:gd name="connsiteX396" fmla="*/ 11603 w 202527"/>
                <a:gd name="connsiteY396" fmla="*/ 166251 h 227999"/>
                <a:gd name="connsiteX397" fmla="*/ 10765 w 202527"/>
                <a:gd name="connsiteY397" fmla="*/ 166406 h 227999"/>
                <a:gd name="connsiteX398" fmla="*/ 10855 w 202527"/>
                <a:gd name="connsiteY398" fmla="*/ 164686 h 227999"/>
                <a:gd name="connsiteX399" fmla="*/ 11516 w 202527"/>
                <a:gd name="connsiteY399" fmla="*/ 162190 h 227999"/>
                <a:gd name="connsiteX400" fmla="*/ 12144 w 202527"/>
                <a:gd name="connsiteY400" fmla="*/ 160886 h 227999"/>
                <a:gd name="connsiteX401" fmla="*/ 12982 w 202527"/>
                <a:gd name="connsiteY401" fmla="*/ 159820 h 227999"/>
                <a:gd name="connsiteX402" fmla="*/ 13870 w 202527"/>
                <a:gd name="connsiteY402" fmla="*/ 159079 h 227999"/>
                <a:gd name="connsiteX403" fmla="*/ 14069 w 202527"/>
                <a:gd name="connsiteY403" fmla="*/ 157738 h 227999"/>
                <a:gd name="connsiteX404" fmla="*/ 13926 w 202527"/>
                <a:gd name="connsiteY404" fmla="*/ 156469 h 227999"/>
                <a:gd name="connsiteX405" fmla="*/ 12900 w 202527"/>
                <a:gd name="connsiteY405" fmla="*/ 156272 h 227999"/>
                <a:gd name="connsiteX406" fmla="*/ 10329 w 202527"/>
                <a:gd name="connsiteY406" fmla="*/ 155334 h 227999"/>
                <a:gd name="connsiteX407" fmla="*/ 8813 w 202527"/>
                <a:gd name="connsiteY407" fmla="*/ 154346 h 227999"/>
                <a:gd name="connsiteX408" fmla="*/ 7681 w 202527"/>
                <a:gd name="connsiteY408" fmla="*/ 153108 h 227999"/>
                <a:gd name="connsiteX409" fmla="*/ 6206 w 202527"/>
                <a:gd name="connsiteY409" fmla="*/ 151401 h 227999"/>
                <a:gd name="connsiteX410" fmla="*/ 5578 w 202527"/>
                <a:gd name="connsiteY410" fmla="*/ 149667 h 227999"/>
                <a:gd name="connsiteX411" fmla="*/ 5546 w 202527"/>
                <a:gd name="connsiteY411" fmla="*/ 147938 h 227999"/>
                <a:gd name="connsiteX412" fmla="*/ 5727 w 202527"/>
                <a:gd name="connsiteY412" fmla="*/ 147164 h 227999"/>
                <a:gd name="connsiteX413" fmla="*/ 5833 w 202527"/>
                <a:gd name="connsiteY413" fmla="*/ 146633 h 227999"/>
                <a:gd name="connsiteX414" fmla="*/ 7023 w 202527"/>
                <a:gd name="connsiteY414" fmla="*/ 143934 h 227999"/>
                <a:gd name="connsiteX415" fmla="*/ 11210 w 202527"/>
                <a:gd name="connsiteY415" fmla="*/ 141516 h 227999"/>
                <a:gd name="connsiteX416" fmla="*/ 10749 w 202527"/>
                <a:gd name="connsiteY416" fmla="*/ 139079 h 227999"/>
                <a:gd name="connsiteX417" fmla="*/ 10689 w 202527"/>
                <a:gd name="connsiteY417" fmla="*/ 137584 h 227999"/>
                <a:gd name="connsiteX418" fmla="*/ 9672 w 202527"/>
                <a:gd name="connsiteY418" fmla="*/ 136605 h 227999"/>
                <a:gd name="connsiteX419" fmla="*/ 7640 w 202527"/>
                <a:gd name="connsiteY419" fmla="*/ 136209 h 227999"/>
                <a:gd name="connsiteX420" fmla="*/ 7102 w 202527"/>
                <a:gd name="connsiteY420" fmla="*/ 135530 h 227999"/>
                <a:gd name="connsiteX421" fmla="*/ 6876 w 202527"/>
                <a:gd name="connsiteY421" fmla="*/ 134867 h 227999"/>
                <a:gd name="connsiteX422" fmla="*/ 8368 w 202527"/>
                <a:gd name="connsiteY422" fmla="*/ 133375 h 227999"/>
                <a:gd name="connsiteX423" fmla="*/ 6567 w 202527"/>
                <a:gd name="connsiteY423" fmla="*/ 132195 h 227999"/>
                <a:gd name="connsiteX424" fmla="*/ 5792 w 202527"/>
                <a:gd name="connsiteY424" fmla="*/ 130974 h 227999"/>
                <a:gd name="connsiteX425" fmla="*/ 3282 w 202527"/>
                <a:gd name="connsiteY425" fmla="*/ 129432 h 227999"/>
                <a:gd name="connsiteX426" fmla="*/ 3017 w 202527"/>
                <a:gd name="connsiteY426" fmla="*/ 128901 h 227999"/>
                <a:gd name="connsiteX427" fmla="*/ 4222 w 202527"/>
                <a:gd name="connsiteY427" fmla="*/ 124399 h 227999"/>
                <a:gd name="connsiteX428" fmla="*/ 3302 w 202527"/>
                <a:gd name="connsiteY428" fmla="*/ 123084 h 227999"/>
                <a:gd name="connsiteX429" fmla="*/ 2157 w 202527"/>
                <a:gd name="connsiteY429" fmla="*/ 122413 h 227999"/>
                <a:gd name="connsiteX430" fmla="*/ 823 w 202527"/>
                <a:gd name="connsiteY430" fmla="*/ 122083 h 227999"/>
                <a:gd name="connsiteX431" fmla="*/ 214 w 202527"/>
                <a:gd name="connsiteY431" fmla="*/ 121457 h 227999"/>
                <a:gd name="connsiteX432" fmla="*/ 0 w 202527"/>
                <a:gd name="connsiteY432" fmla="*/ 120742 h 227999"/>
                <a:gd name="connsiteX433" fmla="*/ 240 w 202527"/>
                <a:gd name="connsiteY433" fmla="*/ 120299 h 227999"/>
                <a:gd name="connsiteX434" fmla="*/ 1807 w 202527"/>
                <a:gd name="connsiteY434" fmla="*/ 120430 h 227999"/>
                <a:gd name="connsiteX435" fmla="*/ 2289 w 202527"/>
                <a:gd name="connsiteY435" fmla="*/ 119966 h 227999"/>
                <a:gd name="connsiteX436" fmla="*/ 6025 w 202527"/>
                <a:gd name="connsiteY436" fmla="*/ 117313 h 227999"/>
                <a:gd name="connsiteX437" fmla="*/ 6178 w 202527"/>
                <a:gd name="connsiteY437" fmla="*/ 116803 h 227999"/>
                <a:gd name="connsiteX438" fmla="*/ 5658 w 202527"/>
                <a:gd name="connsiteY438" fmla="*/ 116514 h 227999"/>
                <a:gd name="connsiteX439" fmla="*/ 4973 w 202527"/>
                <a:gd name="connsiteY439" fmla="*/ 116360 h 227999"/>
                <a:gd name="connsiteX440" fmla="*/ 4805 w 202527"/>
                <a:gd name="connsiteY440" fmla="*/ 115802 h 227999"/>
                <a:gd name="connsiteX441" fmla="*/ 4829 w 202527"/>
                <a:gd name="connsiteY441" fmla="*/ 115067 h 227999"/>
                <a:gd name="connsiteX442" fmla="*/ 6826 w 202527"/>
                <a:gd name="connsiteY442" fmla="*/ 111235 h 227999"/>
                <a:gd name="connsiteX443" fmla="*/ 7416 w 202527"/>
                <a:gd name="connsiteY443" fmla="*/ 109599 h 227999"/>
                <a:gd name="connsiteX444" fmla="*/ 7547 w 202527"/>
                <a:gd name="connsiteY444" fmla="*/ 108442 h 227999"/>
                <a:gd name="connsiteX445" fmla="*/ 7424 w 202527"/>
                <a:gd name="connsiteY445" fmla="*/ 107299 h 227999"/>
                <a:gd name="connsiteX446" fmla="*/ 6282 w 202527"/>
                <a:gd name="connsiteY446" fmla="*/ 105500 h 227999"/>
                <a:gd name="connsiteX447" fmla="*/ 5165 w 202527"/>
                <a:gd name="connsiteY447" fmla="*/ 104064 h 227999"/>
                <a:gd name="connsiteX448" fmla="*/ 5127 w 202527"/>
                <a:gd name="connsiteY448" fmla="*/ 102920 h 227999"/>
                <a:gd name="connsiteX449" fmla="*/ 4317 w 202527"/>
                <a:gd name="connsiteY449" fmla="*/ 102318 h 227999"/>
                <a:gd name="connsiteX450" fmla="*/ 2013 w 202527"/>
                <a:gd name="connsiteY450" fmla="*/ 99249 h 227999"/>
                <a:gd name="connsiteX451" fmla="*/ 2017 w 202527"/>
                <a:gd name="connsiteY451" fmla="*/ 98061 h 227999"/>
                <a:gd name="connsiteX452" fmla="*/ 3319 w 202527"/>
                <a:gd name="connsiteY452" fmla="*/ 97138 h 227999"/>
                <a:gd name="connsiteX453" fmla="*/ 5137 w 202527"/>
                <a:gd name="connsiteY453" fmla="*/ 96549 h 227999"/>
                <a:gd name="connsiteX454" fmla="*/ 5742 w 202527"/>
                <a:gd name="connsiteY454" fmla="*/ 96063 h 227999"/>
                <a:gd name="connsiteX455" fmla="*/ 6832 w 202527"/>
                <a:gd name="connsiteY455" fmla="*/ 95757 h 227999"/>
                <a:gd name="connsiteX456" fmla="*/ 9720 w 202527"/>
                <a:gd name="connsiteY456" fmla="*/ 96644 h 227999"/>
                <a:gd name="connsiteX457" fmla="*/ 11015 w 202527"/>
                <a:gd name="connsiteY457" fmla="*/ 97413 h 227999"/>
                <a:gd name="connsiteX458" fmla="*/ 11380 w 202527"/>
                <a:gd name="connsiteY458" fmla="*/ 97254 h 227999"/>
                <a:gd name="connsiteX459" fmla="*/ 12548 w 202527"/>
                <a:gd name="connsiteY459" fmla="*/ 96417 h 227999"/>
                <a:gd name="connsiteX460" fmla="*/ 14595 w 202527"/>
                <a:gd name="connsiteY460" fmla="*/ 96549 h 227999"/>
                <a:gd name="connsiteX461" fmla="*/ 19553 w 202527"/>
                <a:gd name="connsiteY461" fmla="*/ 94867 h 227999"/>
                <a:gd name="connsiteX462" fmla="*/ 20292 w 202527"/>
                <a:gd name="connsiteY462" fmla="*/ 94058 h 227999"/>
                <a:gd name="connsiteX463" fmla="*/ 20849 w 202527"/>
                <a:gd name="connsiteY463" fmla="*/ 93198 h 227999"/>
                <a:gd name="connsiteX464" fmla="*/ 20894 w 202527"/>
                <a:gd name="connsiteY464" fmla="*/ 92820 h 227999"/>
                <a:gd name="connsiteX465" fmla="*/ 18975 w 202527"/>
                <a:gd name="connsiteY465" fmla="*/ 91164 h 227999"/>
                <a:gd name="connsiteX466" fmla="*/ 18916 w 202527"/>
                <a:gd name="connsiteY466" fmla="*/ 90551 h 227999"/>
                <a:gd name="connsiteX467" fmla="*/ 19171 w 202527"/>
                <a:gd name="connsiteY467" fmla="*/ 89860 h 227999"/>
                <a:gd name="connsiteX468" fmla="*/ 19713 w 202527"/>
                <a:gd name="connsiteY468" fmla="*/ 89314 h 227999"/>
                <a:gd name="connsiteX469" fmla="*/ 20849 w 202527"/>
                <a:gd name="connsiteY469" fmla="*/ 88943 h 227999"/>
                <a:gd name="connsiteX470" fmla="*/ 22058 w 202527"/>
                <a:gd name="connsiteY470" fmla="*/ 88215 h 227999"/>
                <a:gd name="connsiteX471" fmla="*/ 24759 w 202527"/>
                <a:gd name="connsiteY471" fmla="*/ 86149 h 227999"/>
                <a:gd name="connsiteX472" fmla="*/ 25697 w 202527"/>
                <a:gd name="connsiteY472" fmla="*/ 84355 h 227999"/>
                <a:gd name="connsiteX473" fmla="*/ 25984 w 202527"/>
                <a:gd name="connsiteY473" fmla="*/ 82411 h 227999"/>
                <a:gd name="connsiteX474" fmla="*/ 26040 w 202527"/>
                <a:gd name="connsiteY474" fmla="*/ 80964 h 227999"/>
                <a:gd name="connsiteX475" fmla="*/ 25304 w 202527"/>
                <a:gd name="connsiteY475" fmla="*/ 79812 h 227999"/>
                <a:gd name="connsiteX476" fmla="*/ 24559 w 202527"/>
                <a:gd name="connsiteY476" fmla="*/ 79066 h 227999"/>
                <a:gd name="connsiteX477" fmla="*/ 23540 w 202527"/>
                <a:gd name="connsiteY477" fmla="*/ 79179 h 227999"/>
                <a:gd name="connsiteX478" fmla="*/ 21559 w 202527"/>
                <a:gd name="connsiteY478" fmla="*/ 79120 h 227999"/>
                <a:gd name="connsiteX479" fmla="*/ 19709 w 202527"/>
                <a:gd name="connsiteY479" fmla="*/ 78473 h 227999"/>
                <a:gd name="connsiteX480" fmla="*/ 18694 w 202527"/>
                <a:gd name="connsiteY480" fmla="*/ 77426 h 227999"/>
                <a:gd name="connsiteX481" fmla="*/ 18444 w 202527"/>
                <a:gd name="connsiteY481" fmla="*/ 76505 h 227999"/>
                <a:gd name="connsiteX482" fmla="*/ 18903 w 202527"/>
                <a:gd name="connsiteY482" fmla="*/ 75925 h 227999"/>
                <a:gd name="connsiteX483" fmla="*/ 19044 w 202527"/>
                <a:gd name="connsiteY483" fmla="*/ 75212 h 227999"/>
                <a:gd name="connsiteX484" fmla="*/ 18748 w 202527"/>
                <a:gd name="connsiteY484" fmla="*/ 74495 h 227999"/>
                <a:gd name="connsiteX485" fmla="*/ 18867 w 202527"/>
                <a:gd name="connsiteY485" fmla="*/ 73893 h 227999"/>
                <a:gd name="connsiteX486" fmla="*/ 19700 w 202527"/>
                <a:gd name="connsiteY486" fmla="*/ 73410 h 227999"/>
                <a:gd name="connsiteX487" fmla="*/ 25554 w 202527"/>
                <a:gd name="connsiteY487" fmla="*/ 73426 h 227999"/>
                <a:gd name="connsiteX488" fmla="*/ 25993 w 202527"/>
                <a:gd name="connsiteY488" fmla="*/ 72895 h 227999"/>
                <a:gd name="connsiteX489" fmla="*/ 26388 w 202527"/>
                <a:gd name="connsiteY489" fmla="*/ 70108 h 227999"/>
                <a:gd name="connsiteX490" fmla="*/ 27852 w 202527"/>
                <a:gd name="connsiteY490" fmla="*/ 65859 h 227999"/>
                <a:gd name="connsiteX491" fmla="*/ 29232 w 202527"/>
                <a:gd name="connsiteY491" fmla="*/ 63490 h 227999"/>
                <a:gd name="connsiteX492" fmla="*/ 29463 w 202527"/>
                <a:gd name="connsiteY492" fmla="*/ 62493 h 227999"/>
                <a:gd name="connsiteX493" fmla="*/ 29441 w 202527"/>
                <a:gd name="connsiteY493" fmla="*/ 56866 h 227999"/>
                <a:gd name="connsiteX494" fmla="*/ 29625 w 202527"/>
                <a:gd name="connsiteY494" fmla="*/ 54011 h 227999"/>
                <a:gd name="connsiteX495" fmla="*/ 28625 w 202527"/>
                <a:gd name="connsiteY495" fmla="*/ 52668 h 227999"/>
                <a:gd name="connsiteX496" fmla="*/ 26442 w 202527"/>
                <a:gd name="connsiteY496" fmla="*/ 51197 h 227999"/>
                <a:gd name="connsiteX497" fmla="*/ 26906 w 202527"/>
                <a:gd name="connsiteY497" fmla="*/ 48132 h 227999"/>
                <a:gd name="connsiteX498" fmla="*/ 27632 w 202527"/>
                <a:gd name="connsiteY498" fmla="*/ 45741 h 227999"/>
                <a:gd name="connsiteX499" fmla="*/ 29828 w 202527"/>
                <a:gd name="connsiteY499" fmla="*/ 42797 h 227999"/>
                <a:gd name="connsiteX500" fmla="*/ 31570 w 202527"/>
                <a:gd name="connsiteY500" fmla="*/ 41987 h 227999"/>
                <a:gd name="connsiteX501" fmla="*/ 39176 w 202527"/>
                <a:gd name="connsiteY501" fmla="*/ 41506 h 227999"/>
                <a:gd name="connsiteX502" fmla="*/ 47580 w 202527"/>
                <a:gd name="connsiteY502" fmla="*/ 41704 h 227999"/>
                <a:gd name="connsiteX503" fmla="*/ 51069 w 202527"/>
                <a:gd name="connsiteY503" fmla="*/ 46150 h 227999"/>
                <a:gd name="connsiteX504" fmla="*/ 49774 w 202527"/>
                <a:gd name="connsiteY504" fmla="*/ 48432 h 227999"/>
                <a:gd name="connsiteX505" fmla="*/ 51814 w 202527"/>
                <a:gd name="connsiteY505" fmla="*/ 49494 h 227999"/>
                <a:gd name="connsiteX506" fmla="*/ 52797 w 202527"/>
                <a:gd name="connsiteY506" fmla="*/ 49106 h 227999"/>
                <a:gd name="connsiteX507" fmla="*/ 53544 w 202527"/>
                <a:gd name="connsiteY507" fmla="*/ 47121 h 227999"/>
                <a:gd name="connsiteX508" fmla="*/ 54043 w 202527"/>
                <a:gd name="connsiteY508" fmla="*/ 44922 h 227999"/>
                <a:gd name="connsiteX509" fmla="*/ 54758 w 202527"/>
                <a:gd name="connsiteY509" fmla="*/ 44256 h 227999"/>
                <a:gd name="connsiteX510" fmla="*/ 57356 w 202527"/>
                <a:gd name="connsiteY510" fmla="*/ 45900 h 227999"/>
                <a:gd name="connsiteX511" fmla="*/ 58269 w 202527"/>
                <a:gd name="connsiteY511" fmla="*/ 47026 h 227999"/>
                <a:gd name="connsiteX512" fmla="*/ 58325 w 202527"/>
                <a:gd name="connsiteY512" fmla="*/ 50644 h 227999"/>
                <a:gd name="connsiteX513" fmla="*/ 59282 w 202527"/>
                <a:gd name="connsiteY513" fmla="*/ 45743 h 227999"/>
                <a:gd name="connsiteX514" fmla="*/ 58569 w 202527"/>
                <a:gd name="connsiteY514" fmla="*/ 42307 h 227999"/>
                <a:gd name="connsiteX515" fmla="*/ 59059 w 202527"/>
                <a:gd name="connsiteY515" fmla="*/ 38972 h 227999"/>
                <a:gd name="connsiteX516" fmla="*/ 60102 w 202527"/>
                <a:gd name="connsiteY516" fmla="*/ 37235 h 227999"/>
                <a:gd name="connsiteX517" fmla="*/ 61061 w 202527"/>
                <a:gd name="connsiteY517" fmla="*/ 36130 h 227999"/>
                <a:gd name="connsiteX518" fmla="*/ 67226 w 202527"/>
                <a:gd name="connsiteY518" fmla="*/ 37320 h 227999"/>
                <a:gd name="connsiteX519" fmla="*/ 74032 w 202527"/>
                <a:gd name="connsiteY519" fmla="*/ 36706 h 227999"/>
                <a:gd name="connsiteX520" fmla="*/ 76606 w 202527"/>
                <a:gd name="connsiteY520" fmla="*/ 37992 h 227999"/>
                <a:gd name="connsiteX521" fmla="*/ 82430 w 202527"/>
                <a:gd name="connsiteY521" fmla="*/ 44428 h 227999"/>
                <a:gd name="connsiteX522" fmla="*/ 84372 w 202527"/>
                <a:gd name="connsiteY522" fmla="*/ 45480 h 227999"/>
                <a:gd name="connsiteX523" fmla="*/ 86822 w 202527"/>
                <a:gd name="connsiteY523" fmla="*/ 45811 h 227999"/>
                <a:gd name="connsiteX524" fmla="*/ 83445 w 202527"/>
                <a:gd name="connsiteY524" fmla="*/ 44437 h 227999"/>
                <a:gd name="connsiteX525" fmla="*/ 76386 w 202527"/>
                <a:gd name="connsiteY525" fmla="*/ 36610 h 227999"/>
                <a:gd name="connsiteX526" fmla="*/ 74272 w 202527"/>
                <a:gd name="connsiteY526" fmla="*/ 35639 h 227999"/>
                <a:gd name="connsiteX527" fmla="*/ 71027 w 202527"/>
                <a:gd name="connsiteY527" fmla="*/ 35344 h 227999"/>
                <a:gd name="connsiteX528" fmla="*/ 69003 w 202527"/>
                <a:gd name="connsiteY528" fmla="*/ 34578 h 227999"/>
                <a:gd name="connsiteX529" fmla="*/ 67727 w 202527"/>
                <a:gd name="connsiteY529" fmla="*/ 33392 h 227999"/>
                <a:gd name="connsiteX530" fmla="*/ 67353 w 202527"/>
                <a:gd name="connsiteY530" fmla="*/ 32332 h 227999"/>
                <a:gd name="connsiteX531" fmla="*/ 67423 w 202527"/>
                <a:gd name="connsiteY531" fmla="*/ 24417 h 227999"/>
                <a:gd name="connsiteX532" fmla="*/ 66205 w 202527"/>
                <a:gd name="connsiteY532" fmla="*/ 23237 h 227999"/>
                <a:gd name="connsiteX533" fmla="*/ 64631 w 202527"/>
                <a:gd name="connsiteY533" fmla="*/ 22826 h 227999"/>
                <a:gd name="connsiteX534" fmla="*/ 63650 w 202527"/>
                <a:gd name="connsiteY534" fmla="*/ 23369 h 227999"/>
                <a:gd name="connsiteX535" fmla="*/ 61636 w 202527"/>
                <a:gd name="connsiteY535" fmla="*/ 23376 h 227999"/>
                <a:gd name="connsiteX536" fmla="*/ 61212 w 202527"/>
                <a:gd name="connsiteY536" fmla="*/ 21579 h 227999"/>
                <a:gd name="connsiteX537" fmla="*/ 61704 w 202527"/>
                <a:gd name="connsiteY537" fmla="*/ 20247 h 227999"/>
                <a:gd name="connsiteX538" fmla="*/ 65753 w 202527"/>
                <a:gd name="connsiteY538" fmla="*/ 19336 h 227999"/>
                <a:gd name="connsiteX539" fmla="*/ 68422 w 202527"/>
                <a:gd name="connsiteY539" fmla="*/ 18114 h 227999"/>
                <a:gd name="connsiteX540" fmla="*/ 68541 w 202527"/>
                <a:gd name="connsiteY540" fmla="*/ 15954 h 227999"/>
                <a:gd name="connsiteX541" fmla="*/ 66855 w 202527"/>
                <a:gd name="connsiteY541" fmla="*/ 14254 h 227999"/>
                <a:gd name="connsiteX542" fmla="*/ 64836 w 202527"/>
                <a:gd name="connsiteY542" fmla="*/ 11133 h 227999"/>
                <a:gd name="connsiteX543" fmla="*/ 62463 w 202527"/>
                <a:gd name="connsiteY543" fmla="*/ 8196 h 227999"/>
                <a:gd name="connsiteX544" fmla="*/ 56334 w 202527"/>
                <a:gd name="connsiteY544" fmla="*/ 0 h 227999"/>
                <a:gd name="connsiteX545" fmla="*/ 57358 w 202527"/>
                <a:gd name="connsiteY545" fmla="*/ 103 h 227999"/>
                <a:gd name="connsiteX546" fmla="*/ 56310 w 202527"/>
                <a:gd name="connsiteY546" fmla="*/ 1353 h 227999"/>
                <a:gd name="connsiteX547" fmla="*/ 56008 w 202527"/>
                <a:gd name="connsiteY547" fmla="*/ 2228 h 227999"/>
                <a:gd name="connsiteX548" fmla="*/ 55583 w 202527"/>
                <a:gd name="connsiteY548" fmla="*/ 3975 h 227999"/>
                <a:gd name="connsiteX549" fmla="*/ 55775 w 202527"/>
                <a:gd name="connsiteY549" fmla="*/ 4882 h 227999"/>
                <a:gd name="connsiteX550" fmla="*/ 61296 w 202527"/>
                <a:gd name="connsiteY550" fmla="*/ 5131 h 227999"/>
                <a:gd name="connsiteX551" fmla="*/ 60655 w 202527"/>
                <a:gd name="connsiteY551" fmla="*/ 5940 h 227999"/>
                <a:gd name="connsiteX552" fmla="*/ 55056 w 202527"/>
                <a:gd name="connsiteY552" fmla="*/ 6486 h 227999"/>
                <a:gd name="connsiteX553" fmla="*/ 54179 w 202527"/>
                <a:gd name="connsiteY553" fmla="*/ 8345 h 227999"/>
                <a:gd name="connsiteX554" fmla="*/ 53669 w 202527"/>
                <a:gd name="connsiteY554" fmla="*/ 8954 h 227999"/>
                <a:gd name="connsiteX555" fmla="*/ 53913 w 202527"/>
                <a:gd name="connsiteY555" fmla="*/ 4623 h 22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Lst>
              <a:rect l="l" t="t" r="r" b="b"/>
              <a:pathLst>
                <a:path w="202527" h="227999">
                  <a:moveTo>
                    <a:pt x="176238" y="28478"/>
                  </a:moveTo>
                  <a:lnTo>
                    <a:pt x="180907" y="31292"/>
                  </a:lnTo>
                  <a:lnTo>
                    <a:pt x="184723" y="33847"/>
                  </a:lnTo>
                  <a:lnTo>
                    <a:pt x="184431" y="34795"/>
                  </a:lnTo>
                  <a:lnTo>
                    <a:pt x="184772" y="36258"/>
                  </a:lnTo>
                  <a:lnTo>
                    <a:pt x="183854" y="36149"/>
                  </a:lnTo>
                  <a:lnTo>
                    <a:pt x="181117" y="36490"/>
                  </a:lnTo>
                  <a:lnTo>
                    <a:pt x="178406" y="36007"/>
                  </a:lnTo>
                  <a:lnTo>
                    <a:pt x="177884" y="34192"/>
                  </a:lnTo>
                  <a:lnTo>
                    <a:pt x="178316" y="32443"/>
                  </a:lnTo>
                  <a:lnTo>
                    <a:pt x="177227" y="31240"/>
                  </a:lnTo>
                  <a:lnTo>
                    <a:pt x="176225" y="30534"/>
                  </a:lnTo>
                  <a:lnTo>
                    <a:pt x="176077" y="29524"/>
                  </a:lnTo>
                  <a:close/>
                  <a:moveTo>
                    <a:pt x="115590" y="16104"/>
                  </a:moveTo>
                  <a:lnTo>
                    <a:pt x="118877" y="17086"/>
                  </a:lnTo>
                  <a:lnTo>
                    <a:pt x="119909" y="19005"/>
                  </a:lnTo>
                  <a:lnTo>
                    <a:pt x="119965" y="19628"/>
                  </a:lnTo>
                  <a:lnTo>
                    <a:pt x="116570" y="19687"/>
                  </a:lnTo>
                  <a:lnTo>
                    <a:pt x="115274" y="18467"/>
                  </a:lnTo>
                  <a:lnTo>
                    <a:pt x="113970" y="18157"/>
                  </a:lnTo>
                  <a:lnTo>
                    <a:pt x="114672" y="16652"/>
                  </a:lnTo>
                  <a:close/>
                  <a:moveTo>
                    <a:pt x="167283" y="11030"/>
                  </a:moveTo>
                  <a:lnTo>
                    <a:pt x="167888" y="12552"/>
                  </a:lnTo>
                  <a:lnTo>
                    <a:pt x="168797" y="13599"/>
                  </a:lnTo>
                  <a:lnTo>
                    <a:pt x="171999" y="14772"/>
                  </a:lnTo>
                  <a:lnTo>
                    <a:pt x="172477" y="15305"/>
                  </a:lnTo>
                  <a:lnTo>
                    <a:pt x="172766" y="16042"/>
                  </a:lnTo>
                  <a:lnTo>
                    <a:pt x="171276" y="17485"/>
                  </a:lnTo>
                  <a:lnTo>
                    <a:pt x="170771" y="18224"/>
                  </a:lnTo>
                  <a:lnTo>
                    <a:pt x="171244" y="19409"/>
                  </a:lnTo>
                  <a:lnTo>
                    <a:pt x="173617" y="20703"/>
                  </a:lnTo>
                  <a:lnTo>
                    <a:pt x="174170" y="22753"/>
                  </a:lnTo>
                  <a:lnTo>
                    <a:pt x="173576" y="23797"/>
                  </a:lnTo>
                  <a:lnTo>
                    <a:pt x="171090" y="22060"/>
                  </a:lnTo>
                  <a:lnTo>
                    <a:pt x="168594" y="22084"/>
                  </a:lnTo>
                  <a:lnTo>
                    <a:pt x="167102" y="24759"/>
                  </a:lnTo>
                  <a:lnTo>
                    <a:pt x="165992" y="24872"/>
                  </a:lnTo>
                  <a:lnTo>
                    <a:pt x="162138" y="22442"/>
                  </a:lnTo>
                  <a:lnTo>
                    <a:pt x="161520" y="21256"/>
                  </a:lnTo>
                  <a:lnTo>
                    <a:pt x="161393" y="20270"/>
                  </a:lnTo>
                  <a:lnTo>
                    <a:pt x="161943" y="16850"/>
                  </a:lnTo>
                  <a:lnTo>
                    <a:pt x="161842" y="15773"/>
                  </a:lnTo>
                  <a:lnTo>
                    <a:pt x="163053" y="14596"/>
                  </a:lnTo>
                  <a:lnTo>
                    <a:pt x="163241" y="12894"/>
                  </a:lnTo>
                  <a:lnTo>
                    <a:pt x="165383" y="11098"/>
                  </a:lnTo>
                  <a:close/>
                  <a:moveTo>
                    <a:pt x="58651" y="9162"/>
                  </a:moveTo>
                  <a:lnTo>
                    <a:pt x="60055" y="9517"/>
                  </a:lnTo>
                  <a:lnTo>
                    <a:pt x="60374" y="10621"/>
                  </a:lnTo>
                  <a:lnTo>
                    <a:pt x="59513" y="11371"/>
                  </a:lnTo>
                  <a:lnTo>
                    <a:pt x="57409" y="11283"/>
                  </a:lnTo>
                  <a:lnTo>
                    <a:pt x="56228" y="10577"/>
                  </a:lnTo>
                  <a:lnTo>
                    <a:pt x="56611" y="9825"/>
                  </a:lnTo>
                  <a:lnTo>
                    <a:pt x="57727" y="9251"/>
                  </a:lnTo>
                  <a:close/>
                  <a:moveTo>
                    <a:pt x="62197" y="4773"/>
                  </a:moveTo>
                  <a:lnTo>
                    <a:pt x="62206" y="4776"/>
                  </a:lnTo>
                  <a:lnTo>
                    <a:pt x="66330" y="4843"/>
                  </a:lnTo>
                  <a:lnTo>
                    <a:pt x="67341" y="4973"/>
                  </a:lnTo>
                  <a:lnTo>
                    <a:pt x="73596" y="6576"/>
                  </a:lnTo>
                  <a:lnTo>
                    <a:pt x="75125" y="7700"/>
                  </a:lnTo>
                  <a:lnTo>
                    <a:pt x="77049" y="7753"/>
                  </a:lnTo>
                  <a:lnTo>
                    <a:pt x="80515" y="6706"/>
                  </a:lnTo>
                  <a:lnTo>
                    <a:pt x="83104" y="6246"/>
                  </a:lnTo>
                  <a:lnTo>
                    <a:pt x="84108" y="6892"/>
                  </a:lnTo>
                  <a:lnTo>
                    <a:pt x="85518" y="7163"/>
                  </a:lnTo>
                  <a:lnTo>
                    <a:pt x="85844" y="7163"/>
                  </a:lnTo>
                  <a:lnTo>
                    <a:pt x="85981" y="7726"/>
                  </a:lnTo>
                  <a:lnTo>
                    <a:pt x="89217" y="8540"/>
                  </a:lnTo>
                  <a:lnTo>
                    <a:pt x="90578" y="9837"/>
                  </a:lnTo>
                  <a:lnTo>
                    <a:pt x="92089" y="11807"/>
                  </a:lnTo>
                  <a:lnTo>
                    <a:pt x="92236" y="14641"/>
                  </a:lnTo>
                  <a:lnTo>
                    <a:pt x="90301" y="16677"/>
                  </a:lnTo>
                  <a:lnTo>
                    <a:pt x="88695" y="17965"/>
                  </a:lnTo>
                  <a:lnTo>
                    <a:pt x="94771" y="17478"/>
                  </a:lnTo>
                  <a:lnTo>
                    <a:pt x="95376" y="18645"/>
                  </a:lnTo>
                  <a:lnTo>
                    <a:pt x="96296" y="19903"/>
                  </a:lnTo>
                  <a:lnTo>
                    <a:pt x="99569" y="19007"/>
                  </a:lnTo>
                  <a:lnTo>
                    <a:pt x="107775" y="22728"/>
                  </a:lnTo>
                  <a:lnTo>
                    <a:pt x="112737" y="20917"/>
                  </a:lnTo>
                  <a:lnTo>
                    <a:pt x="114007" y="20811"/>
                  </a:lnTo>
                  <a:lnTo>
                    <a:pt x="115134" y="23817"/>
                  </a:lnTo>
                  <a:lnTo>
                    <a:pt x="113901" y="26840"/>
                  </a:lnTo>
                  <a:lnTo>
                    <a:pt x="109526" y="30061"/>
                  </a:lnTo>
                  <a:lnTo>
                    <a:pt x="110496" y="32043"/>
                  </a:lnTo>
                  <a:lnTo>
                    <a:pt x="111893" y="32483"/>
                  </a:lnTo>
                  <a:lnTo>
                    <a:pt x="116017" y="32063"/>
                  </a:lnTo>
                  <a:lnTo>
                    <a:pt x="122547" y="34020"/>
                  </a:lnTo>
                  <a:lnTo>
                    <a:pt x="123908" y="33410"/>
                  </a:lnTo>
                  <a:lnTo>
                    <a:pt x="129203" y="28895"/>
                  </a:lnTo>
                  <a:lnTo>
                    <a:pt x="131319" y="27925"/>
                  </a:lnTo>
                  <a:lnTo>
                    <a:pt x="138285" y="27230"/>
                  </a:lnTo>
                  <a:lnTo>
                    <a:pt x="139552" y="25479"/>
                  </a:lnTo>
                  <a:lnTo>
                    <a:pt x="142375" y="23717"/>
                  </a:lnTo>
                  <a:lnTo>
                    <a:pt x="144193" y="21791"/>
                  </a:lnTo>
                  <a:lnTo>
                    <a:pt x="148546" y="18120"/>
                  </a:lnTo>
                  <a:lnTo>
                    <a:pt x="153051" y="18782"/>
                  </a:lnTo>
                  <a:lnTo>
                    <a:pt x="155681" y="19485"/>
                  </a:lnTo>
                  <a:lnTo>
                    <a:pt x="158568" y="19839"/>
                  </a:lnTo>
                  <a:lnTo>
                    <a:pt x="161196" y="23749"/>
                  </a:lnTo>
                  <a:lnTo>
                    <a:pt x="167843" y="28064"/>
                  </a:lnTo>
                  <a:lnTo>
                    <a:pt x="173950" y="27689"/>
                  </a:lnTo>
                  <a:lnTo>
                    <a:pt x="176117" y="31764"/>
                  </a:lnTo>
                  <a:lnTo>
                    <a:pt x="177074" y="36785"/>
                  </a:lnTo>
                  <a:lnTo>
                    <a:pt x="178950" y="38358"/>
                  </a:lnTo>
                  <a:lnTo>
                    <a:pt x="180600" y="39385"/>
                  </a:lnTo>
                  <a:lnTo>
                    <a:pt x="185576" y="40460"/>
                  </a:lnTo>
                  <a:lnTo>
                    <a:pt x="185772" y="40528"/>
                  </a:lnTo>
                  <a:lnTo>
                    <a:pt x="185932" y="41208"/>
                  </a:lnTo>
                  <a:lnTo>
                    <a:pt x="186236" y="43696"/>
                  </a:lnTo>
                  <a:lnTo>
                    <a:pt x="186653" y="45757"/>
                  </a:lnTo>
                  <a:lnTo>
                    <a:pt x="189214" y="53974"/>
                  </a:lnTo>
                  <a:lnTo>
                    <a:pt x="189165" y="55979"/>
                  </a:lnTo>
                  <a:lnTo>
                    <a:pt x="189134" y="56511"/>
                  </a:lnTo>
                  <a:lnTo>
                    <a:pt x="188197" y="59315"/>
                  </a:lnTo>
                  <a:lnTo>
                    <a:pt x="186530" y="61677"/>
                  </a:lnTo>
                  <a:lnTo>
                    <a:pt x="184330" y="63008"/>
                  </a:lnTo>
                  <a:lnTo>
                    <a:pt x="183118" y="64488"/>
                  </a:lnTo>
                  <a:lnTo>
                    <a:pt x="182891" y="66122"/>
                  </a:lnTo>
                  <a:lnTo>
                    <a:pt x="185658" y="68981"/>
                  </a:lnTo>
                  <a:lnTo>
                    <a:pt x="191414" y="73066"/>
                  </a:lnTo>
                  <a:lnTo>
                    <a:pt x="193744" y="76554"/>
                  </a:lnTo>
                  <a:lnTo>
                    <a:pt x="192645" y="79452"/>
                  </a:lnTo>
                  <a:lnTo>
                    <a:pt x="192311" y="81575"/>
                  </a:lnTo>
                  <a:lnTo>
                    <a:pt x="192738" y="82926"/>
                  </a:lnTo>
                  <a:lnTo>
                    <a:pt x="193660" y="84010"/>
                  </a:lnTo>
                  <a:lnTo>
                    <a:pt x="195081" y="84830"/>
                  </a:lnTo>
                  <a:lnTo>
                    <a:pt x="195645" y="86091"/>
                  </a:lnTo>
                  <a:lnTo>
                    <a:pt x="195358" y="87793"/>
                  </a:lnTo>
                  <a:lnTo>
                    <a:pt x="195627" y="88973"/>
                  </a:lnTo>
                  <a:lnTo>
                    <a:pt x="196688" y="89813"/>
                  </a:lnTo>
                  <a:lnTo>
                    <a:pt x="196590" y="90139"/>
                  </a:lnTo>
                  <a:lnTo>
                    <a:pt x="196075" y="91321"/>
                  </a:lnTo>
                  <a:lnTo>
                    <a:pt x="195370" y="93475"/>
                  </a:lnTo>
                  <a:lnTo>
                    <a:pt x="194971" y="95046"/>
                  </a:lnTo>
                  <a:lnTo>
                    <a:pt x="193351" y="97185"/>
                  </a:lnTo>
                  <a:lnTo>
                    <a:pt x="193844" y="99001"/>
                  </a:lnTo>
                  <a:lnTo>
                    <a:pt x="195113" y="101141"/>
                  </a:lnTo>
                  <a:lnTo>
                    <a:pt x="196077" y="102216"/>
                  </a:lnTo>
                  <a:lnTo>
                    <a:pt x="196381" y="103234"/>
                  </a:lnTo>
                  <a:lnTo>
                    <a:pt x="195768" y="105653"/>
                  </a:lnTo>
                  <a:lnTo>
                    <a:pt x="196072" y="106271"/>
                  </a:lnTo>
                  <a:lnTo>
                    <a:pt x="200080" y="108051"/>
                  </a:lnTo>
                  <a:lnTo>
                    <a:pt x="200734" y="108872"/>
                  </a:lnTo>
                  <a:lnTo>
                    <a:pt x="201123" y="110581"/>
                  </a:lnTo>
                  <a:lnTo>
                    <a:pt x="202527" y="114229"/>
                  </a:lnTo>
                  <a:lnTo>
                    <a:pt x="201361" y="118843"/>
                  </a:lnTo>
                  <a:lnTo>
                    <a:pt x="200335" y="121367"/>
                  </a:lnTo>
                  <a:lnTo>
                    <a:pt x="198052" y="125369"/>
                  </a:lnTo>
                  <a:lnTo>
                    <a:pt x="197945" y="125738"/>
                  </a:lnTo>
                  <a:lnTo>
                    <a:pt x="197681" y="126224"/>
                  </a:lnTo>
                  <a:lnTo>
                    <a:pt x="196997" y="126924"/>
                  </a:lnTo>
                  <a:lnTo>
                    <a:pt x="196042" y="127029"/>
                  </a:lnTo>
                  <a:lnTo>
                    <a:pt x="194602" y="126507"/>
                  </a:lnTo>
                  <a:lnTo>
                    <a:pt x="193615" y="125838"/>
                  </a:lnTo>
                  <a:lnTo>
                    <a:pt x="193842" y="124112"/>
                  </a:lnTo>
                  <a:lnTo>
                    <a:pt x="193209" y="123999"/>
                  </a:lnTo>
                  <a:lnTo>
                    <a:pt x="192423" y="122939"/>
                  </a:lnTo>
                  <a:lnTo>
                    <a:pt x="192114" y="121799"/>
                  </a:lnTo>
                  <a:lnTo>
                    <a:pt x="191266" y="121334"/>
                  </a:lnTo>
                  <a:lnTo>
                    <a:pt x="188169" y="120855"/>
                  </a:lnTo>
                  <a:lnTo>
                    <a:pt x="187117" y="120518"/>
                  </a:lnTo>
                  <a:lnTo>
                    <a:pt x="186310" y="120761"/>
                  </a:lnTo>
                  <a:lnTo>
                    <a:pt x="185705" y="121568"/>
                  </a:lnTo>
                  <a:lnTo>
                    <a:pt x="186091" y="122297"/>
                  </a:lnTo>
                  <a:lnTo>
                    <a:pt x="186668" y="123007"/>
                  </a:lnTo>
                  <a:lnTo>
                    <a:pt x="188385" y="124132"/>
                  </a:lnTo>
                  <a:lnTo>
                    <a:pt x="188208" y="124579"/>
                  </a:lnTo>
                  <a:lnTo>
                    <a:pt x="184509" y="125673"/>
                  </a:lnTo>
                  <a:lnTo>
                    <a:pt x="182181" y="126795"/>
                  </a:lnTo>
                  <a:lnTo>
                    <a:pt x="180013" y="127425"/>
                  </a:lnTo>
                  <a:lnTo>
                    <a:pt x="177804" y="128586"/>
                  </a:lnTo>
                  <a:lnTo>
                    <a:pt x="173444" y="129889"/>
                  </a:lnTo>
                  <a:lnTo>
                    <a:pt x="170246" y="130235"/>
                  </a:lnTo>
                  <a:lnTo>
                    <a:pt x="169579" y="130579"/>
                  </a:lnTo>
                  <a:lnTo>
                    <a:pt x="168385" y="132786"/>
                  </a:lnTo>
                  <a:lnTo>
                    <a:pt x="167579" y="133247"/>
                  </a:lnTo>
                  <a:lnTo>
                    <a:pt x="166806" y="133008"/>
                  </a:lnTo>
                  <a:lnTo>
                    <a:pt x="166219" y="132647"/>
                  </a:lnTo>
                  <a:lnTo>
                    <a:pt x="165476" y="132946"/>
                  </a:lnTo>
                  <a:lnTo>
                    <a:pt x="164703" y="133676"/>
                  </a:lnTo>
                  <a:lnTo>
                    <a:pt x="163895" y="133964"/>
                  </a:lnTo>
                  <a:lnTo>
                    <a:pt x="163191" y="133954"/>
                  </a:lnTo>
                  <a:lnTo>
                    <a:pt x="161941" y="135879"/>
                  </a:lnTo>
                  <a:lnTo>
                    <a:pt x="158298" y="136463"/>
                  </a:lnTo>
                  <a:lnTo>
                    <a:pt x="157871" y="137460"/>
                  </a:lnTo>
                  <a:lnTo>
                    <a:pt x="157201" y="138616"/>
                  </a:lnTo>
                  <a:lnTo>
                    <a:pt x="156668" y="138899"/>
                  </a:lnTo>
                  <a:lnTo>
                    <a:pt x="155022" y="138441"/>
                  </a:lnTo>
                  <a:lnTo>
                    <a:pt x="152749" y="138188"/>
                  </a:lnTo>
                  <a:lnTo>
                    <a:pt x="151444" y="138821"/>
                  </a:lnTo>
                  <a:lnTo>
                    <a:pt x="149877" y="139171"/>
                  </a:lnTo>
                  <a:lnTo>
                    <a:pt x="147964" y="139277"/>
                  </a:lnTo>
                  <a:lnTo>
                    <a:pt x="145832" y="140541"/>
                  </a:lnTo>
                  <a:lnTo>
                    <a:pt x="143753" y="142759"/>
                  </a:lnTo>
                  <a:lnTo>
                    <a:pt x="142582" y="144714"/>
                  </a:lnTo>
                  <a:lnTo>
                    <a:pt x="141956" y="145416"/>
                  </a:lnTo>
                  <a:lnTo>
                    <a:pt x="140935" y="143581"/>
                  </a:lnTo>
                  <a:lnTo>
                    <a:pt x="139688" y="142321"/>
                  </a:lnTo>
                  <a:lnTo>
                    <a:pt x="138806" y="141667"/>
                  </a:lnTo>
                  <a:lnTo>
                    <a:pt x="138017" y="141666"/>
                  </a:lnTo>
                  <a:lnTo>
                    <a:pt x="137810" y="141934"/>
                  </a:lnTo>
                  <a:lnTo>
                    <a:pt x="137808" y="142895"/>
                  </a:lnTo>
                  <a:lnTo>
                    <a:pt x="138650" y="144491"/>
                  </a:lnTo>
                  <a:lnTo>
                    <a:pt x="139693" y="145579"/>
                  </a:lnTo>
                  <a:lnTo>
                    <a:pt x="139859" y="146382"/>
                  </a:lnTo>
                  <a:lnTo>
                    <a:pt x="140418" y="147843"/>
                  </a:lnTo>
                  <a:lnTo>
                    <a:pt x="141936" y="149437"/>
                  </a:lnTo>
                  <a:lnTo>
                    <a:pt x="144318" y="150700"/>
                  </a:lnTo>
                  <a:lnTo>
                    <a:pt x="145942" y="151943"/>
                  </a:lnTo>
                  <a:lnTo>
                    <a:pt x="147145" y="153665"/>
                  </a:lnTo>
                  <a:lnTo>
                    <a:pt x="147156" y="154194"/>
                  </a:lnTo>
                  <a:lnTo>
                    <a:pt x="146825" y="154897"/>
                  </a:lnTo>
                  <a:lnTo>
                    <a:pt x="146257" y="155559"/>
                  </a:lnTo>
                  <a:lnTo>
                    <a:pt x="145778" y="156421"/>
                  </a:lnTo>
                  <a:lnTo>
                    <a:pt x="144459" y="158163"/>
                  </a:lnTo>
                  <a:lnTo>
                    <a:pt x="144849" y="158924"/>
                  </a:lnTo>
                  <a:lnTo>
                    <a:pt x="145929" y="159885"/>
                  </a:lnTo>
                  <a:lnTo>
                    <a:pt x="146886" y="161038"/>
                  </a:lnTo>
                  <a:lnTo>
                    <a:pt x="148112" y="162901"/>
                  </a:lnTo>
                  <a:lnTo>
                    <a:pt x="149799" y="166162"/>
                  </a:lnTo>
                  <a:lnTo>
                    <a:pt x="150885" y="167503"/>
                  </a:lnTo>
                  <a:lnTo>
                    <a:pt x="152360" y="168887"/>
                  </a:lnTo>
                  <a:lnTo>
                    <a:pt x="153809" y="169943"/>
                  </a:lnTo>
                  <a:lnTo>
                    <a:pt x="156093" y="169911"/>
                  </a:lnTo>
                  <a:lnTo>
                    <a:pt x="158460" y="171925"/>
                  </a:lnTo>
                  <a:lnTo>
                    <a:pt x="161043" y="174835"/>
                  </a:lnTo>
                  <a:lnTo>
                    <a:pt x="162973" y="176169"/>
                  </a:lnTo>
                  <a:lnTo>
                    <a:pt x="164321" y="176575"/>
                  </a:lnTo>
                  <a:lnTo>
                    <a:pt x="165433" y="177622"/>
                  </a:lnTo>
                  <a:lnTo>
                    <a:pt x="166420" y="179127"/>
                  </a:lnTo>
                  <a:lnTo>
                    <a:pt x="166806" y="179997"/>
                  </a:lnTo>
                  <a:lnTo>
                    <a:pt x="167681" y="180625"/>
                  </a:lnTo>
                  <a:lnTo>
                    <a:pt x="170045" y="180508"/>
                  </a:lnTo>
                  <a:lnTo>
                    <a:pt x="173081" y="182873"/>
                  </a:lnTo>
                  <a:lnTo>
                    <a:pt x="174960" y="184603"/>
                  </a:lnTo>
                  <a:lnTo>
                    <a:pt x="175951" y="185999"/>
                  </a:lnTo>
                  <a:lnTo>
                    <a:pt x="175690" y="186552"/>
                  </a:lnTo>
                  <a:lnTo>
                    <a:pt x="175569" y="188289"/>
                  </a:lnTo>
                  <a:lnTo>
                    <a:pt x="175599" y="190129"/>
                  </a:lnTo>
                  <a:lnTo>
                    <a:pt x="175301" y="191102"/>
                  </a:lnTo>
                  <a:lnTo>
                    <a:pt x="173943" y="192382"/>
                  </a:lnTo>
                  <a:lnTo>
                    <a:pt x="173241" y="192654"/>
                  </a:lnTo>
                  <a:lnTo>
                    <a:pt x="172866" y="192930"/>
                  </a:lnTo>
                  <a:lnTo>
                    <a:pt x="168696" y="191261"/>
                  </a:lnTo>
                  <a:lnTo>
                    <a:pt x="168365" y="191546"/>
                  </a:lnTo>
                  <a:lnTo>
                    <a:pt x="168104" y="191752"/>
                  </a:lnTo>
                  <a:lnTo>
                    <a:pt x="166988" y="196586"/>
                  </a:lnTo>
                  <a:lnTo>
                    <a:pt x="166219" y="197514"/>
                  </a:lnTo>
                  <a:lnTo>
                    <a:pt x="165074" y="198368"/>
                  </a:lnTo>
                  <a:lnTo>
                    <a:pt x="162695" y="199199"/>
                  </a:lnTo>
                  <a:lnTo>
                    <a:pt x="161041" y="199537"/>
                  </a:lnTo>
                  <a:lnTo>
                    <a:pt x="159752" y="199958"/>
                  </a:lnTo>
                  <a:lnTo>
                    <a:pt x="155668" y="201977"/>
                  </a:lnTo>
                  <a:lnTo>
                    <a:pt x="153828" y="203189"/>
                  </a:lnTo>
                  <a:lnTo>
                    <a:pt x="152636" y="204711"/>
                  </a:lnTo>
                  <a:lnTo>
                    <a:pt x="152630" y="205587"/>
                  </a:lnTo>
                  <a:lnTo>
                    <a:pt x="154616" y="208160"/>
                  </a:lnTo>
                  <a:lnTo>
                    <a:pt x="156908" y="210815"/>
                  </a:lnTo>
                  <a:lnTo>
                    <a:pt x="156923" y="213149"/>
                  </a:lnTo>
                  <a:lnTo>
                    <a:pt x="155908" y="214893"/>
                  </a:lnTo>
                  <a:lnTo>
                    <a:pt x="155672" y="215567"/>
                  </a:lnTo>
                  <a:lnTo>
                    <a:pt x="156346" y="215820"/>
                  </a:lnTo>
                  <a:lnTo>
                    <a:pt x="157616" y="215917"/>
                  </a:lnTo>
                  <a:lnTo>
                    <a:pt x="158678" y="216217"/>
                  </a:lnTo>
                  <a:lnTo>
                    <a:pt x="159132" y="217443"/>
                  </a:lnTo>
                  <a:lnTo>
                    <a:pt x="158996" y="219578"/>
                  </a:lnTo>
                  <a:lnTo>
                    <a:pt x="158633" y="221575"/>
                  </a:lnTo>
                  <a:lnTo>
                    <a:pt x="158253" y="222415"/>
                  </a:lnTo>
                  <a:lnTo>
                    <a:pt x="157229" y="222482"/>
                  </a:lnTo>
                  <a:lnTo>
                    <a:pt x="155258" y="221619"/>
                  </a:lnTo>
                  <a:lnTo>
                    <a:pt x="153720" y="220616"/>
                  </a:lnTo>
                  <a:lnTo>
                    <a:pt x="153133" y="219999"/>
                  </a:lnTo>
                  <a:lnTo>
                    <a:pt x="153096" y="219261"/>
                  </a:lnTo>
                  <a:lnTo>
                    <a:pt x="153429" y="218795"/>
                  </a:lnTo>
                  <a:lnTo>
                    <a:pt x="152880" y="217885"/>
                  </a:lnTo>
                  <a:lnTo>
                    <a:pt x="150989" y="217044"/>
                  </a:lnTo>
                  <a:lnTo>
                    <a:pt x="148963" y="217410"/>
                  </a:lnTo>
                  <a:lnTo>
                    <a:pt x="147467" y="217977"/>
                  </a:lnTo>
                  <a:lnTo>
                    <a:pt x="146502" y="217944"/>
                  </a:lnTo>
                  <a:lnTo>
                    <a:pt x="145459" y="217134"/>
                  </a:lnTo>
                  <a:lnTo>
                    <a:pt x="143854" y="216514"/>
                  </a:lnTo>
                  <a:lnTo>
                    <a:pt x="141757" y="216105"/>
                  </a:lnTo>
                  <a:lnTo>
                    <a:pt x="140451" y="215668"/>
                  </a:lnTo>
                  <a:lnTo>
                    <a:pt x="140176" y="215926"/>
                  </a:lnTo>
                  <a:lnTo>
                    <a:pt x="140330" y="217679"/>
                  </a:lnTo>
                  <a:lnTo>
                    <a:pt x="139928" y="218444"/>
                  </a:lnTo>
                  <a:lnTo>
                    <a:pt x="129561" y="219456"/>
                  </a:lnTo>
                  <a:lnTo>
                    <a:pt x="126402" y="220404"/>
                  </a:lnTo>
                  <a:lnTo>
                    <a:pt x="124102" y="221629"/>
                  </a:lnTo>
                  <a:lnTo>
                    <a:pt x="122400" y="222160"/>
                  </a:lnTo>
                  <a:lnTo>
                    <a:pt x="121984" y="222915"/>
                  </a:lnTo>
                  <a:lnTo>
                    <a:pt x="120299" y="223906"/>
                  </a:lnTo>
                  <a:lnTo>
                    <a:pt x="118397" y="224223"/>
                  </a:lnTo>
                  <a:lnTo>
                    <a:pt x="117939" y="223898"/>
                  </a:lnTo>
                  <a:lnTo>
                    <a:pt x="116719" y="224356"/>
                  </a:lnTo>
                  <a:lnTo>
                    <a:pt x="114640" y="224797"/>
                  </a:lnTo>
                  <a:lnTo>
                    <a:pt x="113288" y="224657"/>
                  </a:lnTo>
                  <a:lnTo>
                    <a:pt x="112653" y="223856"/>
                  </a:lnTo>
                  <a:lnTo>
                    <a:pt x="111366" y="222629"/>
                  </a:lnTo>
                  <a:lnTo>
                    <a:pt x="110850" y="221778"/>
                  </a:lnTo>
                  <a:lnTo>
                    <a:pt x="110904" y="221233"/>
                  </a:lnTo>
                  <a:lnTo>
                    <a:pt x="107997" y="221123"/>
                  </a:lnTo>
                  <a:lnTo>
                    <a:pt x="106164" y="220475"/>
                  </a:lnTo>
                  <a:lnTo>
                    <a:pt x="102275" y="220627"/>
                  </a:lnTo>
                  <a:lnTo>
                    <a:pt x="101316" y="220353"/>
                  </a:lnTo>
                  <a:lnTo>
                    <a:pt x="101116" y="220647"/>
                  </a:lnTo>
                  <a:lnTo>
                    <a:pt x="100530" y="224128"/>
                  </a:lnTo>
                  <a:lnTo>
                    <a:pt x="99761" y="225556"/>
                  </a:lnTo>
                  <a:lnTo>
                    <a:pt x="98515" y="227030"/>
                  </a:lnTo>
                  <a:lnTo>
                    <a:pt x="96920" y="227850"/>
                  </a:lnTo>
                  <a:lnTo>
                    <a:pt x="95646" y="227999"/>
                  </a:lnTo>
                  <a:lnTo>
                    <a:pt x="95706" y="226925"/>
                  </a:lnTo>
                  <a:lnTo>
                    <a:pt x="96028" y="225630"/>
                  </a:lnTo>
                  <a:lnTo>
                    <a:pt x="95110" y="225326"/>
                  </a:lnTo>
                  <a:lnTo>
                    <a:pt x="93732" y="225177"/>
                  </a:lnTo>
                  <a:lnTo>
                    <a:pt x="93065" y="224791"/>
                  </a:lnTo>
                  <a:lnTo>
                    <a:pt x="93240" y="223805"/>
                  </a:lnTo>
                  <a:lnTo>
                    <a:pt x="92923" y="223229"/>
                  </a:lnTo>
                  <a:lnTo>
                    <a:pt x="92353" y="222541"/>
                  </a:lnTo>
                  <a:lnTo>
                    <a:pt x="90971" y="221651"/>
                  </a:lnTo>
                  <a:lnTo>
                    <a:pt x="88042" y="220332"/>
                  </a:lnTo>
                  <a:lnTo>
                    <a:pt x="86047" y="219680"/>
                  </a:lnTo>
                  <a:lnTo>
                    <a:pt x="85300" y="220374"/>
                  </a:lnTo>
                  <a:lnTo>
                    <a:pt x="83873" y="221074"/>
                  </a:lnTo>
                  <a:lnTo>
                    <a:pt x="81625" y="220845"/>
                  </a:lnTo>
                  <a:lnTo>
                    <a:pt x="81074" y="221120"/>
                  </a:lnTo>
                  <a:lnTo>
                    <a:pt x="77226" y="219023"/>
                  </a:lnTo>
                  <a:lnTo>
                    <a:pt x="73529" y="217005"/>
                  </a:lnTo>
                  <a:lnTo>
                    <a:pt x="72307" y="217005"/>
                  </a:lnTo>
                  <a:lnTo>
                    <a:pt x="66859" y="217408"/>
                  </a:lnTo>
                  <a:lnTo>
                    <a:pt x="66701" y="217230"/>
                  </a:lnTo>
                  <a:lnTo>
                    <a:pt x="65753" y="216080"/>
                  </a:lnTo>
                  <a:lnTo>
                    <a:pt x="64911" y="215716"/>
                  </a:lnTo>
                  <a:lnTo>
                    <a:pt x="64404" y="215903"/>
                  </a:lnTo>
                  <a:lnTo>
                    <a:pt x="64065" y="216237"/>
                  </a:lnTo>
                  <a:lnTo>
                    <a:pt x="63480" y="216180"/>
                  </a:lnTo>
                  <a:lnTo>
                    <a:pt x="61037" y="214322"/>
                  </a:lnTo>
                  <a:lnTo>
                    <a:pt x="60038" y="214054"/>
                  </a:lnTo>
                  <a:lnTo>
                    <a:pt x="58649" y="214300"/>
                  </a:lnTo>
                  <a:lnTo>
                    <a:pt x="57010" y="215300"/>
                  </a:lnTo>
                  <a:lnTo>
                    <a:pt x="56295" y="216525"/>
                  </a:lnTo>
                  <a:lnTo>
                    <a:pt x="56513" y="217230"/>
                  </a:lnTo>
                  <a:lnTo>
                    <a:pt x="57364" y="217537"/>
                  </a:lnTo>
                  <a:lnTo>
                    <a:pt x="59588" y="217331"/>
                  </a:lnTo>
                  <a:lnTo>
                    <a:pt x="59914" y="217534"/>
                  </a:lnTo>
                  <a:lnTo>
                    <a:pt x="59990" y="217930"/>
                  </a:lnTo>
                  <a:lnTo>
                    <a:pt x="59746" y="218318"/>
                  </a:lnTo>
                  <a:lnTo>
                    <a:pt x="57937" y="218636"/>
                  </a:lnTo>
                  <a:lnTo>
                    <a:pt x="57414" y="219099"/>
                  </a:lnTo>
                  <a:lnTo>
                    <a:pt x="56885" y="219213"/>
                  </a:lnTo>
                  <a:lnTo>
                    <a:pt x="56546" y="219285"/>
                  </a:lnTo>
                  <a:lnTo>
                    <a:pt x="54624" y="218798"/>
                  </a:lnTo>
                  <a:lnTo>
                    <a:pt x="51759" y="218798"/>
                  </a:lnTo>
                  <a:lnTo>
                    <a:pt x="49448" y="219662"/>
                  </a:lnTo>
                  <a:lnTo>
                    <a:pt x="45762" y="220007"/>
                  </a:lnTo>
                  <a:lnTo>
                    <a:pt x="40698" y="219838"/>
                  </a:lnTo>
                  <a:lnTo>
                    <a:pt x="38876" y="219197"/>
                  </a:lnTo>
                  <a:lnTo>
                    <a:pt x="37766" y="218809"/>
                  </a:lnTo>
                  <a:lnTo>
                    <a:pt x="36969" y="216916"/>
                  </a:lnTo>
                  <a:lnTo>
                    <a:pt x="37172" y="214110"/>
                  </a:lnTo>
                  <a:lnTo>
                    <a:pt x="38381" y="210391"/>
                  </a:lnTo>
                  <a:lnTo>
                    <a:pt x="38718" y="207658"/>
                  </a:lnTo>
                  <a:lnTo>
                    <a:pt x="38180" y="205916"/>
                  </a:lnTo>
                  <a:lnTo>
                    <a:pt x="38897" y="203303"/>
                  </a:lnTo>
                  <a:lnTo>
                    <a:pt x="40867" y="199818"/>
                  </a:lnTo>
                  <a:lnTo>
                    <a:pt x="42182" y="196136"/>
                  </a:lnTo>
                  <a:lnTo>
                    <a:pt x="42838" y="192255"/>
                  </a:lnTo>
                  <a:lnTo>
                    <a:pt x="43792" y="189722"/>
                  </a:lnTo>
                  <a:lnTo>
                    <a:pt x="45667" y="187945"/>
                  </a:lnTo>
                  <a:lnTo>
                    <a:pt x="50117" y="182971"/>
                  </a:lnTo>
                  <a:lnTo>
                    <a:pt x="50478" y="182596"/>
                  </a:lnTo>
                  <a:lnTo>
                    <a:pt x="50357" y="180111"/>
                  </a:lnTo>
                  <a:lnTo>
                    <a:pt x="49158" y="179760"/>
                  </a:lnTo>
                  <a:lnTo>
                    <a:pt x="47403" y="179046"/>
                  </a:lnTo>
                  <a:lnTo>
                    <a:pt x="42935" y="178162"/>
                  </a:lnTo>
                  <a:lnTo>
                    <a:pt x="38772" y="177595"/>
                  </a:lnTo>
                  <a:lnTo>
                    <a:pt x="36882" y="176892"/>
                  </a:lnTo>
                  <a:lnTo>
                    <a:pt x="35226" y="175011"/>
                  </a:lnTo>
                  <a:lnTo>
                    <a:pt x="34200" y="174986"/>
                  </a:lnTo>
                  <a:lnTo>
                    <a:pt x="32192" y="175659"/>
                  </a:lnTo>
                  <a:lnTo>
                    <a:pt x="29683" y="176114"/>
                  </a:lnTo>
                  <a:lnTo>
                    <a:pt x="27859" y="175716"/>
                  </a:lnTo>
                  <a:lnTo>
                    <a:pt x="26716" y="175793"/>
                  </a:lnTo>
                  <a:lnTo>
                    <a:pt x="26075" y="176140"/>
                  </a:lnTo>
                  <a:lnTo>
                    <a:pt x="25753" y="175833"/>
                  </a:lnTo>
                  <a:lnTo>
                    <a:pt x="25295" y="174220"/>
                  </a:lnTo>
                  <a:lnTo>
                    <a:pt x="24341" y="173798"/>
                  </a:lnTo>
                  <a:lnTo>
                    <a:pt x="22857" y="173429"/>
                  </a:lnTo>
                  <a:lnTo>
                    <a:pt x="21935" y="173589"/>
                  </a:lnTo>
                  <a:lnTo>
                    <a:pt x="21298" y="174390"/>
                  </a:lnTo>
                  <a:lnTo>
                    <a:pt x="20316" y="174955"/>
                  </a:lnTo>
                  <a:lnTo>
                    <a:pt x="19413" y="174771"/>
                  </a:lnTo>
                  <a:lnTo>
                    <a:pt x="16586" y="171044"/>
                  </a:lnTo>
                  <a:lnTo>
                    <a:pt x="15858" y="170219"/>
                  </a:lnTo>
                  <a:lnTo>
                    <a:pt x="15673" y="169460"/>
                  </a:lnTo>
                  <a:lnTo>
                    <a:pt x="14965" y="168071"/>
                  </a:lnTo>
                  <a:lnTo>
                    <a:pt x="13280" y="166689"/>
                  </a:lnTo>
                  <a:lnTo>
                    <a:pt x="11603" y="166251"/>
                  </a:lnTo>
                  <a:lnTo>
                    <a:pt x="10765" y="166406"/>
                  </a:lnTo>
                  <a:lnTo>
                    <a:pt x="10855" y="164686"/>
                  </a:lnTo>
                  <a:lnTo>
                    <a:pt x="11516" y="162190"/>
                  </a:lnTo>
                  <a:lnTo>
                    <a:pt x="12144" y="160886"/>
                  </a:lnTo>
                  <a:lnTo>
                    <a:pt x="12982" y="159820"/>
                  </a:lnTo>
                  <a:lnTo>
                    <a:pt x="13870" y="159079"/>
                  </a:lnTo>
                  <a:lnTo>
                    <a:pt x="14069" y="157738"/>
                  </a:lnTo>
                  <a:lnTo>
                    <a:pt x="13926" y="156469"/>
                  </a:lnTo>
                  <a:lnTo>
                    <a:pt x="12900" y="156272"/>
                  </a:lnTo>
                  <a:lnTo>
                    <a:pt x="10329" y="155334"/>
                  </a:lnTo>
                  <a:lnTo>
                    <a:pt x="8813" y="154346"/>
                  </a:lnTo>
                  <a:lnTo>
                    <a:pt x="7681" y="153108"/>
                  </a:lnTo>
                  <a:lnTo>
                    <a:pt x="6206" y="151401"/>
                  </a:lnTo>
                  <a:lnTo>
                    <a:pt x="5578" y="149667"/>
                  </a:lnTo>
                  <a:lnTo>
                    <a:pt x="5546" y="147938"/>
                  </a:lnTo>
                  <a:lnTo>
                    <a:pt x="5727" y="147164"/>
                  </a:lnTo>
                  <a:lnTo>
                    <a:pt x="5833" y="146633"/>
                  </a:lnTo>
                  <a:lnTo>
                    <a:pt x="7023" y="143934"/>
                  </a:lnTo>
                  <a:lnTo>
                    <a:pt x="11210" y="141516"/>
                  </a:lnTo>
                  <a:lnTo>
                    <a:pt x="10749" y="139079"/>
                  </a:lnTo>
                  <a:lnTo>
                    <a:pt x="10689" y="137584"/>
                  </a:lnTo>
                  <a:lnTo>
                    <a:pt x="9672" y="136605"/>
                  </a:lnTo>
                  <a:lnTo>
                    <a:pt x="7640" y="136209"/>
                  </a:lnTo>
                  <a:lnTo>
                    <a:pt x="7102" y="135530"/>
                  </a:lnTo>
                  <a:lnTo>
                    <a:pt x="6876" y="134867"/>
                  </a:lnTo>
                  <a:lnTo>
                    <a:pt x="8368" y="133375"/>
                  </a:lnTo>
                  <a:lnTo>
                    <a:pt x="6567" y="132195"/>
                  </a:lnTo>
                  <a:lnTo>
                    <a:pt x="5792" y="130974"/>
                  </a:lnTo>
                  <a:lnTo>
                    <a:pt x="3282" y="129432"/>
                  </a:lnTo>
                  <a:lnTo>
                    <a:pt x="3017" y="128901"/>
                  </a:lnTo>
                  <a:lnTo>
                    <a:pt x="4222" y="124399"/>
                  </a:lnTo>
                  <a:lnTo>
                    <a:pt x="3302" y="123084"/>
                  </a:lnTo>
                  <a:lnTo>
                    <a:pt x="2157" y="122413"/>
                  </a:lnTo>
                  <a:lnTo>
                    <a:pt x="823" y="122083"/>
                  </a:lnTo>
                  <a:lnTo>
                    <a:pt x="214" y="121457"/>
                  </a:lnTo>
                  <a:lnTo>
                    <a:pt x="0" y="120742"/>
                  </a:lnTo>
                  <a:lnTo>
                    <a:pt x="240" y="120299"/>
                  </a:lnTo>
                  <a:lnTo>
                    <a:pt x="1807" y="120430"/>
                  </a:lnTo>
                  <a:lnTo>
                    <a:pt x="2289" y="119966"/>
                  </a:lnTo>
                  <a:lnTo>
                    <a:pt x="6025" y="117313"/>
                  </a:lnTo>
                  <a:lnTo>
                    <a:pt x="6178" y="116803"/>
                  </a:lnTo>
                  <a:lnTo>
                    <a:pt x="5658" y="116514"/>
                  </a:lnTo>
                  <a:lnTo>
                    <a:pt x="4973" y="116360"/>
                  </a:lnTo>
                  <a:lnTo>
                    <a:pt x="4805" y="115802"/>
                  </a:lnTo>
                  <a:lnTo>
                    <a:pt x="4829" y="115067"/>
                  </a:lnTo>
                  <a:lnTo>
                    <a:pt x="6826" y="111235"/>
                  </a:lnTo>
                  <a:lnTo>
                    <a:pt x="7416" y="109599"/>
                  </a:lnTo>
                  <a:lnTo>
                    <a:pt x="7547" y="108442"/>
                  </a:lnTo>
                  <a:lnTo>
                    <a:pt x="7424" y="107299"/>
                  </a:lnTo>
                  <a:lnTo>
                    <a:pt x="6282" y="105500"/>
                  </a:lnTo>
                  <a:lnTo>
                    <a:pt x="5165" y="104064"/>
                  </a:lnTo>
                  <a:lnTo>
                    <a:pt x="5127" y="102920"/>
                  </a:lnTo>
                  <a:lnTo>
                    <a:pt x="4317" y="102318"/>
                  </a:lnTo>
                  <a:lnTo>
                    <a:pt x="2013" y="99249"/>
                  </a:lnTo>
                  <a:lnTo>
                    <a:pt x="2017" y="98061"/>
                  </a:lnTo>
                  <a:lnTo>
                    <a:pt x="3319" y="97138"/>
                  </a:lnTo>
                  <a:lnTo>
                    <a:pt x="5137" y="96549"/>
                  </a:lnTo>
                  <a:lnTo>
                    <a:pt x="5742" y="96063"/>
                  </a:lnTo>
                  <a:lnTo>
                    <a:pt x="6832" y="95757"/>
                  </a:lnTo>
                  <a:lnTo>
                    <a:pt x="9720" y="96644"/>
                  </a:lnTo>
                  <a:lnTo>
                    <a:pt x="11015" y="97413"/>
                  </a:lnTo>
                  <a:lnTo>
                    <a:pt x="11380" y="97254"/>
                  </a:lnTo>
                  <a:lnTo>
                    <a:pt x="12548" y="96417"/>
                  </a:lnTo>
                  <a:lnTo>
                    <a:pt x="14595" y="96549"/>
                  </a:lnTo>
                  <a:lnTo>
                    <a:pt x="19553" y="94867"/>
                  </a:lnTo>
                  <a:lnTo>
                    <a:pt x="20292" y="94058"/>
                  </a:lnTo>
                  <a:lnTo>
                    <a:pt x="20849" y="93198"/>
                  </a:lnTo>
                  <a:lnTo>
                    <a:pt x="20894" y="92820"/>
                  </a:lnTo>
                  <a:lnTo>
                    <a:pt x="18975" y="91164"/>
                  </a:lnTo>
                  <a:lnTo>
                    <a:pt x="18916" y="90551"/>
                  </a:lnTo>
                  <a:lnTo>
                    <a:pt x="19171" y="89860"/>
                  </a:lnTo>
                  <a:lnTo>
                    <a:pt x="19713" y="89314"/>
                  </a:lnTo>
                  <a:lnTo>
                    <a:pt x="20849" y="88943"/>
                  </a:lnTo>
                  <a:lnTo>
                    <a:pt x="22058" y="88215"/>
                  </a:lnTo>
                  <a:lnTo>
                    <a:pt x="24759" y="86149"/>
                  </a:lnTo>
                  <a:lnTo>
                    <a:pt x="25697" y="84355"/>
                  </a:lnTo>
                  <a:lnTo>
                    <a:pt x="25984" y="82411"/>
                  </a:lnTo>
                  <a:lnTo>
                    <a:pt x="26040" y="80964"/>
                  </a:lnTo>
                  <a:lnTo>
                    <a:pt x="25304" y="79812"/>
                  </a:lnTo>
                  <a:lnTo>
                    <a:pt x="24559" y="79066"/>
                  </a:lnTo>
                  <a:lnTo>
                    <a:pt x="23540" y="79179"/>
                  </a:lnTo>
                  <a:lnTo>
                    <a:pt x="21559" y="79120"/>
                  </a:lnTo>
                  <a:lnTo>
                    <a:pt x="19709" y="78473"/>
                  </a:lnTo>
                  <a:lnTo>
                    <a:pt x="18694" y="77426"/>
                  </a:lnTo>
                  <a:lnTo>
                    <a:pt x="18444" y="76505"/>
                  </a:lnTo>
                  <a:lnTo>
                    <a:pt x="18903" y="75925"/>
                  </a:lnTo>
                  <a:lnTo>
                    <a:pt x="19044" y="75212"/>
                  </a:lnTo>
                  <a:lnTo>
                    <a:pt x="18748" y="74495"/>
                  </a:lnTo>
                  <a:lnTo>
                    <a:pt x="18867" y="73893"/>
                  </a:lnTo>
                  <a:lnTo>
                    <a:pt x="19700" y="73410"/>
                  </a:lnTo>
                  <a:lnTo>
                    <a:pt x="25554" y="73426"/>
                  </a:lnTo>
                  <a:lnTo>
                    <a:pt x="25993" y="72895"/>
                  </a:lnTo>
                  <a:lnTo>
                    <a:pt x="26388" y="70108"/>
                  </a:lnTo>
                  <a:lnTo>
                    <a:pt x="27852" y="65859"/>
                  </a:lnTo>
                  <a:lnTo>
                    <a:pt x="29232" y="63490"/>
                  </a:lnTo>
                  <a:lnTo>
                    <a:pt x="29463" y="62493"/>
                  </a:lnTo>
                  <a:lnTo>
                    <a:pt x="29441" y="56866"/>
                  </a:lnTo>
                  <a:lnTo>
                    <a:pt x="29625" y="54011"/>
                  </a:lnTo>
                  <a:lnTo>
                    <a:pt x="28625" y="52668"/>
                  </a:lnTo>
                  <a:lnTo>
                    <a:pt x="26442" y="51197"/>
                  </a:lnTo>
                  <a:lnTo>
                    <a:pt x="26906" y="48132"/>
                  </a:lnTo>
                  <a:lnTo>
                    <a:pt x="27632" y="45741"/>
                  </a:lnTo>
                  <a:lnTo>
                    <a:pt x="29828" y="42797"/>
                  </a:lnTo>
                  <a:lnTo>
                    <a:pt x="31570" y="41987"/>
                  </a:lnTo>
                  <a:lnTo>
                    <a:pt x="39176" y="41506"/>
                  </a:lnTo>
                  <a:lnTo>
                    <a:pt x="47580" y="41704"/>
                  </a:lnTo>
                  <a:lnTo>
                    <a:pt x="51069" y="46150"/>
                  </a:lnTo>
                  <a:lnTo>
                    <a:pt x="49774" y="48432"/>
                  </a:lnTo>
                  <a:lnTo>
                    <a:pt x="51814" y="49494"/>
                  </a:lnTo>
                  <a:lnTo>
                    <a:pt x="52797" y="49106"/>
                  </a:lnTo>
                  <a:lnTo>
                    <a:pt x="53544" y="47121"/>
                  </a:lnTo>
                  <a:lnTo>
                    <a:pt x="54043" y="44922"/>
                  </a:lnTo>
                  <a:lnTo>
                    <a:pt x="54758" y="44256"/>
                  </a:lnTo>
                  <a:lnTo>
                    <a:pt x="57356" y="45900"/>
                  </a:lnTo>
                  <a:lnTo>
                    <a:pt x="58269" y="47026"/>
                  </a:lnTo>
                  <a:lnTo>
                    <a:pt x="58325" y="50644"/>
                  </a:lnTo>
                  <a:lnTo>
                    <a:pt x="59282" y="45743"/>
                  </a:lnTo>
                  <a:lnTo>
                    <a:pt x="58569" y="42307"/>
                  </a:lnTo>
                  <a:lnTo>
                    <a:pt x="59059" y="38972"/>
                  </a:lnTo>
                  <a:lnTo>
                    <a:pt x="60102" y="37235"/>
                  </a:lnTo>
                  <a:lnTo>
                    <a:pt x="61061" y="36130"/>
                  </a:lnTo>
                  <a:lnTo>
                    <a:pt x="67226" y="37320"/>
                  </a:lnTo>
                  <a:lnTo>
                    <a:pt x="74032" y="36706"/>
                  </a:lnTo>
                  <a:lnTo>
                    <a:pt x="76606" y="37992"/>
                  </a:lnTo>
                  <a:lnTo>
                    <a:pt x="82430" y="44428"/>
                  </a:lnTo>
                  <a:lnTo>
                    <a:pt x="84372" y="45480"/>
                  </a:lnTo>
                  <a:lnTo>
                    <a:pt x="86822" y="45811"/>
                  </a:lnTo>
                  <a:lnTo>
                    <a:pt x="83445" y="44437"/>
                  </a:lnTo>
                  <a:lnTo>
                    <a:pt x="76386" y="36610"/>
                  </a:lnTo>
                  <a:lnTo>
                    <a:pt x="74272" y="35639"/>
                  </a:lnTo>
                  <a:lnTo>
                    <a:pt x="71027" y="35344"/>
                  </a:lnTo>
                  <a:lnTo>
                    <a:pt x="69003" y="34578"/>
                  </a:lnTo>
                  <a:lnTo>
                    <a:pt x="67727" y="33392"/>
                  </a:lnTo>
                  <a:lnTo>
                    <a:pt x="67353" y="32332"/>
                  </a:lnTo>
                  <a:lnTo>
                    <a:pt x="67423" y="24417"/>
                  </a:lnTo>
                  <a:lnTo>
                    <a:pt x="66205" y="23237"/>
                  </a:lnTo>
                  <a:lnTo>
                    <a:pt x="64631" y="22826"/>
                  </a:lnTo>
                  <a:lnTo>
                    <a:pt x="63650" y="23369"/>
                  </a:lnTo>
                  <a:lnTo>
                    <a:pt x="61636" y="23376"/>
                  </a:lnTo>
                  <a:lnTo>
                    <a:pt x="61212" y="21579"/>
                  </a:lnTo>
                  <a:lnTo>
                    <a:pt x="61704" y="20247"/>
                  </a:lnTo>
                  <a:lnTo>
                    <a:pt x="65753" y="19336"/>
                  </a:lnTo>
                  <a:lnTo>
                    <a:pt x="68422" y="18114"/>
                  </a:lnTo>
                  <a:lnTo>
                    <a:pt x="68541" y="15954"/>
                  </a:lnTo>
                  <a:lnTo>
                    <a:pt x="66855" y="14254"/>
                  </a:lnTo>
                  <a:lnTo>
                    <a:pt x="64836" y="11133"/>
                  </a:lnTo>
                  <a:lnTo>
                    <a:pt x="62463" y="8196"/>
                  </a:lnTo>
                  <a:close/>
                  <a:moveTo>
                    <a:pt x="56334" y="0"/>
                  </a:moveTo>
                  <a:lnTo>
                    <a:pt x="57358" y="103"/>
                  </a:lnTo>
                  <a:lnTo>
                    <a:pt x="56310" y="1353"/>
                  </a:lnTo>
                  <a:lnTo>
                    <a:pt x="56008" y="2228"/>
                  </a:lnTo>
                  <a:lnTo>
                    <a:pt x="55583" y="3975"/>
                  </a:lnTo>
                  <a:lnTo>
                    <a:pt x="55775" y="4882"/>
                  </a:lnTo>
                  <a:lnTo>
                    <a:pt x="61296" y="5131"/>
                  </a:lnTo>
                  <a:lnTo>
                    <a:pt x="60655" y="5940"/>
                  </a:lnTo>
                  <a:lnTo>
                    <a:pt x="55056" y="6486"/>
                  </a:lnTo>
                  <a:lnTo>
                    <a:pt x="54179" y="8345"/>
                  </a:lnTo>
                  <a:lnTo>
                    <a:pt x="53669" y="8954"/>
                  </a:lnTo>
                  <a:lnTo>
                    <a:pt x="53913" y="4623"/>
                  </a:lnTo>
                  <a:close/>
                </a:path>
              </a:pathLst>
            </a:custGeom>
            <a:solidFill>
              <a:srgbClr val="C7CDD0"/>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AT" sz="1600" err="1">
                <a:solidFill>
                  <a:schemeClr val="tx1"/>
                </a:solidFill>
                <a:latin typeface="Calibri" panose="020F0502020204030204" pitchFamily="34" charset="0"/>
                <a:cs typeface="Calibri" panose="020F0502020204030204" pitchFamily="34" charset="0"/>
              </a:endParaRPr>
            </a:p>
          </p:txBody>
        </p:sp>
        <p:sp>
          <p:nvSpPr>
            <p:cNvPr id="74" name="ee4p_DK_1_86241">
              <a:extLst>
                <a:ext uri="{FF2B5EF4-FFF2-40B4-BE49-F238E27FC236}">
                  <a16:creationId xmlns:a16="http://schemas.microsoft.com/office/drawing/2014/main" id="{2F43E087-E4E0-41A4-8905-0B5591552190}"/>
                </a:ext>
              </a:extLst>
            </p:cNvPr>
            <p:cNvSpPr>
              <a:spLocks noChangeAspect="1"/>
            </p:cNvSpPr>
            <p:nvPr>
              <p:custDataLst>
                <p:tags r:id="rId13"/>
              </p:custDataLst>
            </p:nvPr>
          </p:nvSpPr>
          <p:spPr>
            <a:xfrm>
              <a:off x="6656213" y="2310780"/>
              <a:ext cx="470139" cy="302116"/>
            </a:xfrm>
            <a:custGeom>
              <a:avLst/>
              <a:gdLst>
                <a:gd name="connsiteX0" fmla="*/ 69366 w 155130"/>
                <a:gd name="connsiteY0" fmla="*/ 87225 h 97125"/>
                <a:gd name="connsiteX1" fmla="*/ 71642 w 155130"/>
                <a:gd name="connsiteY1" fmla="*/ 89072 h 97125"/>
                <a:gd name="connsiteX2" fmla="*/ 75555 w 155130"/>
                <a:gd name="connsiteY2" fmla="*/ 90976 h 97125"/>
                <a:gd name="connsiteX3" fmla="*/ 78202 w 155130"/>
                <a:gd name="connsiteY3" fmla="*/ 90867 h 97125"/>
                <a:gd name="connsiteX4" fmla="*/ 80003 w 155130"/>
                <a:gd name="connsiteY4" fmla="*/ 91656 h 97125"/>
                <a:gd name="connsiteX5" fmla="*/ 80433 w 155130"/>
                <a:gd name="connsiteY5" fmla="*/ 92874 h 97125"/>
                <a:gd name="connsiteX6" fmla="*/ 80586 w 155130"/>
                <a:gd name="connsiteY6" fmla="*/ 95577 h 97125"/>
                <a:gd name="connsiteX7" fmla="*/ 78695 w 155130"/>
                <a:gd name="connsiteY7" fmla="*/ 96364 h 97125"/>
                <a:gd name="connsiteX8" fmla="*/ 76607 w 155130"/>
                <a:gd name="connsiteY8" fmla="*/ 96097 h 97125"/>
                <a:gd name="connsiteX9" fmla="*/ 73765 w 155130"/>
                <a:gd name="connsiteY9" fmla="*/ 97125 h 97125"/>
                <a:gd name="connsiteX10" fmla="*/ 64436 w 155130"/>
                <a:gd name="connsiteY10" fmla="*/ 92708 h 97125"/>
                <a:gd name="connsiteX11" fmla="*/ 64572 w 155130"/>
                <a:gd name="connsiteY11" fmla="*/ 89020 h 97125"/>
                <a:gd name="connsiteX12" fmla="*/ 64946 w 155130"/>
                <a:gd name="connsiteY12" fmla="*/ 87570 h 97125"/>
                <a:gd name="connsiteX13" fmla="*/ 45958 w 155130"/>
                <a:gd name="connsiteY13" fmla="*/ 86889 h 97125"/>
                <a:gd name="connsiteX14" fmla="*/ 47410 w 155130"/>
                <a:gd name="connsiteY14" fmla="*/ 87316 h 97125"/>
                <a:gd name="connsiteX15" fmla="*/ 49211 w 155130"/>
                <a:gd name="connsiteY15" fmla="*/ 88633 h 97125"/>
                <a:gd name="connsiteX16" fmla="*/ 50685 w 155130"/>
                <a:gd name="connsiteY16" fmla="*/ 88913 h 97125"/>
                <a:gd name="connsiteX17" fmla="*/ 52702 w 155130"/>
                <a:gd name="connsiteY17" fmla="*/ 90027 h 97125"/>
                <a:gd name="connsiteX18" fmla="*/ 52249 w 155130"/>
                <a:gd name="connsiteY18" fmla="*/ 90425 h 97125"/>
                <a:gd name="connsiteX19" fmla="*/ 50765 w 155130"/>
                <a:gd name="connsiteY19" fmla="*/ 90744 h 97125"/>
                <a:gd name="connsiteX20" fmla="*/ 49068 w 155130"/>
                <a:gd name="connsiteY20" fmla="*/ 90076 h 97125"/>
                <a:gd name="connsiteX21" fmla="*/ 46306 w 155130"/>
                <a:gd name="connsiteY21" fmla="*/ 87558 h 97125"/>
                <a:gd name="connsiteX22" fmla="*/ 91822 w 155130"/>
                <a:gd name="connsiteY22" fmla="*/ 83772 h 97125"/>
                <a:gd name="connsiteX23" fmla="*/ 92618 w 155130"/>
                <a:gd name="connsiteY23" fmla="*/ 84486 h 97125"/>
                <a:gd name="connsiteX24" fmla="*/ 94987 w 155130"/>
                <a:gd name="connsiteY24" fmla="*/ 84785 h 97125"/>
                <a:gd name="connsiteX25" fmla="*/ 96145 w 155130"/>
                <a:gd name="connsiteY25" fmla="*/ 85207 h 97125"/>
                <a:gd name="connsiteX26" fmla="*/ 97112 w 155130"/>
                <a:gd name="connsiteY26" fmla="*/ 85827 h 97125"/>
                <a:gd name="connsiteX27" fmla="*/ 97907 w 155130"/>
                <a:gd name="connsiteY27" fmla="*/ 86796 h 97125"/>
                <a:gd name="connsiteX28" fmla="*/ 97062 w 155130"/>
                <a:gd name="connsiteY28" fmla="*/ 87254 h 97125"/>
                <a:gd name="connsiteX29" fmla="*/ 93668 w 155130"/>
                <a:gd name="connsiteY29" fmla="*/ 86918 h 97125"/>
                <a:gd name="connsiteX30" fmla="*/ 89841 w 155130"/>
                <a:gd name="connsiteY30" fmla="*/ 89047 h 97125"/>
                <a:gd name="connsiteX31" fmla="*/ 88390 w 155130"/>
                <a:gd name="connsiteY31" fmla="*/ 88374 h 97125"/>
                <a:gd name="connsiteX32" fmla="*/ 88939 w 155130"/>
                <a:gd name="connsiteY32" fmla="*/ 87014 h 97125"/>
                <a:gd name="connsiteX33" fmla="*/ 89338 w 155130"/>
                <a:gd name="connsiteY33" fmla="*/ 86518 h 97125"/>
                <a:gd name="connsiteX34" fmla="*/ 90625 w 155130"/>
                <a:gd name="connsiteY34" fmla="*/ 85941 h 97125"/>
                <a:gd name="connsiteX35" fmla="*/ 91485 w 155130"/>
                <a:gd name="connsiteY35" fmla="*/ 85096 h 97125"/>
                <a:gd name="connsiteX36" fmla="*/ 36701 w 155130"/>
                <a:gd name="connsiteY36" fmla="*/ 83621 h 97125"/>
                <a:gd name="connsiteX37" fmla="*/ 37787 w 155130"/>
                <a:gd name="connsiteY37" fmla="*/ 83953 h 97125"/>
                <a:gd name="connsiteX38" fmla="*/ 41512 w 155130"/>
                <a:gd name="connsiteY38" fmla="*/ 86160 h 97125"/>
                <a:gd name="connsiteX39" fmla="*/ 42814 w 155130"/>
                <a:gd name="connsiteY39" fmla="*/ 88573 h 97125"/>
                <a:gd name="connsiteX40" fmla="*/ 42892 w 155130"/>
                <a:gd name="connsiteY40" fmla="*/ 89234 h 97125"/>
                <a:gd name="connsiteX41" fmla="*/ 40590 w 155130"/>
                <a:gd name="connsiteY41" fmla="*/ 89661 h 97125"/>
                <a:gd name="connsiteX42" fmla="*/ 39413 w 155130"/>
                <a:gd name="connsiteY42" fmla="*/ 88919 h 97125"/>
                <a:gd name="connsiteX43" fmla="*/ 37254 w 155130"/>
                <a:gd name="connsiteY43" fmla="*/ 88632 h 97125"/>
                <a:gd name="connsiteX44" fmla="*/ 36479 w 155130"/>
                <a:gd name="connsiteY44" fmla="*/ 83902 h 97125"/>
                <a:gd name="connsiteX45" fmla="*/ 61992 w 155130"/>
                <a:gd name="connsiteY45" fmla="*/ 80886 h 97125"/>
                <a:gd name="connsiteX46" fmla="*/ 62568 w 155130"/>
                <a:gd name="connsiteY46" fmla="*/ 80938 h 97125"/>
                <a:gd name="connsiteX47" fmla="*/ 61899 w 155130"/>
                <a:gd name="connsiteY47" fmla="*/ 83834 h 97125"/>
                <a:gd name="connsiteX48" fmla="*/ 58459 w 155130"/>
                <a:gd name="connsiteY48" fmla="*/ 91894 h 97125"/>
                <a:gd name="connsiteX49" fmla="*/ 57770 w 155130"/>
                <a:gd name="connsiteY49" fmla="*/ 93394 h 97125"/>
                <a:gd name="connsiteX50" fmla="*/ 56790 w 155130"/>
                <a:gd name="connsiteY50" fmla="*/ 93567 h 97125"/>
                <a:gd name="connsiteX51" fmla="*/ 55457 w 155130"/>
                <a:gd name="connsiteY51" fmla="*/ 91084 h 97125"/>
                <a:gd name="connsiteX52" fmla="*/ 55285 w 155130"/>
                <a:gd name="connsiteY52" fmla="*/ 90307 h 97125"/>
                <a:gd name="connsiteX53" fmla="*/ 56850 w 155130"/>
                <a:gd name="connsiteY53" fmla="*/ 88716 h 97125"/>
                <a:gd name="connsiteX54" fmla="*/ 57863 w 155130"/>
                <a:gd name="connsiteY54" fmla="*/ 86912 h 97125"/>
                <a:gd name="connsiteX55" fmla="*/ 60482 w 155130"/>
                <a:gd name="connsiteY55" fmla="*/ 84139 h 97125"/>
                <a:gd name="connsiteX56" fmla="*/ 146910 w 155130"/>
                <a:gd name="connsiteY56" fmla="*/ 76604 h 97125"/>
                <a:gd name="connsiteX57" fmla="*/ 155031 w 155130"/>
                <a:gd name="connsiteY57" fmla="*/ 81297 h 97125"/>
                <a:gd name="connsiteX58" fmla="*/ 155130 w 155130"/>
                <a:gd name="connsiteY58" fmla="*/ 83063 h 97125"/>
                <a:gd name="connsiteX59" fmla="*/ 154038 w 155130"/>
                <a:gd name="connsiteY59" fmla="*/ 85072 h 97125"/>
                <a:gd name="connsiteX60" fmla="*/ 153222 w 155130"/>
                <a:gd name="connsiteY60" fmla="*/ 85592 h 97125"/>
                <a:gd name="connsiteX61" fmla="*/ 149568 w 155130"/>
                <a:gd name="connsiteY61" fmla="*/ 84731 h 97125"/>
                <a:gd name="connsiteX62" fmla="*/ 145115 w 155130"/>
                <a:gd name="connsiteY62" fmla="*/ 82599 h 97125"/>
                <a:gd name="connsiteX63" fmla="*/ 145767 w 155130"/>
                <a:gd name="connsiteY63" fmla="*/ 78415 h 97125"/>
                <a:gd name="connsiteX64" fmla="*/ 55309 w 155130"/>
                <a:gd name="connsiteY64" fmla="*/ 66827 h 97125"/>
                <a:gd name="connsiteX65" fmla="*/ 55803 w 155130"/>
                <a:gd name="connsiteY65" fmla="*/ 66921 h 97125"/>
                <a:gd name="connsiteX66" fmla="*/ 56725 w 155130"/>
                <a:gd name="connsiteY66" fmla="*/ 68538 h 97125"/>
                <a:gd name="connsiteX67" fmla="*/ 57859 w 155130"/>
                <a:gd name="connsiteY67" fmla="*/ 71982 h 97125"/>
                <a:gd name="connsiteX68" fmla="*/ 59653 w 155130"/>
                <a:gd name="connsiteY68" fmla="*/ 75828 h 97125"/>
                <a:gd name="connsiteX69" fmla="*/ 58904 w 155130"/>
                <a:gd name="connsiteY69" fmla="*/ 77436 h 97125"/>
                <a:gd name="connsiteX70" fmla="*/ 59413 w 155130"/>
                <a:gd name="connsiteY70" fmla="*/ 79495 h 97125"/>
                <a:gd name="connsiteX71" fmla="*/ 58902 w 155130"/>
                <a:gd name="connsiteY71" fmla="*/ 81640 h 97125"/>
                <a:gd name="connsiteX72" fmla="*/ 55332 w 155130"/>
                <a:gd name="connsiteY72" fmla="*/ 84132 h 97125"/>
                <a:gd name="connsiteX73" fmla="*/ 51329 w 155130"/>
                <a:gd name="connsiteY73" fmla="*/ 84244 h 97125"/>
                <a:gd name="connsiteX74" fmla="*/ 47168 w 155130"/>
                <a:gd name="connsiteY74" fmla="*/ 83041 h 97125"/>
                <a:gd name="connsiteX75" fmla="*/ 41290 w 155130"/>
                <a:gd name="connsiteY75" fmla="*/ 80722 h 97125"/>
                <a:gd name="connsiteX76" fmla="*/ 40817 w 155130"/>
                <a:gd name="connsiteY76" fmla="*/ 79419 h 97125"/>
                <a:gd name="connsiteX77" fmla="*/ 39992 w 155130"/>
                <a:gd name="connsiteY77" fmla="*/ 78697 h 97125"/>
                <a:gd name="connsiteX78" fmla="*/ 38420 w 155130"/>
                <a:gd name="connsiteY78" fmla="*/ 74737 h 97125"/>
                <a:gd name="connsiteX79" fmla="*/ 38457 w 155130"/>
                <a:gd name="connsiteY79" fmla="*/ 69843 h 97125"/>
                <a:gd name="connsiteX80" fmla="*/ 41411 w 155130"/>
                <a:gd name="connsiteY80" fmla="*/ 69229 h 97125"/>
                <a:gd name="connsiteX81" fmla="*/ 47865 w 155130"/>
                <a:gd name="connsiteY81" fmla="*/ 66889 h 97125"/>
                <a:gd name="connsiteX82" fmla="*/ 49357 w 155130"/>
                <a:gd name="connsiteY82" fmla="*/ 67257 h 97125"/>
                <a:gd name="connsiteX83" fmla="*/ 50914 w 155130"/>
                <a:gd name="connsiteY83" fmla="*/ 68454 h 97125"/>
                <a:gd name="connsiteX84" fmla="*/ 52706 w 155130"/>
                <a:gd name="connsiteY84" fmla="*/ 68525 h 97125"/>
                <a:gd name="connsiteX85" fmla="*/ 99012 w 155130"/>
                <a:gd name="connsiteY85" fmla="*/ 64738 h 97125"/>
                <a:gd name="connsiteX86" fmla="*/ 99472 w 155130"/>
                <a:gd name="connsiteY86" fmla="*/ 64765 h 97125"/>
                <a:gd name="connsiteX87" fmla="*/ 100101 w 155130"/>
                <a:gd name="connsiteY87" fmla="*/ 65775 h 97125"/>
                <a:gd name="connsiteX88" fmla="*/ 100483 w 155130"/>
                <a:gd name="connsiteY88" fmla="*/ 67333 h 97125"/>
                <a:gd name="connsiteX89" fmla="*/ 98401 w 155130"/>
                <a:gd name="connsiteY89" fmla="*/ 68650 h 97125"/>
                <a:gd name="connsiteX90" fmla="*/ 97943 w 155130"/>
                <a:gd name="connsiteY90" fmla="*/ 68581 h 97125"/>
                <a:gd name="connsiteX91" fmla="*/ 97267 w 155130"/>
                <a:gd name="connsiteY91" fmla="*/ 66773 h 97125"/>
                <a:gd name="connsiteX92" fmla="*/ 98365 w 155130"/>
                <a:gd name="connsiteY92" fmla="*/ 65672 h 97125"/>
                <a:gd name="connsiteX93" fmla="*/ 53637 w 155130"/>
                <a:gd name="connsiteY93" fmla="*/ 55046 h 97125"/>
                <a:gd name="connsiteX94" fmla="*/ 55609 w 155130"/>
                <a:gd name="connsiteY94" fmla="*/ 57468 h 97125"/>
                <a:gd name="connsiteX95" fmla="*/ 56170 w 155130"/>
                <a:gd name="connsiteY95" fmla="*/ 58606 h 97125"/>
                <a:gd name="connsiteX96" fmla="*/ 55410 w 155130"/>
                <a:gd name="connsiteY96" fmla="*/ 59965 h 97125"/>
                <a:gd name="connsiteX97" fmla="*/ 54967 w 155130"/>
                <a:gd name="connsiteY97" fmla="*/ 61545 h 97125"/>
                <a:gd name="connsiteX98" fmla="*/ 54592 w 155130"/>
                <a:gd name="connsiteY98" fmla="*/ 62103 h 97125"/>
                <a:gd name="connsiteX99" fmla="*/ 53190 w 155130"/>
                <a:gd name="connsiteY99" fmla="*/ 61522 h 97125"/>
                <a:gd name="connsiteX100" fmla="*/ 53043 w 155130"/>
                <a:gd name="connsiteY100" fmla="*/ 59511 h 97125"/>
                <a:gd name="connsiteX101" fmla="*/ 53575 w 155130"/>
                <a:gd name="connsiteY101" fmla="*/ 57704 h 97125"/>
                <a:gd name="connsiteX102" fmla="*/ 52950 w 155130"/>
                <a:gd name="connsiteY102" fmla="*/ 56086 h 97125"/>
                <a:gd name="connsiteX103" fmla="*/ 92910 w 155130"/>
                <a:gd name="connsiteY103" fmla="*/ 50986 h 97125"/>
                <a:gd name="connsiteX104" fmla="*/ 95231 w 155130"/>
                <a:gd name="connsiteY104" fmla="*/ 51493 h 97125"/>
                <a:gd name="connsiteX105" fmla="*/ 97389 w 155130"/>
                <a:gd name="connsiteY105" fmla="*/ 52194 h 97125"/>
                <a:gd name="connsiteX106" fmla="*/ 98559 w 155130"/>
                <a:gd name="connsiteY106" fmla="*/ 52797 h 97125"/>
                <a:gd name="connsiteX107" fmla="*/ 99215 w 155130"/>
                <a:gd name="connsiteY107" fmla="*/ 53766 h 97125"/>
                <a:gd name="connsiteX108" fmla="*/ 97768 w 155130"/>
                <a:gd name="connsiteY108" fmla="*/ 56072 h 97125"/>
                <a:gd name="connsiteX109" fmla="*/ 97367 w 155130"/>
                <a:gd name="connsiteY109" fmla="*/ 57334 h 97125"/>
                <a:gd name="connsiteX110" fmla="*/ 98339 w 155130"/>
                <a:gd name="connsiteY110" fmla="*/ 61483 h 97125"/>
                <a:gd name="connsiteX111" fmla="*/ 98392 w 155130"/>
                <a:gd name="connsiteY111" fmla="*/ 64591 h 97125"/>
                <a:gd name="connsiteX112" fmla="*/ 97818 w 155130"/>
                <a:gd name="connsiteY112" fmla="*/ 65495 h 97125"/>
                <a:gd name="connsiteX113" fmla="*/ 96974 w 155130"/>
                <a:gd name="connsiteY113" fmla="*/ 66090 h 97125"/>
                <a:gd name="connsiteX114" fmla="*/ 94765 w 155130"/>
                <a:gd name="connsiteY114" fmla="*/ 66721 h 97125"/>
                <a:gd name="connsiteX115" fmla="*/ 92852 w 155130"/>
                <a:gd name="connsiteY115" fmla="*/ 67602 h 97125"/>
                <a:gd name="connsiteX116" fmla="*/ 91146 w 155130"/>
                <a:gd name="connsiteY116" fmla="*/ 69149 h 97125"/>
                <a:gd name="connsiteX117" fmla="*/ 90517 w 155130"/>
                <a:gd name="connsiteY117" fmla="*/ 71359 h 97125"/>
                <a:gd name="connsiteX118" fmla="*/ 91852 w 155130"/>
                <a:gd name="connsiteY118" fmla="*/ 72974 h 97125"/>
                <a:gd name="connsiteX119" fmla="*/ 94279 w 155130"/>
                <a:gd name="connsiteY119" fmla="*/ 73859 h 97125"/>
                <a:gd name="connsiteX120" fmla="*/ 94897 w 155130"/>
                <a:gd name="connsiteY120" fmla="*/ 76930 h 97125"/>
                <a:gd name="connsiteX121" fmla="*/ 92893 w 155130"/>
                <a:gd name="connsiteY121" fmla="*/ 78444 h 97125"/>
                <a:gd name="connsiteX122" fmla="*/ 87751 w 155130"/>
                <a:gd name="connsiteY122" fmla="*/ 79954 h 97125"/>
                <a:gd name="connsiteX123" fmla="*/ 87211 w 155130"/>
                <a:gd name="connsiteY123" fmla="*/ 83594 h 97125"/>
                <a:gd name="connsiteX124" fmla="*/ 87378 w 155130"/>
                <a:gd name="connsiteY124" fmla="*/ 86459 h 97125"/>
                <a:gd name="connsiteX125" fmla="*/ 87285 w 155130"/>
                <a:gd name="connsiteY125" fmla="*/ 88539 h 97125"/>
                <a:gd name="connsiteX126" fmla="*/ 86877 w 155130"/>
                <a:gd name="connsiteY126" fmla="*/ 91414 h 97125"/>
                <a:gd name="connsiteX127" fmla="*/ 82717 w 155130"/>
                <a:gd name="connsiteY127" fmla="*/ 92723 h 97125"/>
                <a:gd name="connsiteX128" fmla="*/ 80034 w 155130"/>
                <a:gd name="connsiteY128" fmla="*/ 88345 h 97125"/>
                <a:gd name="connsiteX129" fmla="*/ 80010 w 155130"/>
                <a:gd name="connsiteY129" fmla="*/ 86590 h 97125"/>
                <a:gd name="connsiteX130" fmla="*/ 79209 w 155130"/>
                <a:gd name="connsiteY130" fmla="*/ 84540 h 97125"/>
                <a:gd name="connsiteX131" fmla="*/ 79058 w 155130"/>
                <a:gd name="connsiteY131" fmla="*/ 82791 h 97125"/>
                <a:gd name="connsiteX132" fmla="*/ 78107 w 155130"/>
                <a:gd name="connsiteY132" fmla="*/ 79991 h 97125"/>
                <a:gd name="connsiteX133" fmla="*/ 74173 w 155130"/>
                <a:gd name="connsiteY133" fmla="*/ 79233 h 97125"/>
                <a:gd name="connsiteX134" fmla="*/ 72646 w 155130"/>
                <a:gd name="connsiteY134" fmla="*/ 79133 h 97125"/>
                <a:gd name="connsiteX135" fmla="*/ 70510 w 155130"/>
                <a:gd name="connsiteY135" fmla="*/ 79654 h 97125"/>
                <a:gd name="connsiteX136" fmla="*/ 69981 w 155130"/>
                <a:gd name="connsiteY136" fmla="*/ 79451 h 97125"/>
                <a:gd name="connsiteX137" fmla="*/ 67425 w 155130"/>
                <a:gd name="connsiteY137" fmla="*/ 75620 h 97125"/>
                <a:gd name="connsiteX138" fmla="*/ 67846 w 155130"/>
                <a:gd name="connsiteY138" fmla="*/ 71386 h 97125"/>
                <a:gd name="connsiteX139" fmla="*/ 66481 w 155130"/>
                <a:gd name="connsiteY139" fmla="*/ 69246 h 97125"/>
                <a:gd name="connsiteX140" fmla="*/ 66293 w 155130"/>
                <a:gd name="connsiteY140" fmla="*/ 68277 h 97125"/>
                <a:gd name="connsiteX141" fmla="*/ 66326 w 155130"/>
                <a:gd name="connsiteY141" fmla="*/ 67203 h 97125"/>
                <a:gd name="connsiteX142" fmla="*/ 65205 w 155130"/>
                <a:gd name="connsiteY142" fmla="*/ 66317 h 97125"/>
                <a:gd name="connsiteX143" fmla="*/ 63845 w 155130"/>
                <a:gd name="connsiteY143" fmla="*/ 65848 h 97125"/>
                <a:gd name="connsiteX144" fmla="*/ 63184 w 155130"/>
                <a:gd name="connsiteY144" fmla="*/ 63455 h 97125"/>
                <a:gd name="connsiteX145" fmla="*/ 64747 w 155130"/>
                <a:gd name="connsiteY145" fmla="*/ 62875 h 97125"/>
                <a:gd name="connsiteX146" fmla="*/ 68612 w 155130"/>
                <a:gd name="connsiteY146" fmla="*/ 63155 h 97125"/>
                <a:gd name="connsiteX147" fmla="*/ 69742 w 155130"/>
                <a:gd name="connsiteY147" fmla="*/ 62992 h 97125"/>
                <a:gd name="connsiteX148" fmla="*/ 70776 w 155130"/>
                <a:gd name="connsiteY148" fmla="*/ 62493 h 97125"/>
                <a:gd name="connsiteX149" fmla="*/ 73903 w 155130"/>
                <a:gd name="connsiteY149" fmla="*/ 58553 h 97125"/>
                <a:gd name="connsiteX150" fmla="*/ 73812 w 155130"/>
                <a:gd name="connsiteY150" fmla="*/ 57684 h 97125"/>
                <a:gd name="connsiteX151" fmla="*/ 74147 w 155130"/>
                <a:gd name="connsiteY151" fmla="*/ 56556 h 97125"/>
                <a:gd name="connsiteX152" fmla="*/ 77531 w 155130"/>
                <a:gd name="connsiteY152" fmla="*/ 56138 h 97125"/>
                <a:gd name="connsiteX153" fmla="*/ 79038 w 155130"/>
                <a:gd name="connsiteY153" fmla="*/ 57662 h 97125"/>
                <a:gd name="connsiteX154" fmla="*/ 78736 w 155130"/>
                <a:gd name="connsiteY154" fmla="*/ 60102 h 97125"/>
                <a:gd name="connsiteX155" fmla="*/ 78928 w 155130"/>
                <a:gd name="connsiteY155" fmla="*/ 63224 h 97125"/>
                <a:gd name="connsiteX156" fmla="*/ 80977 w 155130"/>
                <a:gd name="connsiteY156" fmla="*/ 64072 h 97125"/>
                <a:gd name="connsiteX157" fmla="*/ 81776 w 155130"/>
                <a:gd name="connsiteY157" fmla="*/ 64197 h 97125"/>
                <a:gd name="connsiteX158" fmla="*/ 82629 w 155130"/>
                <a:gd name="connsiteY158" fmla="*/ 61892 h 97125"/>
                <a:gd name="connsiteX159" fmla="*/ 83227 w 155130"/>
                <a:gd name="connsiteY159" fmla="*/ 60771 h 97125"/>
                <a:gd name="connsiteX160" fmla="*/ 84039 w 155130"/>
                <a:gd name="connsiteY160" fmla="*/ 60146 h 97125"/>
                <a:gd name="connsiteX161" fmla="*/ 84315 w 155130"/>
                <a:gd name="connsiteY161" fmla="*/ 58036 h 97125"/>
                <a:gd name="connsiteX162" fmla="*/ 83834 w 155130"/>
                <a:gd name="connsiteY162" fmla="*/ 56747 h 97125"/>
                <a:gd name="connsiteX163" fmla="*/ 82808 w 155130"/>
                <a:gd name="connsiteY163" fmla="*/ 55786 h 97125"/>
                <a:gd name="connsiteX164" fmla="*/ 86639 w 155130"/>
                <a:gd name="connsiteY164" fmla="*/ 53169 h 97125"/>
                <a:gd name="connsiteX165" fmla="*/ 90604 w 155130"/>
                <a:gd name="connsiteY165" fmla="*/ 51094 h 97125"/>
                <a:gd name="connsiteX166" fmla="*/ 65546 w 155130"/>
                <a:gd name="connsiteY166" fmla="*/ 12961 h 97125"/>
                <a:gd name="connsiteX167" fmla="*/ 67509 w 155130"/>
                <a:gd name="connsiteY167" fmla="*/ 13184 h 97125"/>
                <a:gd name="connsiteX168" fmla="*/ 65350 w 155130"/>
                <a:gd name="connsiteY168" fmla="*/ 14644 h 97125"/>
                <a:gd name="connsiteX169" fmla="*/ 64803 w 155130"/>
                <a:gd name="connsiteY169" fmla="*/ 15417 h 97125"/>
                <a:gd name="connsiteX170" fmla="*/ 63903 w 155130"/>
                <a:gd name="connsiteY170" fmla="*/ 16160 h 97125"/>
                <a:gd name="connsiteX171" fmla="*/ 60860 w 155130"/>
                <a:gd name="connsiteY171" fmla="*/ 15109 h 97125"/>
                <a:gd name="connsiteX172" fmla="*/ 62204 w 155130"/>
                <a:gd name="connsiteY172" fmla="*/ 13639 h 97125"/>
                <a:gd name="connsiteX173" fmla="*/ 55026 w 155130"/>
                <a:gd name="connsiteY173" fmla="*/ 0 h 97125"/>
                <a:gd name="connsiteX174" fmla="*/ 52173 w 155130"/>
                <a:gd name="connsiteY174" fmla="*/ 2816 h 97125"/>
                <a:gd name="connsiteX175" fmla="*/ 51715 w 155130"/>
                <a:gd name="connsiteY175" fmla="*/ 3905 h 97125"/>
                <a:gd name="connsiteX176" fmla="*/ 51370 w 155130"/>
                <a:gd name="connsiteY176" fmla="*/ 5573 h 97125"/>
                <a:gd name="connsiteX177" fmla="*/ 53415 w 155130"/>
                <a:gd name="connsiteY177" fmla="*/ 9192 h 97125"/>
                <a:gd name="connsiteX178" fmla="*/ 52983 w 155130"/>
                <a:gd name="connsiteY178" fmla="*/ 11391 h 97125"/>
                <a:gd name="connsiteX179" fmla="*/ 53127 w 155130"/>
                <a:gd name="connsiteY179" fmla="*/ 15713 h 97125"/>
                <a:gd name="connsiteX180" fmla="*/ 51199 w 155130"/>
                <a:gd name="connsiteY180" fmla="*/ 17962 h 97125"/>
                <a:gd name="connsiteX181" fmla="*/ 49023 w 155130"/>
                <a:gd name="connsiteY181" fmla="*/ 22738 h 97125"/>
                <a:gd name="connsiteX182" fmla="*/ 48085 w 155130"/>
                <a:gd name="connsiteY182" fmla="*/ 23440 h 97125"/>
                <a:gd name="connsiteX183" fmla="*/ 47885 w 155130"/>
                <a:gd name="connsiteY183" fmla="*/ 29001 h 97125"/>
                <a:gd name="connsiteX184" fmla="*/ 48098 w 155130"/>
                <a:gd name="connsiteY184" fmla="*/ 30326 h 97125"/>
                <a:gd name="connsiteX185" fmla="*/ 47789 w 155130"/>
                <a:gd name="connsiteY185" fmla="*/ 35374 h 97125"/>
                <a:gd name="connsiteX186" fmla="*/ 50020 w 155130"/>
                <a:gd name="connsiteY186" fmla="*/ 37437 h 97125"/>
                <a:gd name="connsiteX187" fmla="*/ 52378 w 155130"/>
                <a:gd name="connsiteY187" fmla="*/ 38515 h 97125"/>
                <a:gd name="connsiteX188" fmla="*/ 60243 w 155130"/>
                <a:gd name="connsiteY188" fmla="*/ 38477 h 97125"/>
                <a:gd name="connsiteX189" fmla="*/ 61059 w 155130"/>
                <a:gd name="connsiteY189" fmla="*/ 39383 h 97125"/>
                <a:gd name="connsiteX190" fmla="*/ 62018 w 155130"/>
                <a:gd name="connsiteY190" fmla="*/ 40939 h 97125"/>
                <a:gd name="connsiteX191" fmla="*/ 61316 w 155130"/>
                <a:gd name="connsiteY191" fmla="*/ 43578 h 97125"/>
                <a:gd name="connsiteX192" fmla="*/ 60476 w 155130"/>
                <a:gd name="connsiteY192" fmla="*/ 45567 h 97125"/>
                <a:gd name="connsiteX193" fmla="*/ 58198 w 155130"/>
                <a:gd name="connsiteY193" fmla="*/ 47241 h 97125"/>
                <a:gd name="connsiteX194" fmla="*/ 55274 w 155130"/>
                <a:gd name="connsiteY194" fmla="*/ 48488 h 97125"/>
                <a:gd name="connsiteX195" fmla="*/ 53456 w 155130"/>
                <a:gd name="connsiteY195" fmla="*/ 48543 h 97125"/>
                <a:gd name="connsiteX196" fmla="*/ 50979 w 155130"/>
                <a:gd name="connsiteY196" fmla="*/ 46172 h 97125"/>
                <a:gd name="connsiteX197" fmla="*/ 49802 w 155130"/>
                <a:gd name="connsiteY197" fmla="*/ 46941 h 97125"/>
                <a:gd name="connsiteX198" fmla="*/ 48586 w 155130"/>
                <a:gd name="connsiteY198" fmla="*/ 48150 h 97125"/>
                <a:gd name="connsiteX199" fmla="*/ 46550 w 155130"/>
                <a:gd name="connsiteY199" fmla="*/ 54627 h 97125"/>
                <a:gd name="connsiteX200" fmla="*/ 45585 w 155130"/>
                <a:gd name="connsiteY200" fmla="*/ 58992 h 97125"/>
                <a:gd name="connsiteX201" fmla="*/ 45062 w 155130"/>
                <a:gd name="connsiteY201" fmla="*/ 59346 h 97125"/>
                <a:gd name="connsiteX202" fmla="*/ 43911 w 155130"/>
                <a:gd name="connsiteY202" fmla="*/ 58703 h 97125"/>
                <a:gd name="connsiteX203" fmla="*/ 41923 w 155130"/>
                <a:gd name="connsiteY203" fmla="*/ 58653 h 97125"/>
                <a:gd name="connsiteX204" fmla="*/ 39409 w 155130"/>
                <a:gd name="connsiteY204" fmla="*/ 59687 h 97125"/>
                <a:gd name="connsiteX205" fmla="*/ 40698 w 155130"/>
                <a:gd name="connsiteY205" fmla="*/ 60612 h 97125"/>
                <a:gd name="connsiteX206" fmla="*/ 42061 w 155130"/>
                <a:gd name="connsiteY206" fmla="*/ 62217 h 97125"/>
                <a:gd name="connsiteX207" fmla="*/ 41516 w 155130"/>
                <a:gd name="connsiteY207" fmla="*/ 63021 h 97125"/>
                <a:gd name="connsiteX208" fmla="*/ 39305 w 155130"/>
                <a:gd name="connsiteY208" fmla="*/ 63889 h 97125"/>
                <a:gd name="connsiteX209" fmla="*/ 37345 w 155130"/>
                <a:gd name="connsiteY209" fmla="*/ 65645 h 97125"/>
                <a:gd name="connsiteX210" fmla="*/ 36524 w 155130"/>
                <a:gd name="connsiteY210" fmla="*/ 66973 h 97125"/>
                <a:gd name="connsiteX211" fmla="*/ 34051 w 155130"/>
                <a:gd name="connsiteY211" fmla="*/ 68543 h 97125"/>
                <a:gd name="connsiteX212" fmla="*/ 32497 w 155130"/>
                <a:gd name="connsiteY212" fmla="*/ 70532 h 97125"/>
                <a:gd name="connsiteX213" fmla="*/ 33259 w 155130"/>
                <a:gd name="connsiteY213" fmla="*/ 72995 h 97125"/>
                <a:gd name="connsiteX214" fmla="*/ 33583 w 155130"/>
                <a:gd name="connsiteY214" fmla="*/ 75156 h 97125"/>
                <a:gd name="connsiteX215" fmla="*/ 34263 w 155130"/>
                <a:gd name="connsiteY215" fmla="*/ 77540 h 97125"/>
                <a:gd name="connsiteX216" fmla="*/ 33650 w 155130"/>
                <a:gd name="connsiteY216" fmla="*/ 79442 h 97125"/>
                <a:gd name="connsiteX217" fmla="*/ 30588 w 155130"/>
                <a:gd name="connsiteY217" fmla="*/ 82168 h 97125"/>
                <a:gd name="connsiteX218" fmla="*/ 29459 w 155130"/>
                <a:gd name="connsiteY218" fmla="*/ 84528 h 97125"/>
                <a:gd name="connsiteX219" fmla="*/ 32082 w 155130"/>
                <a:gd name="connsiteY219" fmla="*/ 84498 h 97125"/>
                <a:gd name="connsiteX220" fmla="*/ 33697 w 155130"/>
                <a:gd name="connsiteY220" fmla="*/ 85043 h 97125"/>
                <a:gd name="connsiteX221" fmla="*/ 34643 w 155130"/>
                <a:gd name="connsiteY221" fmla="*/ 85740 h 97125"/>
                <a:gd name="connsiteX222" fmla="*/ 35619 w 155130"/>
                <a:gd name="connsiteY222" fmla="*/ 86727 h 97125"/>
                <a:gd name="connsiteX223" fmla="*/ 35021 w 155130"/>
                <a:gd name="connsiteY223" fmla="*/ 87946 h 97125"/>
                <a:gd name="connsiteX224" fmla="*/ 35783 w 155130"/>
                <a:gd name="connsiteY224" fmla="*/ 91101 h 97125"/>
                <a:gd name="connsiteX225" fmla="*/ 35457 w 155130"/>
                <a:gd name="connsiteY225" fmla="*/ 91101 h 97125"/>
                <a:gd name="connsiteX226" fmla="*/ 34047 w 155130"/>
                <a:gd name="connsiteY226" fmla="*/ 90830 h 97125"/>
                <a:gd name="connsiteX227" fmla="*/ 33043 w 155130"/>
                <a:gd name="connsiteY227" fmla="*/ 90184 h 97125"/>
                <a:gd name="connsiteX228" fmla="*/ 30454 w 155130"/>
                <a:gd name="connsiteY228" fmla="*/ 90644 h 97125"/>
                <a:gd name="connsiteX229" fmla="*/ 26988 w 155130"/>
                <a:gd name="connsiteY229" fmla="*/ 91691 h 97125"/>
                <a:gd name="connsiteX230" fmla="*/ 25064 w 155130"/>
                <a:gd name="connsiteY230" fmla="*/ 91638 h 97125"/>
                <a:gd name="connsiteX231" fmla="*/ 23535 w 155130"/>
                <a:gd name="connsiteY231" fmla="*/ 90514 h 97125"/>
                <a:gd name="connsiteX232" fmla="*/ 17280 w 155130"/>
                <a:gd name="connsiteY232" fmla="*/ 88911 h 97125"/>
                <a:gd name="connsiteX233" fmla="*/ 16269 w 155130"/>
                <a:gd name="connsiteY233" fmla="*/ 88781 h 97125"/>
                <a:gd name="connsiteX234" fmla="*/ 12145 w 155130"/>
                <a:gd name="connsiteY234" fmla="*/ 88714 h 97125"/>
                <a:gd name="connsiteX235" fmla="*/ 12136 w 155130"/>
                <a:gd name="connsiteY235" fmla="*/ 88711 h 97125"/>
                <a:gd name="connsiteX236" fmla="*/ 11939 w 155130"/>
                <a:gd name="connsiteY236" fmla="*/ 86176 h 97125"/>
                <a:gd name="connsiteX237" fmla="*/ 11428 w 155130"/>
                <a:gd name="connsiteY237" fmla="*/ 84343 h 97125"/>
                <a:gd name="connsiteX238" fmla="*/ 9983 w 155130"/>
                <a:gd name="connsiteY238" fmla="*/ 81613 h 97125"/>
                <a:gd name="connsiteX239" fmla="*/ 12125 w 155130"/>
                <a:gd name="connsiteY239" fmla="*/ 80954 h 97125"/>
                <a:gd name="connsiteX240" fmla="*/ 11711 w 155130"/>
                <a:gd name="connsiteY240" fmla="*/ 75622 h 97125"/>
                <a:gd name="connsiteX241" fmla="*/ 10933 w 155130"/>
                <a:gd name="connsiteY241" fmla="*/ 72852 h 97125"/>
                <a:gd name="connsiteX242" fmla="*/ 4949 w 155130"/>
                <a:gd name="connsiteY242" fmla="*/ 70003 h 97125"/>
                <a:gd name="connsiteX243" fmla="*/ 236 w 155130"/>
                <a:gd name="connsiteY243" fmla="*/ 67231 h 97125"/>
                <a:gd name="connsiteX244" fmla="*/ 1324 w 155130"/>
                <a:gd name="connsiteY244" fmla="*/ 57872 h 97125"/>
                <a:gd name="connsiteX245" fmla="*/ 1788 w 155130"/>
                <a:gd name="connsiteY245" fmla="*/ 55344 h 97125"/>
                <a:gd name="connsiteX246" fmla="*/ 0 w 155130"/>
                <a:gd name="connsiteY246" fmla="*/ 50431 h 97125"/>
                <a:gd name="connsiteX247" fmla="*/ 186 w 155130"/>
                <a:gd name="connsiteY247" fmla="*/ 44763 h 97125"/>
                <a:gd name="connsiteX248" fmla="*/ 939 w 155130"/>
                <a:gd name="connsiteY248" fmla="*/ 35802 h 97125"/>
                <a:gd name="connsiteX249" fmla="*/ 2438 w 155130"/>
                <a:gd name="connsiteY249" fmla="*/ 35451 h 97125"/>
                <a:gd name="connsiteX250" fmla="*/ 3537 w 155130"/>
                <a:gd name="connsiteY250" fmla="*/ 35494 h 97125"/>
                <a:gd name="connsiteX251" fmla="*/ 7776 w 155130"/>
                <a:gd name="connsiteY251" fmla="*/ 37105 h 97125"/>
                <a:gd name="connsiteX252" fmla="*/ 9541 w 155130"/>
                <a:gd name="connsiteY252" fmla="*/ 37266 h 97125"/>
                <a:gd name="connsiteX253" fmla="*/ 10750 w 155130"/>
                <a:gd name="connsiteY253" fmla="*/ 38703 h 97125"/>
                <a:gd name="connsiteX254" fmla="*/ 12166 w 155130"/>
                <a:gd name="connsiteY254" fmla="*/ 39295 h 97125"/>
                <a:gd name="connsiteX255" fmla="*/ 13192 w 155130"/>
                <a:gd name="connsiteY255" fmla="*/ 37768 h 97125"/>
                <a:gd name="connsiteX256" fmla="*/ 13591 w 155130"/>
                <a:gd name="connsiteY256" fmla="*/ 35156 h 97125"/>
                <a:gd name="connsiteX257" fmla="*/ 16951 w 155130"/>
                <a:gd name="connsiteY257" fmla="*/ 31770 h 97125"/>
                <a:gd name="connsiteX258" fmla="*/ 19305 w 155130"/>
                <a:gd name="connsiteY258" fmla="*/ 30519 h 97125"/>
                <a:gd name="connsiteX259" fmla="*/ 20910 w 155130"/>
                <a:gd name="connsiteY259" fmla="*/ 29918 h 97125"/>
                <a:gd name="connsiteX260" fmla="*/ 22529 w 155130"/>
                <a:gd name="connsiteY260" fmla="*/ 31286 h 97125"/>
                <a:gd name="connsiteX261" fmla="*/ 23768 w 155130"/>
                <a:gd name="connsiteY261" fmla="*/ 32821 h 97125"/>
                <a:gd name="connsiteX262" fmla="*/ 24062 w 155130"/>
                <a:gd name="connsiteY262" fmla="*/ 29460 h 97125"/>
                <a:gd name="connsiteX263" fmla="*/ 25062 w 155130"/>
                <a:gd name="connsiteY263" fmla="*/ 23042 h 97125"/>
                <a:gd name="connsiteX264" fmla="*/ 21868 w 155130"/>
                <a:gd name="connsiteY264" fmla="*/ 22033 h 97125"/>
                <a:gd name="connsiteX265" fmla="*/ 19266 w 155130"/>
                <a:gd name="connsiteY265" fmla="*/ 22903 h 97125"/>
                <a:gd name="connsiteX266" fmla="*/ 16686 w 155130"/>
                <a:gd name="connsiteY266" fmla="*/ 26973 h 97125"/>
                <a:gd name="connsiteX267" fmla="*/ 14384 w 155130"/>
                <a:gd name="connsiteY267" fmla="*/ 32078 h 97125"/>
                <a:gd name="connsiteX268" fmla="*/ 10650 w 155130"/>
                <a:gd name="connsiteY268" fmla="*/ 32546 h 97125"/>
                <a:gd name="connsiteX269" fmla="*/ 7670 w 155130"/>
                <a:gd name="connsiteY269" fmla="*/ 33989 h 97125"/>
                <a:gd name="connsiteX270" fmla="*/ 4980 w 155130"/>
                <a:gd name="connsiteY270" fmla="*/ 32493 h 97125"/>
                <a:gd name="connsiteX271" fmla="*/ 3246 w 155130"/>
                <a:gd name="connsiteY271" fmla="*/ 31174 h 97125"/>
                <a:gd name="connsiteX272" fmla="*/ 3203 w 155130"/>
                <a:gd name="connsiteY272" fmla="*/ 29241 h 97125"/>
                <a:gd name="connsiteX273" fmla="*/ 3596 w 155130"/>
                <a:gd name="connsiteY273" fmla="*/ 28074 h 97125"/>
                <a:gd name="connsiteX274" fmla="*/ 6757 w 155130"/>
                <a:gd name="connsiteY274" fmla="*/ 23905 h 97125"/>
                <a:gd name="connsiteX275" fmla="*/ 10992 w 155130"/>
                <a:gd name="connsiteY275" fmla="*/ 19893 h 97125"/>
                <a:gd name="connsiteX276" fmla="*/ 15258 w 155130"/>
                <a:gd name="connsiteY276" fmla="*/ 19932 h 97125"/>
                <a:gd name="connsiteX277" fmla="*/ 18370 w 155130"/>
                <a:gd name="connsiteY277" fmla="*/ 18649 h 97125"/>
                <a:gd name="connsiteX278" fmla="*/ 20229 w 155130"/>
                <a:gd name="connsiteY278" fmla="*/ 18495 h 97125"/>
                <a:gd name="connsiteX279" fmla="*/ 26034 w 155130"/>
                <a:gd name="connsiteY279" fmla="*/ 18777 h 97125"/>
                <a:gd name="connsiteX280" fmla="*/ 29014 w 155130"/>
                <a:gd name="connsiteY280" fmla="*/ 17897 h 97125"/>
                <a:gd name="connsiteX281" fmla="*/ 31683 w 155130"/>
                <a:gd name="connsiteY281" fmla="*/ 16054 h 97125"/>
                <a:gd name="connsiteX282" fmla="*/ 37450 w 155130"/>
                <a:gd name="connsiteY282" fmla="*/ 8241 h 97125"/>
                <a:gd name="connsiteX283" fmla="*/ 40705 w 155130"/>
                <a:gd name="connsiteY283" fmla="*/ 4976 h 97125"/>
                <a:gd name="connsiteX284" fmla="*/ 47267 w 155130"/>
                <a:gd name="connsiteY284" fmla="*/ 3825 h 97125"/>
                <a:gd name="connsiteX285" fmla="*/ 53330 w 155130"/>
                <a:gd name="connsiteY285" fmla="*/ 48 h 97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55130" h="97125">
                  <a:moveTo>
                    <a:pt x="69366" y="87225"/>
                  </a:moveTo>
                  <a:lnTo>
                    <a:pt x="71642" y="89072"/>
                  </a:lnTo>
                  <a:lnTo>
                    <a:pt x="75555" y="90976"/>
                  </a:lnTo>
                  <a:lnTo>
                    <a:pt x="78202" y="90867"/>
                  </a:lnTo>
                  <a:lnTo>
                    <a:pt x="80003" y="91656"/>
                  </a:lnTo>
                  <a:lnTo>
                    <a:pt x="80433" y="92874"/>
                  </a:lnTo>
                  <a:lnTo>
                    <a:pt x="80586" y="95577"/>
                  </a:lnTo>
                  <a:lnTo>
                    <a:pt x="78695" y="96364"/>
                  </a:lnTo>
                  <a:lnTo>
                    <a:pt x="76607" y="96097"/>
                  </a:lnTo>
                  <a:lnTo>
                    <a:pt x="73765" y="97125"/>
                  </a:lnTo>
                  <a:lnTo>
                    <a:pt x="64436" y="92708"/>
                  </a:lnTo>
                  <a:lnTo>
                    <a:pt x="64572" y="89020"/>
                  </a:lnTo>
                  <a:lnTo>
                    <a:pt x="64946" y="87570"/>
                  </a:lnTo>
                  <a:close/>
                  <a:moveTo>
                    <a:pt x="45958" y="86889"/>
                  </a:moveTo>
                  <a:lnTo>
                    <a:pt x="47410" y="87316"/>
                  </a:lnTo>
                  <a:lnTo>
                    <a:pt x="49211" y="88633"/>
                  </a:lnTo>
                  <a:lnTo>
                    <a:pt x="50685" y="88913"/>
                  </a:lnTo>
                  <a:lnTo>
                    <a:pt x="52702" y="90027"/>
                  </a:lnTo>
                  <a:lnTo>
                    <a:pt x="52249" y="90425"/>
                  </a:lnTo>
                  <a:lnTo>
                    <a:pt x="50765" y="90744"/>
                  </a:lnTo>
                  <a:lnTo>
                    <a:pt x="49068" y="90076"/>
                  </a:lnTo>
                  <a:lnTo>
                    <a:pt x="46306" y="87558"/>
                  </a:lnTo>
                  <a:close/>
                  <a:moveTo>
                    <a:pt x="91822" y="83772"/>
                  </a:moveTo>
                  <a:lnTo>
                    <a:pt x="92618" y="84486"/>
                  </a:lnTo>
                  <a:lnTo>
                    <a:pt x="94987" y="84785"/>
                  </a:lnTo>
                  <a:lnTo>
                    <a:pt x="96145" y="85207"/>
                  </a:lnTo>
                  <a:lnTo>
                    <a:pt x="97112" y="85827"/>
                  </a:lnTo>
                  <a:lnTo>
                    <a:pt x="97907" y="86796"/>
                  </a:lnTo>
                  <a:lnTo>
                    <a:pt x="97062" y="87254"/>
                  </a:lnTo>
                  <a:lnTo>
                    <a:pt x="93668" y="86918"/>
                  </a:lnTo>
                  <a:lnTo>
                    <a:pt x="89841" y="89047"/>
                  </a:lnTo>
                  <a:lnTo>
                    <a:pt x="88390" y="88374"/>
                  </a:lnTo>
                  <a:lnTo>
                    <a:pt x="88939" y="87014"/>
                  </a:lnTo>
                  <a:lnTo>
                    <a:pt x="89338" y="86518"/>
                  </a:lnTo>
                  <a:lnTo>
                    <a:pt x="90625" y="85941"/>
                  </a:lnTo>
                  <a:lnTo>
                    <a:pt x="91485" y="85096"/>
                  </a:lnTo>
                  <a:close/>
                  <a:moveTo>
                    <a:pt x="36701" y="83621"/>
                  </a:moveTo>
                  <a:lnTo>
                    <a:pt x="37787" y="83953"/>
                  </a:lnTo>
                  <a:lnTo>
                    <a:pt x="41512" y="86160"/>
                  </a:lnTo>
                  <a:lnTo>
                    <a:pt x="42814" y="88573"/>
                  </a:lnTo>
                  <a:lnTo>
                    <a:pt x="42892" y="89234"/>
                  </a:lnTo>
                  <a:lnTo>
                    <a:pt x="40590" y="89661"/>
                  </a:lnTo>
                  <a:lnTo>
                    <a:pt x="39413" y="88919"/>
                  </a:lnTo>
                  <a:lnTo>
                    <a:pt x="37254" y="88632"/>
                  </a:lnTo>
                  <a:lnTo>
                    <a:pt x="36479" y="83902"/>
                  </a:lnTo>
                  <a:close/>
                  <a:moveTo>
                    <a:pt x="61992" y="80886"/>
                  </a:moveTo>
                  <a:lnTo>
                    <a:pt x="62568" y="80938"/>
                  </a:lnTo>
                  <a:lnTo>
                    <a:pt x="61899" y="83834"/>
                  </a:lnTo>
                  <a:lnTo>
                    <a:pt x="58459" y="91894"/>
                  </a:lnTo>
                  <a:lnTo>
                    <a:pt x="57770" y="93394"/>
                  </a:lnTo>
                  <a:lnTo>
                    <a:pt x="56790" y="93567"/>
                  </a:lnTo>
                  <a:lnTo>
                    <a:pt x="55457" y="91084"/>
                  </a:lnTo>
                  <a:lnTo>
                    <a:pt x="55285" y="90307"/>
                  </a:lnTo>
                  <a:lnTo>
                    <a:pt x="56850" y="88716"/>
                  </a:lnTo>
                  <a:lnTo>
                    <a:pt x="57863" y="86912"/>
                  </a:lnTo>
                  <a:lnTo>
                    <a:pt x="60482" y="84139"/>
                  </a:lnTo>
                  <a:close/>
                  <a:moveTo>
                    <a:pt x="146910" y="76604"/>
                  </a:moveTo>
                  <a:lnTo>
                    <a:pt x="155031" y="81297"/>
                  </a:lnTo>
                  <a:lnTo>
                    <a:pt x="155130" y="83063"/>
                  </a:lnTo>
                  <a:lnTo>
                    <a:pt x="154038" y="85072"/>
                  </a:lnTo>
                  <a:lnTo>
                    <a:pt x="153222" y="85592"/>
                  </a:lnTo>
                  <a:lnTo>
                    <a:pt x="149568" y="84731"/>
                  </a:lnTo>
                  <a:lnTo>
                    <a:pt x="145115" y="82599"/>
                  </a:lnTo>
                  <a:lnTo>
                    <a:pt x="145767" y="78415"/>
                  </a:lnTo>
                  <a:close/>
                  <a:moveTo>
                    <a:pt x="55309" y="66827"/>
                  </a:moveTo>
                  <a:lnTo>
                    <a:pt x="55803" y="66921"/>
                  </a:lnTo>
                  <a:lnTo>
                    <a:pt x="56725" y="68538"/>
                  </a:lnTo>
                  <a:lnTo>
                    <a:pt x="57859" y="71982"/>
                  </a:lnTo>
                  <a:lnTo>
                    <a:pt x="59653" y="75828"/>
                  </a:lnTo>
                  <a:lnTo>
                    <a:pt x="58904" y="77436"/>
                  </a:lnTo>
                  <a:lnTo>
                    <a:pt x="59413" y="79495"/>
                  </a:lnTo>
                  <a:lnTo>
                    <a:pt x="58902" y="81640"/>
                  </a:lnTo>
                  <a:lnTo>
                    <a:pt x="55332" y="84132"/>
                  </a:lnTo>
                  <a:lnTo>
                    <a:pt x="51329" y="84244"/>
                  </a:lnTo>
                  <a:lnTo>
                    <a:pt x="47168" y="83041"/>
                  </a:lnTo>
                  <a:lnTo>
                    <a:pt x="41290" y="80722"/>
                  </a:lnTo>
                  <a:lnTo>
                    <a:pt x="40817" y="79419"/>
                  </a:lnTo>
                  <a:lnTo>
                    <a:pt x="39992" y="78697"/>
                  </a:lnTo>
                  <a:lnTo>
                    <a:pt x="38420" y="74737"/>
                  </a:lnTo>
                  <a:lnTo>
                    <a:pt x="38457" y="69843"/>
                  </a:lnTo>
                  <a:lnTo>
                    <a:pt x="41411" y="69229"/>
                  </a:lnTo>
                  <a:lnTo>
                    <a:pt x="47865" y="66889"/>
                  </a:lnTo>
                  <a:lnTo>
                    <a:pt x="49357" y="67257"/>
                  </a:lnTo>
                  <a:lnTo>
                    <a:pt x="50914" y="68454"/>
                  </a:lnTo>
                  <a:lnTo>
                    <a:pt x="52706" y="68525"/>
                  </a:lnTo>
                  <a:close/>
                  <a:moveTo>
                    <a:pt x="99012" y="64738"/>
                  </a:moveTo>
                  <a:lnTo>
                    <a:pt x="99472" y="64765"/>
                  </a:lnTo>
                  <a:lnTo>
                    <a:pt x="100101" y="65775"/>
                  </a:lnTo>
                  <a:lnTo>
                    <a:pt x="100483" y="67333"/>
                  </a:lnTo>
                  <a:lnTo>
                    <a:pt x="98401" y="68650"/>
                  </a:lnTo>
                  <a:lnTo>
                    <a:pt x="97943" y="68581"/>
                  </a:lnTo>
                  <a:lnTo>
                    <a:pt x="97267" y="66773"/>
                  </a:lnTo>
                  <a:lnTo>
                    <a:pt x="98365" y="65672"/>
                  </a:lnTo>
                  <a:close/>
                  <a:moveTo>
                    <a:pt x="53637" y="55046"/>
                  </a:moveTo>
                  <a:lnTo>
                    <a:pt x="55609" y="57468"/>
                  </a:lnTo>
                  <a:lnTo>
                    <a:pt x="56170" y="58606"/>
                  </a:lnTo>
                  <a:lnTo>
                    <a:pt x="55410" y="59965"/>
                  </a:lnTo>
                  <a:lnTo>
                    <a:pt x="54967" y="61545"/>
                  </a:lnTo>
                  <a:lnTo>
                    <a:pt x="54592" y="62103"/>
                  </a:lnTo>
                  <a:lnTo>
                    <a:pt x="53190" y="61522"/>
                  </a:lnTo>
                  <a:lnTo>
                    <a:pt x="53043" y="59511"/>
                  </a:lnTo>
                  <a:lnTo>
                    <a:pt x="53575" y="57704"/>
                  </a:lnTo>
                  <a:lnTo>
                    <a:pt x="52950" y="56086"/>
                  </a:lnTo>
                  <a:close/>
                  <a:moveTo>
                    <a:pt x="92910" y="50986"/>
                  </a:moveTo>
                  <a:lnTo>
                    <a:pt x="95231" y="51493"/>
                  </a:lnTo>
                  <a:lnTo>
                    <a:pt x="97389" y="52194"/>
                  </a:lnTo>
                  <a:lnTo>
                    <a:pt x="98559" y="52797"/>
                  </a:lnTo>
                  <a:lnTo>
                    <a:pt x="99215" y="53766"/>
                  </a:lnTo>
                  <a:lnTo>
                    <a:pt x="97768" y="56072"/>
                  </a:lnTo>
                  <a:lnTo>
                    <a:pt x="97367" y="57334"/>
                  </a:lnTo>
                  <a:lnTo>
                    <a:pt x="98339" y="61483"/>
                  </a:lnTo>
                  <a:lnTo>
                    <a:pt x="98392" y="64591"/>
                  </a:lnTo>
                  <a:lnTo>
                    <a:pt x="97818" y="65495"/>
                  </a:lnTo>
                  <a:lnTo>
                    <a:pt x="96974" y="66090"/>
                  </a:lnTo>
                  <a:lnTo>
                    <a:pt x="94765" y="66721"/>
                  </a:lnTo>
                  <a:lnTo>
                    <a:pt x="92852" y="67602"/>
                  </a:lnTo>
                  <a:lnTo>
                    <a:pt x="91146" y="69149"/>
                  </a:lnTo>
                  <a:lnTo>
                    <a:pt x="90517" y="71359"/>
                  </a:lnTo>
                  <a:lnTo>
                    <a:pt x="91852" y="72974"/>
                  </a:lnTo>
                  <a:lnTo>
                    <a:pt x="94279" y="73859"/>
                  </a:lnTo>
                  <a:lnTo>
                    <a:pt x="94897" y="76930"/>
                  </a:lnTo>
                  <a:lnTo>
                    <a:pt x="92893" y="78444"/>
                  </a:lnTo>
                  <a:lnTo>
                    <a:pt x="87751" y="79954"/>
                  </a:lnTo>
                  <a:lnTo>
                    <a:pt x="87211" y="83594"/>
                  </a:lnTo>
                  <a:lnTo>
                    <a:pt x="87378" y="86459"/>
                  </a:lnTo>
                  <a:lnTo>
                    <a:pt x="87285" y="88539"/>
                  </a:lnTo>
                  <a:lnTo>
                    <a:pt x="86877" y="91414"/>
                  </a:lnTo>
                  <a:lnTo>
                    <a:pt x="82717" y="92723"/>
                  </a:lnTo>
                  <a:lnTo>
                    <a:pt x="80034" y="88345"/>
                  </a:lnTo>
                  <a:lnTo>
                    <a:pt x="80010" y="86590"/>
                  </a:lnTo>
                  <a:lnTo>
                    <a:pt x="79209" y="84540"/>
                  </a:lnTo>
                  <a:lnTo>
                    <a:pt x="79058" y="82791"/>
                  </a:lnTo>
                  <a:lnTo>
                    <a:pt x="78107" y="79991"/>
                  </a:lnTo>
                  <a:lnTo>
                    <a:pt x="74173" y="79233"/>
                  </a:lnTo>
                  <a:lnTo>
                    <a:pt x="72646" y="79133"/>
                  </a:lnTo>
                  <a:lnTo>
                    <a:pt x="70510" y="79654"/>
                  </a:lnTo>
                  <a:lnTo>
                    <a:pt x="69981" y="79451"/>
                  </a:lnTo>
                  <a:lnTo>
                    <a:pt x="67425" y="75620"/>
                  </a:lnTo>
                  <a:lnTo>
                    <a:pt x="67846" y="71386"/>
                  </a:lnTo>
                  <a:lnTo>
                    <a:pt x="66481" y="69246"/>
                  </a:lnTo>
                  <a:lnTo>
                    <a:pt x="66293" y="68277"/>
                  </a:lnTo>
                  <a:lnTo>
                    <a:pt x="66326" y="67203"/>
                  </a:lnTo>
                  <a:lnTo>
                    <a:pt x="65205" y="66317"/>
                  </a:lnTo>
                  <a:lnTo>
                    <a:pt x="63845" y="65848"/>
                  </a:lnTo>
                  <a:lnTo>
                    <a:pt x="63184" y="63455"/>
                  </a:lnTo>
                  <a:lnTo>
                    <a:pt x="64747" y="62875"/>
                  </a:lnTo>
                  <a:lnTo>
                    <a:pt x="68612" y="63155"/>
                  </a:lnTo>
                  <a:lnTo>
                    <a:pt x="69742" y="62992"/>
                  </a:lnTo>
                  <a:lnTo>
                    <a:pt x="70776" y="62493"/>
                  </a:lnTo>
                  <a:lnTo>
                    <a:pt x="73903" y="58553"/>
                  </a:lnTo>
                  <a:lnTo>
                    <a:pt x="73812" y="57684"/>
                  </a:lnTo>
                  <a:lnTo>
                    <a:pt x="74147" y="56556"/>
                  </a:lnTo>
                  <a:lnTo>
                    <a:pt x="77531" y="56138"/>
                  </a:lnTo>
                  <a:lnTo>
                    <a:pt x="79038" y="57662"/>
                  </a:lnTo>
                  <a:lnTo>
                    <a:pt x="78736" y="60102"/>
                  </a:lnTo>
                  <a:lnTo>
                    <a:pt x="78928" y="63224"/>
                  </a:lnTo>
                  <a:lnTo>
                    <a:pt x="80977" y="64072"/>
                  </a:lnTo>
                  <a:lnTo>
                    <a:pt x="81776" y="64197"/>
                  </a:lnTo>
                  <a:lnTo>
                    <a:pt x="82629" y="61892"/>
                  </a:lnTo>
                  <a:lnTo>
                    <a:pt x="83227" y="60771"/>
                  </a:lnTo>
                  <a:lnTo>
                    <a:pt x="84039" y="60146"/>
                  </a:lnTo>
                  <a:lnTo>
                    <a:pt x="84315" y="58036"/>
                  </a:lnTo>
                  <a:lnTo>
                    <a:pt x="83834" y="56747"/>
                  </a:lnTo>
                  <a:lnTo>
                    <a:pt x="82808" y="55786"/>
                  </a:lnTo>
                  <a:lnTo>
                    <a:pt x="86639" y="53169"/>
                  </a:lnTo>
                  <a:lnTo>
                    <a:pt x="90604" y="51094"/>
                  </a:lnTo>
                  <a:close/>
                  <a:moveTo>
                    <a:pt x="65546" y="12961"/>
                  </a:moveTo>
                  <a:lnTo>
                    <a:pt x="67509" y="13184"/>
                  </a:lnTo>
                  <a:lnTo>
                    <a:pt x="65350" y="14644"/>
                  </a:lnTo>
                  <a:lnTo>
                    <a:pt x="64803" y="15417"/>
                  </a:lnTo>
                  <a:lnTo>
                    <a:pt x="63903" y="16160"/>
                  </a:lnTo>
                  <a:lnTo>
                    <a:pt x="60860" y="15109"/>
                  </a:lnTo>
                  <a:lnTo>
                    <a:pt x="62204" y="13639"/>
                  </a:lnTo>
                  <a:close/>
                  <a:moveTo>
                    <a:pt x="55026" y="0"/>
                  </a:moveTo>
                  <a:lnTo>
                    <a:pt x="52173" y="2816"/>
                  </a:lnTo>
                  <a:lnTo>
                    <a:pt x="51715" y="3905"/>
                  </a:lnTo>
                  <a:lnTo>
                    <a:pt x="51370" y="5573"/>
                  </a:lnTo>
                  <a:lnTo>
                    <a:pt x="53415" y="9192"/>
                  </a:lnTo>
                  <a:lnTo>
                    <a:pt x="52983" y="11391"/>
                  </a:lnTo>
                  <a:lnTo>
                    <a:pt x="53127" y="15713"/>
                  </a:lnTo>
                  <a:lnTo>
                    <a:pt x="51199" y="17962"/>
                  </a:lnTo>
                  <a:lnTo>
                    <a:pt x="49023" y="22738"/>
                  </a:lnTo>
                  <a:lnTo>
                    <a:pt x="48085" y="23440"/>
                  </a:lnTo>
                  <a:lnTo>
                    <a:pt x="47885" y="29001"/>
                  </a:lnTo>
                  <a:lnTo>
                    <a:pt x="48098" y="30326"/>
                  </a:lnTo>
                  <a:lnTo>
                    <a:pt x="47789" y="35374"/>
                  </a:lnTo>
                  <a:lnTo>
                    <a:pt x="50020" y="37437"/>
                  </a:lnTo>
                  <a:lnTo>
                    <a:pt x="52378" y="38515"/>
                  </a:lnTo>
                  <a:lnTo>
                    <a:pt x="60243" y="38477"/>
                  </a:lnTo>
                  <a:lnTo>
                    <a:pt x="61059" y="39383"/>
                  </a:lnTo>
                  <a:lnTo>
                    <a:pt x="62018" y="40939"/>
                  </a:lnTo>
                  <a:lnTo>
                    <a:pt x="61316" y="43578"/>
                  </a:lnTo>
                  <a:lnTo>
                    <a:pt x="60476" y="45567"/>
                  </a:lnTo>
                  <a:lnTo>
                    <a:pt x="58198" y="47241"/>
                  </a:lnTo>
                  <a:lnTo>
                    <a:pt x="55274" y="48488"/>
                  </a:lnTo>
                  <a:lnTo>
                    <a:pt x="53456" y="48543"/>
                  </a:lnTo>
                  <a:lnTo>
                    <a:pt x="50979" y="46172"/>
                  </a:lnTo>
                  <a:lnTo>
                    <a:pt x="49802" y="46941"/>
                  </a:lnTo>
                  <a:lnTo>
                    <a:pt x="48586" y="48150"/>
                  </a:lnTo>
                  <a:lnTo>
                    <a:pt x="46550" y="54627"/>
                  </a:lnTo>
                  <a:lnTo>
                    <a:pt x="45585" y="58992"/>
                  </a:lnTo>
                  <a:lnTo>
                    <a:pt x="45062" y="59346"/>
                  </a:lnTo>
                  <a:lnTo>
                    <a:pt x="43911" y="58703"/>
                  </a:lnTo>
                  <a:lnTo>
                    <a:pt x="41923" y="58653"/>
                  </a:lnTo>
                  <a:lnTo>
                    <a:pt x="39409" y="59687"/>
                  </a:lnTo>
                  <a:lnTo>
                    <a:pt x="40698" y="60612"/>
                  </a:lnTo>
                  <a:lnTo>
                    <a:pt x="42061" y="62217"/>
                  </a:lnTo>
                  <a:lnTo>
                    <a:pt x="41516" y="63021"/>
                  </a:lnTo>
                  <a:lnTo>
                    <a:pt x="39305" y="63889"/>
                  </a:lnTo>
                  <a:lnTo>
                    <a:pt x="37345" y="65645"/>
                  </a:lnTo>
                  <a:lnTo>
                    <a:pt x="36524" y="66973"/>
                  </a:lnTo>
                  <a:lnTo>
                    <a:pt x="34051" y="68543"/>
                  </a:lnTo>
                  <a:lnTo>
                    <a:pt x="32497" y="70532"/>
                  </a:lnTo>
                  <a:lnTo>
                    <a:pt x="33259" y="72995"/>
                  </a:lnTo>
                  <a:lnTo>
                    <a:pt x="33583" y="75156"/>
                  </a:lnTo>
                  <a:lnTo>
                    <a:pt x="34263" y="77540"/>
                  </a:lnTo>
                  <a:lnTo>
                    <a:pt x="33650" y="79442"/>
                  </a:lnTo>
                  <a:lnTo>
                    <a:pt x="30588" y="82168"/>
                  </a:lnTo>
                  <a:lnTo>
                    <a:pt x="29459" y="84528"/>
                  </a:lnTo>
                  <a:lnTo>
                    <a:pt x="32082" y="84498"/>
                  </a:lnTo>
                  <a:lnTo>
                    <a:pt x="33697" y="85043"/>
                  </a:lnTo>
                  <a:lnTo>
                    <a:pt x="34643" y="85740"/>
                  </a:lnTo>
                  <a:lnTo>
                    <a:pt x="35619" y="86727"/>
                  </a:lnTo>
                  <a:lnTo>
                    <a:pt x="35021" y="87946"/>
                  </a:lnTo>
                  <a:lnTo>
                    <a:pt x="35783" y="91101"/>
                  </a:lnTo>
                  <a:lnTo>
                    <a:pt x="35457" y="91101"/>
                  </a:lnTo>
                  <a:lnTo>
                    <a:pt x="34047" y="90830"/>
                  </a:lnTo>
                  <a:lnTo>
                    <a:pt x="33043" y="90184"/>
                  </a:lnTo>
                  <a:lnTo>
                    <a:pt x="30454" y="90644"/>
                  </a:lnTo>
                  <a:lnTo>
                    <a:pt x="26988" y="91691"/>
                  </a:lnTo>
                  <a:lnTo>
                    <a:pt x="25064" y="91638"/>
                  </a:lnTo>
                  <a:lnTo>
                    <a:pt x="23535" y="90514"/>
                  </a:lnTo>
                  <a:lnTo>
                    <a:pt x="17280" y="88911"/>
                  </a:lnTo>
                  <a:lnTo>
                    <a:pt x="16269" y="88781"/>
                  </a:lnTo>
                  <a:lnTo>
                    <a:pt x="12145" y="88714"/>
                  </a:lnTo>
                  <a:lnTo>
                    <a:pt x="12136" y="88711"/>
                  </a:lnTo>
                  <a:lnTo>
                    <a:pt x="11939" y="86176"/>
                  </a:lnTo>
                  <a:lnTo>
                    <a:pt x="11428" y="84343"/>
                  </a:lnTo>
                  <a:lnTo>
                    <a:pt x="9983" y="81613"/>
                  </a:lnTo>
                  <a:lnTo>
                    <a:pt x="12125" y="80954"/>
                  </a:lnTo>
                  <a:lnTo>
                    <a:pt x="11711" y="75622"/>
                  </a:lnTo>
                  <a:lnTo>
                    <a:pt x="10933" y="72852"/>
                  </a:lnTo>
                  <a:lnTo>
                    <a:pt x="4949" y="70003"/>
                  </a:lnTo>
                  <a:lnTo>
                    <a:pt x="236" y="67231"/>
                  </a:lnTo>
                  <a:lnTo>
                    <a:pt x="1324" y="57872"/>
                  </a:lnTo>
                  <a:lnTo>
                    <a:pt x="1788" y="55344"/>
                  </a:lnTo>
                  <a:lnTo>
                    <a:pt x="0" y="50431"/>
                  </a:lnTo>
                  <a:lnTo>
                    <a:pt x="186" y="44763"/>
                  </a:lnTo>
                  <a:lnTo>
                    <a:pt x="939" y="35802"/>
                  </a:lnTo>
                  <a:lnTo>
                    <a:pt x="2438" y="35451"/>
                  </a:lnTo>
                  <a:lnTo>
                    <a:pt x="3537" y="35494"/>
                  </a:lnTo>
                  <a:lnTo>
                    <a:pt x="7776" y="37105"/>
                  </a:lnTo>
                  <a:lnTo>
                    <a:pt x="9541" y="37266"/>
                  </a:lnTo>
                  <a:lnTo>
                    <a:pt x="10750" y="38703"/>
                  </a:lnTo>
                  <a:lnTo>
                    <a:pt x="12166" y="39295"/>
                  </a:lnTo>
                  <a:lnTo>
                    <a:pt x="13192" y="37768"/>
                  </a:lnTo>
                  <a:lnTo>
                    <a:pt x="13591" y="35156"/>
                  </a:lnTo>
                  <a:lnTo>
                    <a:pt x="16951" y="31770"/>
                  </a:lnTo>
                  <a:lnTo>
                    <a:pt x="19305" y="30519"/>
                  </a:lnTo>
                  <a:lnTo>
                    <a:pt x="20910" y="29918"/>
                  </a:lnTo>
                  <a:lnTo>
                    <a:pt x="22529" y="31286"/>
                  </a:lnTo>
                  <a:lnTo>
                    <a:pt x="23768" y="32821"/>
                  </a:lnTo>
                  <a:lnTo>
                    <a:pt x="24062" y="29460"/>
                  </a:lnTo>
                  <a:lnTo>
                    <a:pt x="25062" y="23042"/>
                  </a:lnTo>
                  <a:lnTo>
                    <a:pt x="21868" y="22033"/>
                  </a:lnTo>
                  <a:lnTo>
                    <a:pt x="19266" y="22903"/>
                  </a:lnTo>
                  <a:lnTo>
                    <a:pt x="16686" y="26973"/>
                  </a:lnTo>
                  <a:lnTo>
                    <a:pt x="14384" y="32078"/>
                  </a:lnTo>
                  <a:lnTo>
                    <a:pt x="10650" y="32546"/>
                  </a:lnTo>
                  <a:lnTo>
                    <a:pt x="7670" y="33989"/>
                  </a:lnTo>
                  <a:lnTo>
                    <a:pt x="4980" y="32493"/>
                  </a:lnTo>
                  <a:lnTo>
                    <a:pt x="3246" y="31174"/>
                  </a:lnTo>
                  <a:lnTo>
                    <a:pt x="3203" y="29241"/>
                  </a:lnTo>
                  <a:lnTo>
                    <a:pt x="3596" y="28074"/>
                  </a:lnTo>
                  <a:lnTo>
                    <a:pt x="6757" y="23905"/>
                  </a:lnTo>
                  <a:lnTo>
                    <a:pt x="10992" y="19893"/>
                  </a:lnTo>
                  <a:lnTo>
                    <a:pt x="15258" y="19932"/>
                  </a:lnTo>
                  <a:lnTo>
                    <a:pt x="18370" y="18649"/>
                  </a:lnTo>
                  <a:lnTo>
                    <a:pt x="20229" y="18495"/>
                  </a:lnTo>
                  <a:lnTo>
                    <a:pt x="26034" y="18777"/>
                  </a:lnTo>
                  <a:lnTo>
                    <a:pt x="29014" y="17897"/>
                  </a:lnTo>
                  <a:lnTo>
                    <a:pt x="31683" y="16054"/>
                  </a:lnTo>
                  <a:lnTo>
                    <a:pt x="37450" y="8241"/>
                  </a:lnTo>
                  <a:lnTo>
                    <a:pt x="40705" y="4976"/>
                  </a:lnTo>
                  <a:lnTo>
                    <a:pt x="47267" y="3825"/>
                  </a:lnTo>
                  <a:lnTo>
                    <a:pt x="53330" y="48"/>
                  </a:lnTo>
                  <a:close/>
                </a:path>
              </a:pathLst>
            </a:custGeom>
            <a:solidFill>
              <a:srgbClr val="C7CDD0"/>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AT" sz="1600" err="1">
                <a:solidFill>
                  <a:schemeClr val="tx1"/>
                </a:solidFill>
                <a:latin typeface="Calibri" panose="020F0502020204030204" pitchFamily="34" charset="0"/>
                <a:cs typeface="Calibri" panose="020F0502020204030204" pitchFamily="34" charset="0"/>
              </a:endParaRPr>
            </a:p>
          </p:txBody>
        </p:sp>
        <p:sp>
          <p:nvSpPr>
            <p:cNvPr id="76" name="ee4p_ES_1_86241">
              <a:extLst>
                <a:ext uri="{FF2B5EF4-FFF2-40B4-BE49-F238E27FC236}">
                  <a16:creationId xmlns:a16="http://schemas.microsoft.com/office/drawing/2014/main" id="{FE7576FF-0FA4-40DD-9D04-366AF5A0BFDF}"/>
                </a:ext>
              </a:extLst>
            </p:cNvPr>
            <p:cNvSpPr>
              <a:spLocks noChangeAspect="1"/>
            </p:cNvSpPr>
            <p:nvPr>
              <p:custDataLst>
                <p:tags r:id="rId14"/>
              </p:custDataLst>
            </p:nvPr>
          </p:nvSpPr>
          <p:spPr>
            <a:xfrm>
              <a:off x="6193944" y="3886036"/>
              <a:ext cx="207658" cy="114242"/>
            </a:xfrm>
            <a:custGeom>
              <a:avLst/>
              <a:gdLst>
                <a:gd name="connsiteX0" fmla="*/ 4710 w 68520"/>
                <a:gd name="connsiteY0" fmla="*/ 33907 h 36727"/>
                <a:gd name="connsiteX1" fmla="*/ 6049 w 68520"/>
                <a:gd name="connsiteY1" fmla="*/ 35359 h 36727"/>
                <a:gd name="connsiteX2" fmla="*/ 8167 w 68520"/>
                <a:gd name="connsiteY2" fmla="*/ 35628 h 36727"/>
                <a:gd name="connsiteX3" fmla="*/ 8195 w 68520"/>
                <a:gd name="connsiteY3" fmla="*/ 36386 h 36727"/>
                <a:gd name="connsiteX4" fmla="*/ 7692 w 68520"/>
                <a:gd name="connsiteY4" fmla="*/ 36727 h 36727"/>
                <a:gd name="connsiteX5" fmla="*/ 6228 w 68520"/>
                <a:gd name="connsiteY5" fmla="*/ 36414 h 36727"/>
                <a:gd name="connsiteX6" fmla="*/ 4034 w 68520"/>
                <a:gd name="connsiteY6" fmla="*/ 36414 h 36727"/>
                <a:gd name="connsiteX7" fmla="*/ 3950 w 68520"/>
                <a:gd name="connsiteY7" fmla="*/ 35372 h 36727"/>
                <a:gd name="connsiteX8" fmla="*/ 4287 w 68520"/>
                <a:gd name="connsiteY8" fmla="*/ 34644 h 36727"/>
                <a:gd name="connsiteX9" fmla="*/ 7543 w 68520"/>
                <a:gd name="connsiteY9" fmla="*/ 24790 h 36727"/>
                <a:gd name="connsiteX10" fmla="*/ 8621 w 68520"/>
                <a:gd name="connsiteY10" fmla="*/ 25661 h 36727"/>
                <a:gd name="connsiteX11" fmla="*/ 8852 w 68520"/>
                <a:gd name="connsiteY11" fmla="*/ 26917 h 36727"/>
                <a:gd name="connsiteX12" fmla="*/ 5997 w 68520"/>
                <a:gd name="connsiteY12" fmla="*/ 29665 h 36727"/>
                <a:gd name="connsiteX13" fmla="*/ 4907 w 68520"/>
                <a:gd name="connsiteY13" fmla="*/ 30022 h 36727"/>
                <a:gd name="connsiteX14" fmla="*/ 4106 w 68520"/>
                <a:gd name="connsiteY14" fmla="*/ 31608 h 36727"/>
                <a:gd name="connsiteX15" fmla="*/ 743 w 68520"/>
                <a:gd name="connsiteY15" fmla="*/ 31047 h 36727"/>
                <a:gd name="connsiteX16" fmla="*/ 0 w 68520"/>
                <a:gd name="connsiteY16" fmla="*/ 30405 h 36727"/>
                <a:gd name="connsiteX17" fmla="*/ 728 w 68520"/>
                <a:gd name="connsiteY17" fmla="*/ 28609 h 36727"/>
                <a:gd name="connsiteX18" fmla="*/ 1691 w 68520"/>
                <a:gd name="connsiteY18" fmla="*/ 28393 h 36727"/>
                <a:gd name="connsiteX19" fmla="*/ 1752 w 68520"/>
                <a:gd name="connsiteY19" fmla="*/ 27115 h 36727"/>
                <a:gd name="connsiteX20" fmla="*/ 2771 w 68520"/>
                <a:gd name="connsiteY20" fmla="*/ 25831 h 36727"/>
                <a:gd name="connsiteX21" fmla="*/ 42795 w 68520"/>
                <a:gd name="connsiteY21" fmla="*/ 2728 h 36727"/>
                <a:gd name="connsiteX22" fmla="*/ 43655 w 68520"/>
                <a:gd name="connsiteY22" fmla="*/ 2973 h 36727"/>
                <a:gd name="connsiteX23" fmla="*/ 42923 w 68520"/>
                <a:gd name="connsiteY23" fmla="*/ 3934 h 36727"/>
                <a:gd name="connsiteX24" fmla="*/ 42979 w 68520"/>
                <a:gd name="connsiteY24" fmla="*/ 4364 h 36727"/>
                <a:gd name="connsiteX25" fmla="*/ 43678 w 68520"/>
                <a:gd name="connsiteY25" fmla="*/ 4830 h 36727"/>
                <a:gd name="connsiteX26" fmla="*/ 43508 w 68520"/>
                <a:gd name="connsiteY26" fmla="*/ 5571 h 36727"/>
                <a:gd name="connsiteX27" fmla="*/ 42795 w 68520"/>
                <a:gd name="connsiteY27" fmla="*/ 6217 h 36727"/>
                <a:gd name="connsiteX28" fmla="*/ 42499 w 68520"/>
                <a:gd name="connsiteY28" fmla="*/ 7427 h 36727"/>
                <a:gd name="connsiteX29" fmla="*/ 44618 w 68520"/>
                <a:gd name="connsiteY29" fmla="*/ 8296 h 36727"/>
                <a:gd name="connsiteX30" fmla="*/ 46853 w 68520"/>
                <a:gd name="connsiteY30" fmla="*/ 7515 h 36727"/>
                <a:gd name="connsiteX31" fmla="*/ 48041 w 68520"/>
                <a:gd name="connsiteY31" fmla="*/ 7760 h 36727"/>
                <a:gd name="connsiteX32" fmla="*/ 49213 w 68520"/>
                <a:gd name="connsiteY32" fmla="*/ 8178 h 36727"/>
                <a:gd name="connsiteX33" fmla="*/ 49498 w 68520"/>
                <a:gd name="connsiteY33" fmla="*/ 9829 h 36727"/>
                <a:gd name="connsiteX34" fmla="*/ 48455 w 68520"/>
                <a:gd name="connsiteY34" fmla="*/ 11665 h 36727"/>
                <a:gd name="connsiteX35" fmla="*/ 46998 w 68520"/>
                <a:gd name="connsiteY35" fmla="*/ 13522 h 36727"/>
                <a:gd name="connsiteX36" fmla="*/ 45764 w 68520"/>
                <a:gd name="connsiteY36" fmla="*/ 15563 h 36727"/>
                <a:gd name="connsiteX37" fmla="*/ 44698 w 68520"/>
                <a:gd name="connsiteY37" fmla="*/ 17910 h 36727"/>
                <a:gd name="connsiteX38" fmla="*/ 42704 w 68520"/>
                <a:gd name="connsiteY38" fmla="*/ 19294 h 36727"/>
                <a:gd name="connsiteX39" fmla="*/ 40897 w 68520"/>
                <a:gd name="connsiteY39" fmla="*/ 20123 h 36727"/>
                <a:gd name="connsiteX40" fmla="*/ 37077 w 68520"/>
                <a:gd name="connsiteY40" fmla="*/ 18383 h 36727"/>
                <a:gd name="connsiteX41" fmla="*/ 34860 w 68520"/>
                <a:gd name="connsiteY41" fmla="*/ 17950 h 36727"/>
                <a:gd name="connsiteX42" fmla="*/ 34197 w 68520"/>
                <a:gd name="connsiteY42" fmla="*/ 17297 h 36727"/>
                <a:gd name="connsiteX43" fmla="*/ 33670 w 68520"/>
                <a:gd name="connsiteY43" fmla="*/ 14701 h 36727"/>
                <a:gd name="connsiteX44" fmla="*/ 32666 w 68520"/>
                <a:gd name="connsiteY44" fmla="*/ 13873 h 36727"/>
                <a:gd name="connsiteX45" fmla="*/ 31195 w 68520"/>
                <a:gd name="connsiteY45" fmla="*/ 13508 h 36727"/>
                <a:gd name="connsiteX46" fmla="*/ 29908 w 68520"/>
                <a:gd name="connsiteY46" fmla="*/ 14171 h 36727"/>
                <a:gd name="connsiteX47" fmla="*/ 28219 w 68520"/>
                <a:gd name="connsiteY47" fmla="*/ 15542 h 36727"/>
                <a:gd name="connsiteX48" fmla="*/ 27319 w 68520"/>
                <a:gd name="connsiteY48" fmla="*/ 14176 h 36727"/>
                <a:gd name="connsiteX49" fmla="*/ 25894 w 68520"/>
                <a:gd name="connsiteY49" fmla="*/ 13919 h 36727"/>
                <a:gd name="connsiteX50" fmla="*/ 25356 w 68520"/>
                <a:gd name="connsiteY50" fmla="*/ 13096 h 36727"/>
                <a:gd name="connsiteX51" fmla="*/ 25384 w 68520"/>
                <a:gd name="connsiteY51" fmla="*/ 12030 h 36727"/>
                <a:gd name="connsiteX52" fmla="*/ 34531 w 68520"/>
                <a:gd name="connsiteY52" fmla="*/ 5741 h 36727"/>
                <a:gd name="connsiteX53" fmla="*/ 37181 w 68520"/>
                <a:gd name="connsiteY53" fmla="*/ 4349 h 36727"/>
                <a:gd name="connsiteX54" fmla="*/ 62707 w 68520"/>
                <a:gd name="connsiteY54" fmla="*/ 0 h 36727"/>
                <a:gd name="connsiteX55" fmla="*/ 66391 w 68520"/>
                <a:gd name="connsiteY55" fmla="*/ 1114 h 36727"/>
                <a:gd name="connsiteX56" fmla="*/ 68367 w 68520"/>
                <a:gd name="connsiteY56" fmla="*/ 4116 h 36727"/>
                <a:gd name="connsiteX57" fmla="*/ 68520 w 68520"/>
                <a:gd name="connsiteY57" fmla="*/ 4630 h 36727"/>
                <a:gd name="connsiteX58" fmla="*/ 67892 w 68520"/>
                <a:gd name="connsiteY58" fmla="*/ 6080 h 36727"/>
                <a:gd name="connsiteX59" fmla="*/ 67486 w 68520"/>
                <a:gd name="connsiteY59" fmla="*/ 6381 h 36727"/>
                <a:gd name="connsiteX60" fmla="*/ 60684 w 68520"/>
                <a:gd name="connsiteY60" fmla="*/ 3371 h 36727"/>
                <a:gd name="connsiteX61" fmla="*/ 58462 w 68520"/>
                <a:gd name="connsiteY61" fmla="*/ 3035 h 36727"/>
                <a:gd name="connsiteX62" fmla="*/ 57920 w 68520"/>
                <a:gd name="connsiteY62" fmla="*/ 2575 h 36727"/>
                <a:gd name="connsiteX63" fmla="*/ 57980 w 68520"/>
                <a:gd name="connsiteY63" fmla="*/ 1008 h 36727"/>
                <a:gd name="connsiteX64" fmla="*/ 58157 w 68520"/>
                <a:gd name="connsiteY64" fmla="*/ 315 h 36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68520" h="36727">
                  <a:moveTo>
                    <a:pt x="4710" y="33907"/>
                  </a:moveTo>
                  <a:lnTo>
                    <a:pt x="6049" y="35359"/>
                  </a:lnTo>
                  <a:lnTo>
                    <a:pt x="8167" y="35628"/>
                  </a:lnTo>
                  <a:lnTo>
                    <a:pt x="8195" y="36386"/>
                  </a:lnTo>
                  <a:lnTo>
                    <a:pt x="7692" y="36727"/>
                  </a:lnTo>
                  <a:lnTo>
                    <a:pt x="6228" y="36414"/>
                  </a:lnTo>
                  <a:lnTo>
                    <a:pt x="4034" y="36414"/>
                  </a:lnTo>
                  <a:lnTo>
                    <a:pt x="3950" y="35372"/>
                  </a:lnTo>
                  <a:lnTo>
                    <a:pt x="4287" y="34644"/>
                  </a:lnTo>
                  <a:close/>
                  <a:moveTo>
                    <a:pt x="7543" y="24790"/>
                  </a:moveTo>
                  <a:lnTo>
                    <a:pt x="8621" y="25661"/>
                  </a:lnTo>
                  <a:lnTo>
                    <a:pt x="8852" y="26917"/>
                  </a:lnTo>
                  <a:lnTo>
                    <a:pt x="5997" y="29665"/>
                  </a:lnTo>
                  <a:lnTo>
                    <a:pt x="4907" y="30022"/>
                  </a:lnTo>
                  <a:lnTo>
                    <a:pt x="4106" y="31608"/>
                  </a:lnTo>
                  <a:lnTo>
                    <a:pt x="743" y="31047"/>
                  </a:lnTo>
                  <a:lnTo>
                    <a:pt x="0" y="30405"/>
                  </a:lnTo>
                  <a:lnTo>
                    <a:pt x="728" y="28609"/>
                  </a:lnTo>
                  <a:lnTo>
                    <a:pt x="1691" y="28393"/>
                  </a:lnTo>
                  <a:lnTo>
                    <a:pt x="1752" y="27115"/>
                  </a:lnTo>
                  <a:lnTo>
                    <a:pt x="2771" y="25831"/>
                  </a:lnTo>
                  <a:close/>
                  <a:moveTo>
                    <a:pt x="42795" y="2728"/>
                  </a:moveTo>
                  <a:lnTo>
                    <a:pt x="43655" y="2973"/>
                  </a:lnTo>
                  <a:lnTo>
                    <a:pt x="42923" y="3934"/>
                  </a:lnTo>
                  <a:lnTo>
                    <a:pt x="42979" y="4364"/>
                  </a:lnTo>
                  <a:lnTo>
                    <a:pt x="43678" y="4830"/>
                  </a:lnTo>
                  <a:lnTo>
                    <a:pt x="43508" y="5571"/>
                  </a:lnTo>
                  <a:lnTo>
                    <a:pt x="42795" y="6217"/>
                  </a:lnTo>
                  <a:lnTo>
                    <a:pt x="42499" y="7427"/>
                  </a:lnTo>
                  <a:lnTo>
                    <a:pt x="44618" y="8296"/>
                  </a:lnTo>
                  <a:lnTo>
                    <a:pt x="46853" y="7515"/>
                  </a:lnTo>
                  <a:lnTo>
                    <a:pt x="48041" y="7760"/>
                  </a:lnTo>
                  <a:lnTo>
                    <a:pt x="49213" y="8178"/>
                  </a:lnTo>
                  <a:lnTo>
                    <a:pt x="49498" y="9829"/>
                  </a:lnTo>
                  <a:lnTo>
                    <a:pt x="48455" y="11665"/>
                  </a:lnTo>
                  <a:lnTo>
                    <a:pt x="46998" y="13522"/>
                  </a:lnTo>
                  <a:lnTo>
                    <a:pt x="45764" y="15563"/>
                  </a:lnTo>
                  <a:lnTo>
                    <a:pt x="44698" y="17910"/>
                  </a:lnTo>
                  <a:lnTo>
                    <a:pt x="42704" y="19294"/>
                  </a:lnTo>
                  <a:lnTo>
                    <a:pt x="40897" y="20123"/>
                  </a:lnTo>
                  <a:lnTo>
                    <a:pt x="37077" y="18383"/>
                  </a:lnTo>
                  <a:lnTo>
                    <a:pt x="34860" y="17950"/>
                  </a:lnTo>
                  <a:lnTo>
                    <a:pt x="34197" y="17297"/>
                  </a:lnTo>
                  <a:lnTo>
                    <a:pt x="33670" y="14701"/>
                  </a:lnTo>
                  <a:lnTo>
                    <a:pt x="32666" y="13873"/>
                  </a:lnTo>
                  <a:lnTo>
                    <a:pt x="31195" y="13508"/>
                  </a:lnTo>
                  <a:lnTo>
                    <a:pt x="29908" y="14171"/>
                  </a:lnTo>
                  <a:lnTo>
                    <a:pt x="28219" y="15542"/>
                  </a:lnTo>
                  <a:lnTo>
                    <a:pt x="27319" y="14176"/>
                  </a:lnTo>
                  <a:lnTo>
                    <a:pt x="25894" y="13919"/>
                  </a:lnTo>
                  <a:lnTo>
                    <a:pt x="25356" y="13096"/>
                  </a:lnTo>
                  <a:lnTo>
                    <a:pt x="25384" y="12030"/>
                  </a:lnTo>
                  <a:lnTo>
                    <a:pt x="34531" y="5741"/>
                  </a:lnTo>
                  <a:lnTo>
                    <a:pt x="37181" y="4349"/>
                  </a:lnTo>
                  <a:close/>
                  <a:moveTo>
                    <a:pt x="62707" y="0"/>
                  </a:moveTo>
                  <a:lnTo>
                    <a:pt x="66391" y="1114"/>
                  </a:lnTo>
                  <a:lnTo>
                    <a:pt x="68367" y="4116"/>
                  </a:lnTo>
                  <a:lnTo>
                    <a:pt x="68520" y="4630"/>
                  </a:lnTo>
                  <a:lnTo>
                    <a:pt x="67892" y="6080"/>
                  </a:lnTo>
                  <a:lnTo>
                    <a:pt x="67486" y="6381"/>
                  </a:lnTo>
                  <a:lnTo>
                    <a:pt x="60684" y="3371"/>
                  </a:lnTo>
                  <a:lnTo>
                    <a:pt x="58462" y="3035"/>
                  </a:lnTo>
                  <a:lnTo>
                    <a:pt x="57920" y="2575"/>
                  </a:lnTo>
                  <a:lnTo>
                    <a:pt x="57980" y="1008"/>
                  </a:lnTo>
                  <a:lnTo>
                    <a:pt x="58157" y="315"/>
                  </a:lnTo>
                  <a:close/>
                </a:path>
              </a:pathLst>
            </a:custGeom>
            <a:solidFill>
              <a:srgbClr val="C7CDD0"/>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AT" sz="1600" err="1">
                <a:solidFill>
                  <a:schemeClr val="tx1"/>
                </a:solidFill>
                <a:latin typeface="Calibri" panose="020F0502020204030204" pitchFamily="34" charset="0"/>
                <a:cs typeface="Calibri" panose="020F0502020204030204" pitchFamily="34" charset="0"/>
              </a:endParaRPr>
            </a:p>
          </p:txBody>
        </p:sp>
        <p:sp>
          <p:nvSpPr>
            <p:cNvPr id="77" name="ee4p_ES_2_86241">
              <a:extLst>
                <a:ext uri="{FF2B5EF4-FFF2-40B4-BE49-F238E27FC236}">
                  <a16:creationId xmlns:a16="http://schemas.microsoft.com/office/drawing/2014/main" id="{BD980B78-D144-48F9-9442-7843FD21B96B}"/>
                </a:ext>
              </a:extLst>
            </p:cNvPr>
            <p:cNvSpPr>
              <a:spLocks noChangeAspect="1"/>
            </p:cNvSpPr>
            <p:nvPr>
              <p:custDataLst>
                <p:tags r:id="rId15"/>
              </p:custDataLst>
            </p:nvPr>
          </p:nvSpPr>
          <p:spPr>
            <a:xfrm>
              <a:off x="5493057" y="3581528"/>
              <a:ext cx="840511" cy="627621"/>
            </a:xfrm>
            <a:custGeom>
              <a:avLst/>
              <a:gdLst/>
              <a:ahLst/>
              <a:cxnLst/>
              <a:rect l="0" t="0" r="0" b="0"/>
              <a:pathLst>
                <a:path w="277340" h="201769">
                  <a:moveTo>
                    <a:pt x="33998" y="0"/>
                  </a:moveTo>
                  <a:lnTo>
                    <a:pt x="36288" y="1004"/>
                  </a:lnTo>
                  <a:lnTo>
                    <a:pt x="38299" y="664"/>
                  </a:lnTo>
                  <a:lnTo>
                    <a:pt x="40605" y="1855"/>
                  </a:lnTo>
                  <a:lnTo>
                    <a:pt x="43643" y="4584"/>
                  </a:lnTo>
                  <a:lnTo>
                    <a:pt x="48087" y="5680"/>
                  </a:lnTo>
                  <a:lnTo>
                    <a:pt x="51631" y="4826"/>
                  </a:lnTo>
                  <a:lnTo>
                    <a:pt x="57898" y="4644"/>
                  </a:lnTo>
                  <a:lnTo>
                    <a:pt x="61029" y="5008"/>
                  </a:lnTo>
                  <a:lnTo>
                    <a:pt x="66591" y="4335"/>
                  </a:lnTo>
                  <a:lnTo>
                    <a:pt x="69776" y="4576"/>
                  </a:lnTo>
                  <a:lnTo>
                    <a:pt x="74938" y="3224"/>
                  </a:lnTo>
                  <a:lnTo>
                    <a:pt x="78937" y="4912"/>
                  </a:lnTo>
                  <a:lnTo>
                    <a:pt x="86678" y="5701"/>
                  </a:lnTo>
                  <a:lnTo>
                    <a:pt x="91332" y="7083"/>
                  </a:lnTo>
                  <a:lnTo>
                    <a:pt x="104206" y="9402"/>
                  </a:lnTo>
                  <a:lnTo>
                    <a:pt x="108855" y="9428"/>
                  </a:lnTo>
                  <a:lnTo>
                    <a:pt x="115433" y="8127"/>
                  </a:lnTo>
                  <a:lnTo>
                    <a:pt x="118218" y="7149"/>
                  </a:lnTo>
                  <a:lnTo>
                    <a:pt x="120768" y="7729"/>
                  </a:lnTo>
                  <a:lnTo>
                    <a:pt x="124514" y="6609"/>
                  </a:lnTo>
                  <a:lnTo>
                    <a:pt x="126305" y="6836"/>
                  </a:lnTo>
                  <a:lnTo>
                    <a:pt x="128644" y="8433"/>
                  </a:lnTo>
                  <a:lnTo>
                    <a:pt x="136875" y="10589"/>
                  </a:lnTo>
                  <a:lnTo>
                    <a:pt x="139040" y="8757"/>
                  </a:lnTo>
                  <a:lnTo>
                    <a:pt x="140647" y="8360"/>
                  </a:lnTo>
                  <a:lnTo>
                    <a:pt x="146572" y="9482"/>
                  </a:lnTo>
                  <a:lnTo>
                    <a:pt x="152542" y="11760"/>
                  </a:lnTo>
                  <a:lnTo>
                    <a:pt x="155647" y="11924"/>
                  </a:lnTo>
                  <a:lnTo>
                    <a:pt x="160188" y="11302"/>
                  </a:lnTo>
                  <a:lnTo>
                    <a:pt x="163788" y="9802"/>
                  </a:lnTo>
                  <a:lnTo>
                    <a:pt x="164550" y="9627"/>
                  </a:lnTo>
                  <a:lnTo>
                    <a:pt x="164579" y="10563"/>
                  </a:lnTo>
                  <a:lnTo>
                    <a:pt x="165452" y="11849"/>
                  </a:lnTo>
                  <a:lnTo>
                    <a:pt x="166345" y="12325"/>
                  </a:lnTo>
                  <a:lnTo>
                    <a:pt x="168240" y="12985"/>
                  </a:lnTo>
                  <a:lnTo>
                    <a:pt x="169692" y="13073"/>
                  </a:lnTo>
                  <a:lnTo>
                    <a:pt x="171677" y="13382"/>
                  </a:lnTo>
                  <a:lnTo>
                    <a:pt x="173027" y="14123"/>
                  </a:lnTo>
                  <a:lnTo>
                    <a:pt x="173101" y="15277"/>
                  </a:lnTo>
                  <a:lnTo>
                    <a:pt x="172763" y="16566"/>
                  </a:lnTo>
                  <a:lnTo>
                    <a:pt x="171949" y="17750"/>
                  </a:lnTo>
                  <a:lnTo>
                    <a:pt x="171484" y="18658"/>
                  </a:lnTo>
                  <a:lnTo>
                    <a:pt x="171918" y="19177"/>
                  </a:lnTo>
                  <a:lnTo>
                    <a:pt x="172627" y="19580"/>
                  </a:lnTo>
                  <a:lnTo>
                    <a:pt x="173395" y="19691"/>
                  </a:lnTo>
                  <a:lnTo>
                    <a:pt x="173915" y="19557"/>
                  </a:lnTo>
                  <a:lnTo>
                    <a:pt x="174308" y="18842"/>
                  </a:lnTo>
                  <a:lnTo>
                    <a:pt x="175058" y="17965"/>
                  </a:lnTo>
                  <a:lnTo>
                    <a:pt x="175473" y="17858"/>
                  </a:lnTo>
                  <a:lnTo>
                    <a:pt x="175440" y="18354"/>
                  </a:lnTo>
                  <a:lnTo>
                    <a:pt x="175796" y="18967"/>
                  </a:lnTo>
                  <a:lnTo>
                    <a:pt x="178228" y="19998"/>
                  </a:lnTo>
                  <a:lnTo>
                    <a:pt x="183571" y="21917"/>
                  </a:lnTo>
                  <a:lnTo>
                    <a:pt x="185663" y="21953"/>
                  </a:lnTo>
                  <a:lnTo>
                    <a:pt x="187356" y="22178"/>
                  </a:lnTo>
                  <a:lnTo>
                    <a:pt x="187853" y="22988"/>
                  </a:lnTo>
                  <a:lnTo>
                    <a:pt x="191253" y="25947"/>
                  </a:lnTo>
                  <a:lnTo>
                    <a:pt x="192063" y="25866"/>
                  </a:lnTo>
                  <a:lnTo>
                    <a:pt x="193581" y="25938"/>
                  </a:lnTo>
                  <a:lnTo>
                    <a:pt x="195410" y="25703"/>
                  </a:lnTo>
                  <a:lnTo>
                    <a:pt x="196733" y="25149"/>
                  </a:lnTo>
                  <a:lnTo>
                    <a:pt x="197602" y="25242"/>
                  </a:lnTo>
                  <a:lnTo>
                    <a:pt x="198558" y="25814"/>
                  </a:lnTo>
                  <a:lnTo>
                    <a:pt x="199680" y="26313"/>
                  </a:lnTo>
                  <a:lnTo>
                    <a:pt x="201123" y="27285"/>
                  </a:lnTo>
                  <a:lnTo>
                    <a:pt x="202418" y="28490"/>
                  </a:lnTo>
                  <a:lnTo>
                    <a:pt x="203310" y="28884"/>
                  </a:lnTo>
                  <a:lnTo>
                    <a:pt x="208673" y="28076"/>
                  </a:lnTo>
                  <a:lnTo>
                    <a:pt x="209869" y="28782"/>
                  </a:lnTo>
                  <a:lnTo>
                    <a:pt x="211139" y="28773"/>
                  </a:lnTo>
                  <a:lnTo>
                    <a:pt x="212562" y="28589"/>
                  </a:lnTo>
                  <a:lnTo>
                    <a:pt x="215667" y="28960"/>
                  </a:lnTo>
                  <a:lnTo>
                    <a:pt x="218187" y="28871"/>
                  </a:lnTo>
                  <a:lnTo>
                    <a:pt x="218416" y="28576"/>
                  </a:lnTo>
                  <a:lnTo>
                    <a:pt x="218632" y="25908"/>
                  </a:lnTo>
                  <a:lnTo>
                    <a:pt x="219031" y="24963"/>
                  </a:lnTo>
                  <a:lnTo>
                    <a:pt x="219629" y="24713"/>
                  </a:lnTo>
                  <a:lnTo>
                    <a:pt x="221124" y="24902"/>
                  </a:lnTo>
                  <a:lnTo>
                    <a:pt x="226554" y="26482"/>
                  </a:lnTo>
                  <a:lnTo>
                    <a:pt x="228790" y="27469"/>
                  </a:lnTo>
                  <a:lnTo>
                    <a:pt x="230938" y="28242"/>
                  </a:lnTo>
                  <a:lnTo>
                    <a:pt x="232817" y="28327"/>
                  </a:lnTo>
                  <a:lnTo>
                    <a:pt x="234058" y="28842"/>
                  </a:lnTo>
                  <a:lnTo>
                    <a:pt x="235803" y="31373"/>
                  </a:lnTo>
                  <a:lnTo>
                    <a:pt x="235505" y="32642"/>
                  </a:lnTo>
                  <a:lnTo>
                    <a:pt x="235663" y="33111"/>
                  </a:lnTo>
                  <a:lnTo>
                    <a:pt x="235847" y="33990"/>
                  </a:lnTo>
                  <a:lnTo>
                    <a:pt x="235799" y="34964"/>
                  </a:lnTo>
                  <a:lnTo>
                    <a:pt x="236257" y="35600"/>
                  </a:lnTo>
                  <a:lnTo>
                    <a:pt x="237084" y="35680"/>
                  </a:lnTo>
                  <a:lnTo>
                    <a:pt x="238142" y="35487"/>
                  </a:lnTo>
                  <a:lnTo>
                    <a:pt x="239299" y="35107"/>
                  </a:lnTo>
                  <a:lnTo>
                    <a:pt x="241335" y="34021"/>
                  </a:lnTo>
                  <a:lnTo>
                    <a:pt x="241945" y="33844"/>
                  </a:lnTo>
                  <a:lnTo>
                    <a:pt x="245343" y="35077"/>
                  </a:lnTo>
                  <a:lnTo>
                    <a:pt x="246851" y="35897"/>
                  </a:lnTo>
                  <a:lnTo>
                    <a:pt x="247371" y="36791"/>
                  </a:lnTo>
                  <a:lnTo>
                    <a:pt x="248146" y="37704"/>
                  </a:lnTo>
                  <a:lnTo>
                    <a:pt x="249167" y="37837"/>
                  </a:lnTo>
                  <a:lnTo>
                    <a:pt x="250619" y="36969"/>
                  </a:lnTo>
                  <a:lnTo>
                    <a:pt x="252875" y="36040"/>
                  </a:lnTo>
                  <a:lnTo>
                    <a:pt x="256723" y="36857"/>
                  </a:lnTo>
                  <a:lnTo>
                    <a:pt x="261003" y="38042"/>
                  </a:lnTo>
                  <a:lnTo>
                    <a:pt x="262854" y="38184"/>
                  </a:lnTo>
                  <a:lnTo>
                    <a:pt x="262923" y="37608"/>
                  </a:lnTo>
                  <a:lnTo>
                    <a:pt x="263260" y="36784"/>
                  </a:lnTo>
                  <a:lnTo>
                    <a:pt x="263964" y="36372"/>
                  </a:lnTo>
                  <a:lnTo>
                    <a:pt x="265015" y="36251"/>
                  </a:lnTo>
                  <a:lnTo>
                    <a:pt x="266480" y="35819"/>
                  </a:lnTo>
                  <a:lnTo>
                    <a:pt x="268155" y="35104"/>
                  </a:lnTo>
                  <a:lnTo>
                    <a:pt x="269893" y="34806"/>
                  </a:lnTo>
                  <a:lnTo>
                    <a:pt x="271720" y="35340"/>
                  </a:lnTo>
                  <a:lnTo>
                    <a:pt x="273921" y="35772"/>
                  </a:lnTo>
                  <a:lnTo>
                    <a:pt x="275231" y="35768"/>
                  </a:lnTo>
                  <a:lnTo>
                    <a:pt x="275860" y="37454"/>
                  </a:lnTo>
                  <a:lnTo>
                    <a:pt x="276922" y="38098"/>
                  </a:lnTo>
                  <a:lnTo>
                    <a:pt x="277339" y="39556"/>
                  </a:lnTo>
                  <a:lnTo>
                    <a:pt x="275391" y="40317"/>
                  </a:lnTo>
                  <a:lnTo>
                    <a:pt x="274236" y="40420"/>
                  </a:lnTo>
                  <a:lnTo>
                    <a:pt x="273882" y="42921"/>
                  </a:lnTo>
                  <a:lnTo>
                    <a:pt x="274430" y="43625"/>
                  </a:lnTo>
                  <a:lnTo>
                    <a:pt x="275523" y="44285"/>
                  </a:lnTo>
                  <a:lnTo>
                    <a:pt x="275821" y="45054"/>
                  </a:lnTo>
                  <a:lnTo>
                    <a:pt x="276041" y="48717"/>
                  </a:lnTo>
                  <a:lnTo>
                    <a:pt x="273804" y="50924"/>
                  </a:lnTo>
                  <a:lnTo>
                    <a:pt x="270664" y="53405"/>
                  </a:lnTo>
                  <a:lnTo>
                    <a:pt x="255320" y="61366"/>
                  </a:lnTo>
                  <a:lnTo>
                    <a:pt x="251664" y="65214"/>
                  </a:lnTo>
                  <a:lnTo>
                    <a:pt x="250271" y="66093"/>
                  </a:lnTo>
                  <a:lnTo>
                    <a:pt x="238861" y="68513"/>
                  </a:lnTo>
                  <a:lnTo>
                    <a:pt x="230884" y="71096"/>
                  </a:lnTo>
                  <a:lnTo>
                    <a:pt x="227060" y="72030"/>
                  </a:lnTo>
                  <a:lnTo>
                    <a:pt x="222283" y="76514"/>
                  </a:lnTo>
                  <a:lnTo>
                    <a:pt x="220022" y="78320"/>
                  </a:lnTo>
                  <a:lnTo>
                    <a:pt x="221823" y="78820"/>
                  </a:lnTo>
                  <a:lnTo>
                    <a:pt x="223924" y="80958"/>
                  </a:lnTo>
                  <a:lnTo>
                    <a:pt x="223218" y="81906"/>
                  </a:lnTo>
                  <a:lnTo>
                    <a:pt x="220154" y="83368"/>
                  </a:lnTo>
                  <a:lnTo>
                    <a:pt x="218815" y="83818"/>
                  </a:lnTo>
                  <a:lnTo>
                    <a:pt x="218088" y="83585"/>
                  </a:lnTo>
                  <a:lnTo>
                    <a:pt x="217401" y="83787"/>
                  </a:lnTo>
                  <a:lnTo>
                    <a:pt x="212262" y="91522"/>
                  </a:lnTo>
                  <a:lnTo>
                    <a:pt x="207723" y="97072"/>
                  </a:lnTo>
                  <a:lnTo>
                    <a:pt x="205172" y="99489"/>
                  </a:lnTo>
                  <a:lnTo>
                    <a:pt x="202558" y="103086"/>
                  </a:lnTo>
                  <a:lnTo>
                    <a:pt x="196989" y="112346"/>
                  </a:lnTo>
                  <a:lnTo>
                    <a:pt x="196946" y="115013"/>
                  </a:lnTo>
                  <a:lnTo>
                    <a:pt x="199689" y="124196"/>
                  </a:lnTo>
                  <a:lnTo>
                    <a:pt x="201261" y="126604"/>
                  </a:lnTo>
                  <a:lnTo>
                    <a:pt x="203465" y="128626"/>
                  </a:lnTo>
                  <a:lnTo>
                    <a:pt x="207645" y="130344"/>
                  </a:lnTo>
                  <a:lnTo>
                    <a:pt x="208677" y="132034"/>
                  </a:lnTo>
                  <a:lnTo>
                    <a:pt x="207234" y="133643"/>
                  </a:lnTo>
                  <a:lnTo>
                    <a:pt x="203054" y="136506"/>
                  </a:lnTo>
                  <a:lnTo>
                    <a:pt x="195790" y="140369"/>
                  </a:lnTo>
                  <a:lnTo>
                    <a:pt x="192704" y="143413"/>
                  </a:lnTo>
                  <a:lnTo>
                    <a:pt x="192043" y="146346"/>
                  </a:lnTo>
                  <a:lnTo>
                    <a:pt x="189918" y="147662"/>
                  </a:lnTo>
                  <a:lnTo>
                    <a:pt x="189113" y="151762"/>
                  </a:lnTo>
                  <a:lnTo>
                    <a:pt x="187823" y="154476"/>
                  </a:lnTo>
                  <a:lnTo>
                    <a:pt x="187575" y="155395"/>
                  </a:lnTo>
                  <a:lnTo>
                    <a:pt x="186207" y="157451"/>
                  </a:lnTo>
                  <a:lnTo>
                    <a:pt x="186020" y="158942"/>
                  </a:lnTo>
                  <a:lnTo>
                    <a:pt x="188264" y="161002"/>
                  </a:lnTo>
                  <a:lnTo>
                    <a:pt x="187152" y="161892"/>
                  </a:lnTo>
                  <a:lnTo>
                    <a:pt x="186040" y="162288"/>
                  </a:lnTo>
                  <a:lnTo>
                    <a:pt x="183477" y="162528"/>
                  </a:lnTo>
                  <a:lnTo>
                    <a:pt x="174865" y="162789"/>
                  </a:lnTo>
                  <a:lnTo>
                    <a:pt x="167935" y="167235"/>
                  </a:lnTo>
                  <a:lnTo>
                    <a:pt x="164471" y="171164"/>
                  </a:lnTo>
                  <a:lnTo>
                    <a:pt x="161338" y="178468"/>
                  </a:lnTo>
                  <a:lnTo>
                    <a:pt x="157530" y="182766"/>
                  </a:lnTo>
                  <a:lnTo>
                    <a:pt x="155846" y="183558"/>
                  </a:lnTo>
                  <a:lnTo>
                    <a:pt x="153239" y="181670"/>
                  </a:lnTo>
                  <a:lnTo>
                    <a:pt x="149983" y="181382"/>
                  </a:lnTo>
                  <a:lnTo>
                    <a:pt x="146824" y="182008"/>
                  </a:lnTo>
                  <a:lnTo>
                    <a:pt x="145167" y="183504"/>
                  </a:lnTo>
                  <a:lnTo>
                    <a:pt x="142581" y="184337"/>
                  </a:lnTo>
                  <a:lnTo>
                    <a:pt x="140054" y="183616"/>
                  </a:lnTo>
                  <a:lnTo>
                    <a:pt x="134585" y="183227"/>
                  </a:lnTo>
                  <a:lnTo>
                    <a:pt x="132154" y="183296"/>
                  </a:lnTo>
                  <a:lnTo>
                    <a:pt x="128348" y="184511"/>
                  </a:lnTo>
                  <a:lnTo>
                    <a:pt x="125085" y="183700"/>
                  </a:lnTo>
                  <a:lnTo>
                    <a:pt x="119580" y="183289"/>
                  </a:lnTo>
                  <a:lnTo>
                    <a:pt x="107660" y="184252"/>
                  </a:lnTo>
                  <a:lnTo>
                    <a:pt x="106156" y="184705"/>
                  </a:lnTo>
                  <a:lnTo>
                    <a:pt x="104666" y="186509"/>
                  </a:lnTo>
                  <a:lnTo>
                    <a:pt x="100865" y="189618"/>
                  </a:lnTo>
                  <a:lnTo>
                    <a:pt x="95090" y="189730"/>
                  </a:lnTo>
                  <a:lnTo>
                    <a:pt x="89867" y="191712"/>
                  </a:lnTo>
                  <a:lnTo>
                    <a:pt x="88562" y="192981"/>
                  </a:lnTo>
                  <a:lnTo>
                    <a:pt x="86369" y="196469"/>
                  </a:lnTo>
                  <a:lnTo>
                    <a:pt x="85678" y="199017"/>
                  </a:lnTo>
                  <a:lnTo>
                    <a:pt x="85222" y="199038"/>
                  </a:lnTo>
                  <a:lnTo>
                    <a:pt x="84655" y="198411"/>
                  </a:lnTo>
                  <a:lnTo>
                    <a:pt x="83850" y="198621"/>
                  </a:lnTo>
                  <a:lnTo>
                    <a:pt x="83433" y="200560"/>
                  </a:lnTo>
                  <a:lnTo>
                    <a:pt x="81470" y="201443"/>
                  </a:lnTo>
                  <a:lnTo>
                    <a:pt x="79829" y="201768"/>
                  </a:lnTo>
                  <a:lnTo>
                    <a:pt x="75784" y="200193"/>
                  </a:lnTo>
                  <a:lnTo>
                    <a:pt x="72417" y="197833"/>
                  </a:lnTo>
                  <a:lnTo>
                    <a:pt x="70648" y="197664"/>
                  </a:lnTo>
                  <a:lnTo>
                    <a:pt x="67778" y="193989"/>
                  </a:lnTo>
                  <a:lnTo>
                    <a:pt x="66544" y="191644"/>
                  </a:lnTo>
                  <a:lnTo>
                    <a:pt x="65667" y="189110"/>
                  </a:lnTo>
                  <a:lnTo>
                    <a:pt x="65849" y="188139"/>
                  </a:lnTo>
                  <a:lnTo>
                    <a:pt x="65600" y="187331"/>
                  </a:lnTo>
                  <a:lnTo>
                    <a:pt x="63053" y="186309"/>
                  </a:lnTo>
                  <a:lnTo>
                    <a:pt x="62432" y="183979"/>
                  </a:lnTo>
                  <a:lnTo>
                    <a:pt x="64288" y="180951"/>
                  </a:lnTo>
                  <a:lnTo>
                    <a:pt x="65811" y="179659"/>
                  </a:lnTo>
                  <a:lnTo>
                    <a:pt x="66753" y="179288"/>
                  </a:lnTo>
                  <a:lnTo>
                    <a:pt x="64450" y="179418"/>
                  </a:lnTo>
                  <a:lnTo>
                    <a:pt x="62787" y="181370"/>
                  </a:lnTo>
                  <a:lnTo>
                    <a:pt x="60659" y="178244"/>
                  </a:lnTo>
                  <a:lnTo>
                    <a:pt x="51986" y="172148"/>
                  </a:lnTo>
                  <a:lnTo>
                    <a:pt x="52545" y="170748"/>
                  </a:lnTo>
                  <a:lnTo>
                    <a:pt x="52448" y="169991"/>
                  </a:lnTo>
                  <a:lnTo>
                    <a:pt x="50994" y="171620"/>
                  </a:lnTo>
                  <a:lnTo>
                    <a:pt x="49995" y="172041"/>
                  </a:lnTo>
                  <a:lnTo>
                    <a:pt x="45567" y="171777"/>
                  </a:lnTo>
                  <a:lnTo>
                    <a:pt x="40454" y="172525"/>
                  </a:lnTo>
                  <a:lnTo>
                    <a:pt x="39105" y="166187"/>
                  </a:lnTo>
                  <a:lnTo>
                    <a:pt x="38467" y="163748"/>
                  </a:lnTo>
                  <a:lnTo>
                    <a:pt x="38301" y="162167"/>
                  </a:lnTo>
                  <a:lnTo>
                    <a:pt x="39619" y="158516"/>
                  </a:lnTo>
                  <a:lnTo>
                    <a:pt x="41057" y="157030"/>
                  </a:lnTo>
                  <a:lnTo>
                    <a:pt x="42973" y="153956"/>
                  </a:lnTo>
                  <a:lnTo>
                    <a:pt x="45335" y="151395"/>
                  </a:lnTo>
                  <a:lnTo>
                    <a:pt x="47832" y="150788"/>
                  </a:lnTo>
                  <a:lnTo>
                    <a:pt x="48930" y="150411"/>
                  </a:lnTo>
                  <a:lnTo>
                    <a:pt x="49853" y="148429"/>
                  </a:lnTo>
                  <a:lnTo>
                    <a:pt x="50373" y="146737"/>
                  </a:lnTo>
                  <a:lnTo>
                    <a:pt x="49992" y="146569"/>
                  </a:lnTo>
                  <a:lnTo>
                    <a:pt x="47082" y="146914"/>
                  </a:lnTo>
                  <a:lnTo>
                    <a:pt x="41850" y="139809"/>
                  </a:lnTo>
                  <a:lnTo>
                    <a:pt x="42010" y="138675"/>
                  </a:lnTo>
                  <a:lnTo>
                    <a:pt x="42670" y="136992"/>
                  </a:lnTo>
                  <a:lnTo>
                    <a:pt x="43103" y="134866"/>
                  </a:lnTo>
                  <a:lnTo>
                    <a:pt x="43210" y="133185"/>
                  </a:lnTo>
                  <a:lnTo>
                    <a:pt x="44572" y="131742"/>
                  </a:lnTo>
                  <a:lnTo>
                    <a:pt x="46660" y="130285"/>
                  </a:lnTo>
                  <a:lnTo>
                    <a:pt x="48417" y="128217"/>
                  </a:lnTo>
                  <a:lnTo>
                    <a:pt x="49297" y="126196"/>
                  </a:lnTo>
                  <a:lnTo>
                    <a:pt x="49480" y="124355"/>
                  </a:lnTo>
                  <a:lnTo>
                    <a:pt x="48485" y="123045"/>
                  </a:lnTo>
                  <a:lnTo>
                    <a:pt x="45623" y="122318"/>
                  </a:lnTo>
                  <a:lnTo>
                    <a:pt x="42674" y="117061"/>
                  </a:lnTo>
                  <a:lnTo>
                    <a:pt x="42018" y="113766"/>
                  </a:lnTo>
                  <a:lnTo>
                    <a:pt x="41415" y="113424"/>
                  </a:lnTo>
                  <a:lnTo>
                    <a:pt x="39593" y="111922"/>
                  </a:lnTo>
                  <a:lnTo>
                    <a:pt x="37844" y="109102"/>
                  </a:lnTo>
                  <a:lnTo>
                    <a:pt x="37590" y="108664"/>
                  </a:lnTo>
                  <a:lnTo>
                    <a:pt x="39394" y="108168"/>
                  </a:lnTo>
                  <a:lnTo>
                    <a:pt x="46833" y="108141"/>
                  </a:lnTo>
                  <a:lnTo>
                    <a:pt x="48387" y="107520"/>
                  </a:lnTo>
                  <a:lnTo>
                    <a:pt x="48623" y="107302"/>
                  </a:lnTo>
                  <a:lnTo>
                    <a:pt x="49979" y="105105"/>
                  </a:lnTo>
                  <a:lnTo>
                    <a:pt x="51399" y="101492"/>
                  </a:lnTo>
                  <a:lnTo>
                    <a:pt x="51733" y="99284"/>
                  </a:lnTo>
                  <a:lnTo>
                    <a:pt x="51284" y="98371"/>
                  </a:lnTo>
                  <a:lnTo>
                    <a:pt x="48820" y="96132"/>
                  </a:lnTo>
                  <a:lnTo>
                    <a:pt x="48714" y="95471"/>
                  </a:lnTo>
                  <a:lnTo>
                    <a:pt x="49110" y="94415"/>
                  </a:lnTo>
                  <a:lnTo>
                    <a:pt x="50575" y="93285"/>
                  </a:lnTo>
                  <a:lnTo>
                    <a:pt x="52555" y="92001"/>
                  </a:lnTo>
                  <a:lnTo>
                    <a:pt x="53633" y="90893"/>
                  </a:lnTo>
                  <a:lnTo>
                    <a:pt x="53376" y="90026"/>
                  </a:lnTo>
                  <a:lnTo>
                    <a:pt x="52797" y="89117"/>
                  </a:lnTo>
                  <a:lnTo>
                    <a:pt x="52707" y="88273"/>
                  </a:lnTo>
                  <a:lnTo>
                    <a:pt x="53069" y="87228"/>
                  </a:lnTo>
                  <a:lnTo>
                    <a:pt x="53198" y="83667"/>
                  </a:lnTo>
                  <a:lnTo>
                    <a:pt x="53452" y="82750"/>
                  </a:lnTo>
                  <a:lnTo>
                    <a:pt x="53064" y="79511"/>
                  </a:lnTo>
                  <a:lnTo>
                    <a:pt x="52581" y="76863"/>
                  </a:lnTo>
                  <a:lnTo>
                    <a:pt x="51017" y="73423"/>
                  </a:lnTo>
                  <a:lnTo>
                    <a:pt x="51303" y="72663"/>
                  </a:lnTo>
                  <a:lnTo>
                    <a:pt x="52026" y="72021"/>
                  </a:lnTo>
                  <a:lnTo>
                    <a:pt x="54393" y="70828"/>
                  </a:lnTo>
                  <a:lnTo>
                    <a:pt x="56287" y="68015"/>
                  </a:lnTo>
                  <a:lnTo>
                    <a:pt x="59034" y="65663"/>
                  </a:lnTo>
                  <a:lnTo>
                    <a:pt x="62633" y="63771"/>
                  </a:lnTo>
                  <a:lnTo>
                    <a:pt x="65149" y="61669"/>
                  </a:lnTo>
                  <a:lnTo>
                    <a:pt x="66145" y="60060"/>
                  </a:lnTo>
                  <a:lnTo>
                    <a:pt x="66848" y="59634"/>
                  </a:lnTo>
                  <a:lnTo>
                    <a:pt x="66646" y="58883"/>
                  </a:lnTo>
                  <a:lnTo>
                    <a:pt x="66172" y="57789"/>
                  </a:lnTo>
                  <a:lnTo>
                    <a:pt x="64736" y="56721"/>
                  </a:lnTo>
                  <a:lnTo>
                    <a:pt x="62886" y="56107"/>
                  </a:lnTo>
                  <a:lnTo>
                    <a:pt x="60830" y="56133"/>
                  </a:lnTo>
                  <a:lnTo>
                    <a:pt x="59558" y="55918"/>
                  </a:lnTo>
                  <a:lnTo>
                    <a:pt x="59187" y="55083"/>
                  </a:lnTo>
                  <a:lnTo>
                    <a:pt x="59328" y="52819"/>
                  </a:lnTo>
                  <a:lnTo>
                    <a:pt x="59219" y="50577"/>
                  </a:lnTo>
                  <a:lnTo>
                    <a:pt x="58825" y="49544"/>
                  </a:lnTo>
                  <a:lnTo>
                    <a:pt x="57876" y="48767"/>
                  </a:lnTo>
                  <a:lnTo>
                    <a:pt x="55989" y="48974"/>
                  </a:lnTo>
                  <a:lnTo>
                    <a:pt x="54360" y="48339"/>
                  </a:lnTo>
                  <a:lnTo>
                    <a:pt x="53124" y="48189"/>
                  </a:lnTo>
                  <a:lnTo>
                    <a:pt x="52409" y="48690"/>
                  </a:lnTo>
                  <a:lnTo>
                    <a:pt x="48761" y="48548"/>
                  </a:lnTo>
                  <a:lnTo>
                    <a:pt x="47243" y="48187"/>
                  </a:lnTo>
                  <a:lnTo>
                    <a:pt x="46182" y="47738"/>
                  </a:lnTo>
                  <a:lnTo>
                    <a:pt x="45501" y="47989"/>
                  </a:lnTo>
                  <a:lnTo>
                    <a:pt x="45116" y="48426"/>
                  </a:lnTo>
                  <a:lnTo>
                    <a:pt x="45050" y="49111"/>
                  </a:lnTo>
                  <a:lnTo>
                    <a:pt x="44800" y="50017"/>
                  </a:lnTo>
                  <a:lnTo>
                    <a:pt x="43497" y="50835"/>
                  </a:lnTo>
                  <a:lnTo>
                    <a:pt x="40510" y="51649"/>
                  </a:lnTo>
                  <a:lnTo>
                    <a:pt x="38100" y="51588"/>
                  </a:lnTo>
                  <a:lnTo>
                    <a:pt x="35889" y="51006"/>
                  </a:lnTo>
                  <a:lnTo>
                    <a:pt x="35180" y="50581"/>
                  </a:lnTo>
                  <a:lnTo>
                    <a:pt x="34110" y="50196"/>
                  </a:lnTo>
                  <a:lnTo>
                    <a:pt x="29614" y="50671"/>
                  </a:lnTo>
                  <a:lnTo>
                    <a:pt x="29073" y="50325"/>
                  </a:lnTo>
                  <a:lnTo>
                    <a:pt x="27523" y="51166"/>
                  </a:lnTo>
                  <a:lnTo>
                    <a:pt x="25235" y="52166"/>
                  </a:lnTo>
                  <a:lnTo>
                    <a:pt x="23951" y="52225"/>
                  </a:lnTo>
                  <a:lnTo>
                    <a:pt x="23486" y="52013"/>
                  </a:lnTo>
                  <a:lnTo>
                    <a:pt x="23315" y="51562"/>
                  </a:lnTo>
                  <a:lnTo>
                    <a:pt x="22353" y="50001"/>
                  </a:lnTo>
                  <a:lnTo>
                    <a:pt x="22606" y="49172"/>
                  </a:lnTo>
                  <a:lnTo>
                    <a:pt x="24449" y="46755"/>
                  </a:lnTo>
                  <a:lnTo>
                    <a:pt x="24243" y="46177"/>
                  </a:lnTo>
                  <a:lnTo>
                    <a:pt x="23485" y="45395"/>
                  </a:lnTo>
                  <a:lnTo>
                    <a:pt x="22808" y="44266"/>
                  </a:lnTo>
                  <a:lnTo>
                    <a:pt x="22612" y="43686"/>
                  </a:lnTo>
                  <a:lnTo>
                    <a:pt x="21440" y="43587"/>
                  </a:lnTo>
                  <a:lnTo>
                    <a:pt x="20191" y="44180"/>
                  </a:lnTo>
                  <a:lnTo>
                    <a:pt x="15425" y="45396"/>
                  </a:lnTo>
                  <a:lnTo>
                    <a:pt x="14285" y="45837"/>
                  </a:lnTo>
                  <a:lnTo>
                    <a:pt x="12221" y="47012"/>
                  </a:lnTo>
                  <a:lnTo>
                    <a:pt x="10139" y="48801"/>
                  </a:lnTo>
                  <a:lnTo>
                    <a:pt x="8476" y="49177"/>
                  </a:lnTo>
                  <a:lnTo>
                    <a:pt x="7902" y="48647"/>
                  </a:lnTo>
                  <a:lnTo>
                    <a:pt x="7705" y="44441"/>
                  </a:lnTo>
                  <a:lnTo>
                    <a:pt x="10242" y="41641"/>
                  </a:lnTo>
                  <a:lnTo>
                    <a:pt x="12045" y="39949"/>
                  </a:lnTo>
                  <a:lnTo>
                    <a:pt x="11199" y="39608"/>
                  </a:lnTo>
                  <a:lnTo>
                    <a:pt x="9284" y="39654"/>
                  </a:lnTo>
                  <a:lnTo>
                    <a:pt x="9413" y="38344"/>
                  </a:lnTo>
                  <a:lnTo>
                    <a:pt x="10310" y="37713"/>
                  </a:lnTo>
                  <a:lnTo>
                    <a:pt x="11181" y="36286"/>
                  </a:lnTo>
                  <a:lnTo>
                    <a:pt x="10160" y="35670"/>
                  </a:lnTo>
                  <a:lnTo>
                    <a:pt x="9366" y="34731"/>
                  </a:lnTo>
                  <a:lnTo>
                    <a:pt x="9414" y="32269"/>
                  </a:lnTo>
                  <a:lnTo>
                    <a:pt x="9636" y="31266"/>
                  </a:lnTo>
                  <a:lnTo>
                    <a:pt x="9379" y="30187"/>
                  </a:lnTo>
                  <a:lnTo>
                    <a:pt x="5481" y="31647"/>
                  </a:lnTo>
                  <a:lnTo>
                    <a:pt x="4479" y="31428"/>
                  </a:lnTo>
                  <a:lnTo>
                    <a:pt x="4436" y="29599"/>
                  </a:lnTo>
                  <a:lnTo>
                    <a:pt x="6599" y="26810"/>
                  </a:lnTo>
                  <a:lnTo>
                    <a:pt x="6821" y="25958"/>
                  </a:lnTo>
                  <a:lnTo>
                    <a:pt x="4291" y="25545"/>
                  </a:lnTo>
                  <a:lnTo>
                    <a:pt x="2398" y="24174"/>
                  </a:lnTo>
                  <a:lnTo>
                    <a:pt x="1243" y="22949"/>
                  </a:lnTo>
                  <a:lnTo>
                    <a:pt x="10" y="21184"/>
                  </a:lnTo>
                  <a:lnTo>
                    <a:pt x="0" y="19606"/>
                  </a:lnTo>
                  <a:lnTo>
                    <a:pt x="1273" y="15897"/>
                  </a:lnTo>
                  <a:lnTo>
                    <a:pt x="3098" y="14818"/>
                  </a:lnTo>
                  <a:lnTo>
                    <a:pt x="4669" y="14154"/>
                  </a:lnTo>
                  <a:lnTo>
                    <a:pt x="8004" y="11588"/>
                  </a:lnTo>
                  <a:lnTo>
                    <a:pt x="12605" y="12067"/>
                  </a:lnTo>
                  <a:lnTo>
                    <a:pt x="15448" y="11517"/>
                  </a:lnTo>
                  <a:lnTo>
                    <a:pt x="18001" y="10206"/>
                  </a:lnTo>
                  <a:lnTo>
                    <a:pt x="19463" y="9910"/>
                  </a:lnTo>
                  <a:lnTo>
                    <a:pt x="21819" y="8764"/>
                  </a:lnTo>
                  <a:lnTo>
                    <a:pt x="21745" y="7216"/>
                  </a:lnTo>
                  <a:lnTo>
                    <a:pt x="20936" y="6066"/>
                  </a:lnTo>
                  <a:lnTo>
                    <a:pt x="21646" y="4981"/>
                  </a:lnTo>
                  <a:lnTo>
                    <a:pt x="24290" y="3656"/>
                  </a:lnTo>
                  <a:lnTo>
                    <a:pt x="27219" y="1894"/>
                  </a:lnTo>
                  <a:lnTo>
                    <a:pt x="30580" y="1554"/>
                  </a:lnTo>
                  <a:close/>
                </a:path>
              </a:pathLst>
            </a:custGeom>
            <a:solidFill>
              <a:srgbClr val="C7CDD0"/>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AT" sz="1600" err="1">
                <a:solidFill>
                  <a:schemeClr val="tx1"/>
                </a:solidFill>
                <a:latin typeface="Calibri" panose="020F0502020204030204" pitchFamily="34" charset="0"/>
                <a:cs typeface="Calibri" panose="020F0502020204030204" pitchFamily="34" charset="0"/>
              </a:endParaRPr>
            </a:p>
          </p:txBody>
        </p:sp>
        <p:sp>
          <p:nvSpPr>
            <p:cNvPr id="78" name="ee4p_EE_1_86241">
              <a:extLst>
                <a:ext uri="{FF2B5EF4-FFF2-40B4-BE49-F238E27FC236}">
                  <a16:creationId xmlns:a16="http://schemas.microsoft.com/office/drawing/2014/main" id="{4B9EC0D5-EB9B-4F75-B018-79211B70CF8C}"/>
                </a:ext>
              </a:extLst>
            </p:cNvPr>
            <p:cNvSpPr>
              <a:spLocks noChangeAspect="1"/>
            </p:cNvSpPr>
            <p:nvPr>
              <p:custDataLst>
                <p:tags r:id="rId16"/>
              </p:custDataLst>
            </p:nvPr>
          </p:nvSpPr>
          <p:spPr>
            <a:xfrm>
              <a:off x="7576510" y="2119105"/>
              <a:ext cx="421956" cy="212646"/>
            </a:xfrm>
            <a:custGeom>
              <a:avLst/>
              <a:gdLst>
                <a:gd name="connsiteX0" fmla="*/ 15312 w 139231"/>
                <a:gd name="connsiteY0" fmla="*/ 32990 h 68362"/>
                <a:gd name="connsiteX1" fmla="*/ 16869 w 139231"/>
                <a:gd name="connsiteY1" fmla="*/ 33189 h 68362"/>
                <a:gd name="connsiteX2" fmla="*/ 18439 w 139231"/>
                <a:gd name="connsiteY2" fmla="*/ 33973 h 68362"/>
                <a:gd name="connsiteX3" fmla="*/ 19886 w 139231"/>
                <a:gd name="connsiteY3" fmla="*/ 33725 h 68362"/>
                <a:gd name="connsiteX4" fmla="*/ 21352 w 139231"/>
                <a:gd name="connsiteY4" fmla="*/ 33180 h 68362"/>
                <a:gd name="connsiteX5" fmla="*/ 24539 w 139231"/>
                <a:gd name="connsiteY5" fmla="*/ 33692 h 68362"/>
                <a:gd name="connsiteX6" fmla="*/ 31805 w 139231"/>
                <a:gd name="connsiteY6" fmla="*/ 37642 h 68362"/>
                <a:gd name="connsiteX7" fmla="*/ 32477 w 139231"/>
                <a:gd name="connsiteY7" fmla="*/ 38697 h 68362"/>
                <a:gd name="connsiteX8" fmla="*/ 28141 w 139231"/>
                <a:gd name="connsiteY8" fmla="*/ 39176 h 68362"/>
                <a:gd name="connsiteX9" fmla="*/ 27156 w 139231"/>
                <a:gd name="connsiteY9" fmla="*/ 40385 h 68362"/>
                <a:gd name="connsiteX10" fmla="*/ 26114 w 139231"/>
                <a:gd name="connsiteY10" fmla="*/ 41230 h 68362"/>
                <a:gd name="connsiteX11" fmla="*/ 24885 w 139231"/>
                <a:gd name="connsiteY11" fmla="*/ 41502 h 68362"/>
                <a:gd name="connsiteX12" fmla="*/ 22790 w 139231"/>
                <a:gd name="connsiteY12" fmla="*/ 43197 h 68362"/>
                <a:gd name="connsiteX13" fmla="*/ 19957 w 139231"/>
                <a:gd name="connsiteY13" fmla="*/ 44819 h 68362"/>
                <a:gd name="connsiteX14" fmla="*/ 19365 w 139231"/>
                <a:gd name="connsiteY14" fmla="*/ 45792 h 68362"/>
                <a:gd name="connsiteX15" fmla="*/ 14239 w 139231"/>
                <a:gd name="connsiteY15" fmla="*/ 45613 h 68362"/>
                <a:gd name="connsiteX16" fmla="*/ 11436 w 139231"/>
                <a:gd name="connsiteY16" fmla="*/ 46227 h 68362"/>
                <a:gd name="connsiteX17" fmla="*/ 9173 w 139231"/>
                <a:gd name="connsiteY17" fmla="*/ 48040 h 68362"/>
                <a:gd name="connsiteX18" fmla="*/ 8244 w 139231"/>
                <a:gd name="connsiteY18" fmla="*/ 51538 h 68362"/>
                <a:gd name="connsiteX19" fmla="*/ 6588 w 139231"/>
                <a:gd name="connsiteY19" fmla="*/ 54265 h 68362"/>
                <a:gd name="connsiteX20" fmla="*/ 4904 w 139231"/>
                <a:gd name="connsiteY20" fmla="*/ 55250 h 68362"/>
                <a:gd name="connsiteX21" fmla="*/ 3148 w 139231"/>
                <a:gd name="connsiteY21" fmla="*/ 55400 h 68362"/>
                <a:gd name="connsiteX22" fmla="*/ 2732 w 139231"/>
                <a:gd name="connsiteY22" fmla="*/ 54377 h 68362"/>
                <a:gd name="connsiteX23" fmla="*/ 2898 w 139231"/>
                <a:gd name="connsiteY23" fmla="*/ 53355 h 68362"/>
                <a:gd name="connsiteX24" fmla="*/ 6599 w 139231"/>
                <a:gd name="connsiteY24" fmla="*/ 49499 h 68362"/>
                <a:gd name="connsiteX25" fmla="*/ 7368 w 139231"/>
                <a:gd name="connsiteY25" fmla="*/ 48246 h 68362"/>
                <a:gd name="connsiteX26" fmla="*/ 5526 w 139231"/>
                <a:gd name="connsiteY26" fmla="*/ 47689 h 68362"/>
                <a:gd name="connsiteX27" fmla="*/ 3982 w 139231"/>
                <a:gd name="connsiteY27" fmla="*/ 46348 h 68362"/>
                <a:gd name="connsiteX28" fmla="*/ 611 w 139231"/>
                <a:gd name="connsiteY28" fmla="*/ 44772 h 68362"/>
                <a:gd name="connsiteX29" fmla="*/ 0 w 139231"/>
                <a:gd name="connsiteY29" fmla="*/ 43506 h 68362"/>
                <a:gd name="connsiteX30" fmla="*/ 808 w 139231"/>
                <a:gd name="connsiteY30" fmla="*/ 43412 h 68362"/>
                <a:gd name="connsiteX31" fmla="*/ 1546 w 139231"/>
                <a:gd name="connsiteY31" fmla="*/ 43049 h 68362"/>
                <a:gd name="connsiteX32" fmla="*/ 2444 w 139231"/>
                <a:gd name="connsiteY32" fmla="*/ 41987 h 68362"/>
                <a:gd name="connsiteX33" fmla="*/ 2865 w 139231"/>
                <a:gd name="connsiteY33" fmla="*/ 40767 h 68362"/>
                <a:gd name="connsiteX34" fmla="*/ 173 w 139231"/>
                <a:gd name="connsiteY34" fmla="*/ 37200 h 68362"/>
                <a:gd name="connsiteX35" fmla="*/ 1546 w 139231"/>
                <a:gd name="connsiteY35" fmla="*/ 36648 h 68362"/>
                <a:gd name="connsiteX36" fmla="*/ 3258 w 139231"/>
                <a:gd name="connsiteY36" fmla="*/ 36778 h 68362"/>
                <a:gd name="connsiteX37" fmla="*/ 5016 w 139231"/>
                <a:gd name="connsiteY37" fmla="*/ 37815 h 68362"/>
                <a:gd name="connsiteX38" fmla="*/ 6945 w 139231"/>
                <a:gd name="connsiteY38" fmla="*/ 36598 h 68362"/>
                <a:gd name="connsiteX39" fmla="*/ 7763 w 139231"/>
                <a:gd name="connsiteY39" fmla="*/ 36418 h 68362"/>
                <a:gd name="connsiteX40" fmla="*/ 9113 w 139231"/>
                <a:gd name="connsiteY40" fmla="*/ 36852 h 68362"/>
                <a:gd name="connsiteX41" fmla="*/ 10473 w 139231"/>
                <a:gd name="connsiteY41" fmla="*/ 34496 h 68362"/>
                <a:gd name="connsiteX42" fmla="*/ 13708 w 139231"/>
                <a:gd name="connsiteY42" fmla="*/ 33718 h 68362"/>
                <a:gd name="connsiteX43" fmla="*/ 28987 w 139231"/>
                <a:gd name="connsiteY43" fmla="*/ 31348 h 68362"/>
                <a:gd name="connsiteX44" fmla="*/ 32689 w 139231"/>
                <a:gd name="connsiteY44" fmla="*/ 32304 h 68362"/>
                <a:gd name="connsiteX45" fmla="*/ 33211 w 139231"/>
                <a:gd name="connsiteY45" fmla="*/ 34668 h 68362"/>
                <a:gd name="connsiteX46" fmla="*/ 32926 w 139231"/>
                <a:gd name="connsiteY46" fmla="*/ 35482 h 68362"/>
                <a:gd name="connsiteX47" fmla="*/ 31086 w 139231"/>
                <a:gd name="connsiteY47" fmla="*/ 35817 h 68362"/>
                <a:gd name="connsiteX48" fmla="*/ 26733 w 139231"/>
                <a:gd name="connsiteY48" fmla="*/ 33518 h 68362"/>
                <a:gd name="connsiteX49" fmla="*/ 27742 w 139231"/>
                <a:gd name="connsiteY49" fmla="*/ 31960 h 68362"/>
                <a:gd name="connsiteX50" fmla="*/ 17577 w 139231"/>
                <a:gd name="connsiteY50" fmla="*/ 18061 h 68362"/>
                <a:gd name="connsiteX51" fmla="*/ 18746 w 139231"/>
                <a:gd name="connsiteY51" fmla="*/ 18475 h 68362"/>
                <a:gd name="connsiteX52" fmla="*/ 18966 w 139231"/>
                <a:gd name="connsiteY52" fmla="*/ 19857 h 68362"/>
                <a:gd name="connsiteX53" fmla="*/ 19260 w 139231"/>
                <a:gd name="connsiteY53" fmla="*/ 20406 h 68362"/>
                <a:gd name="connsiteX54" fmla="*/ 23337 w 139231"/>
                <a:gd name="connsiteY54" fmla="*/ 21184 h 68362"/>
                <a:gd name="connsiteX55" fmla="*/ 24924 w 139231"/>
                <a:gd name="connsiteY55" fmla="*/ 23505 h 68362"/>
                <a:gd name="connsiteX56" fmla="*/ 25522 w 139231"/>
                <a:gd name="connsiteY56" fmla="*/ 26295 h 68362"/>
                <a:gd name="connsiteX57" fmla="*/ 23643 w 139231"/>
                <a:gd name="connsiteY57" fmla="*/ 26524 h 68362"/>
                <a:gd name="connsiteX58" fmla="*/ 21829 w 139231"/>
                <a:gd name="connsiteY58" fmla="*/ 28128 h 68362"/>
                <a:gd name="connsiteX59" fmla="*/ 20749 w 139231"/>
                <a:gd name="connsiteY59" fmla="*/ 27487 h 68362"/>
                <a:gd name="connsiteX60" fmla="*/ 20184 w 139231"/>
                <a:gd name="connsiteY60" fmla="*/ 26718 h 68362"/>
                <a:gd name="connsiteX61" fmla="*/ 17843 w 139231"/>
                <a:gd name="connsiteY61" fmla="*/ 30342 h 68362"/>
                <a:gd name="connsiteX62" fmla="*/ 15206 w 139231"/>
                <a:gd name="connsiteY62" fmla="*/ 30963 h 68362"/>
                <a:gd name="connsiteX63" fmla="*/ 13669 w 139231"/>
                <a:gd name="connsiteY63" fmla="*/ 30248 h 68362"/>
                <a:gd name="connsiteX64" fmla="*/ 13807 w 139231"/>
                <a:gd name="connsiteY64" fmla="*/ 28895 h 68362"/>
                <a:gd name="connsiteX65" fmla="*/ 12306 w 139231"/>
                <a:gd name="connsiteY65" fmla="*/ 25339 h 68362"/>
                <a:gd name="connsiteX66" fmla="*/ 10015 w 139231"/>
                <a:gd name="connsiteY66" fmla="*/ 24297 h 68362"/>
                <a:gd name="connsiteX67" fmla="*/ 6798 w 139231"/>
                <a:gd name="connsiteY67" fmla="*/ 24199 h 68362"/>
                <a:gd name="connsiteX68" fmla="*/ 4461 w 139231"/>
                <a:gd name="connsiteY68" fmla="*/ 22732 h 68362"/>
                <a:gd name="connsiteX69" fmla="*/ 13446 w 139231"/>
                <a:gd name="connsiteY69" fmla="*/ 21733 h 68362"/>
                <a:gd name="connsiteX70" fmla="*/ 14375 w 139231"/>
                <a:gd name="connsiteY70" fmla="*/ 20036 h 68362"/>
                <a:gd name="connsiteX71" fmla="*/ 16202 w 139231"/>
                <a:gd name="connsiteY71" fmla="*/ 18254 h 68362"/>
                <a:gd name="connsiteX72" fmla="*/ 80815 w 139231"/>
                <a:gd name="connsiteY72" fmla="*/ 0 h 68362"/>
                <a:gd name="connsiteX73" fmla="*/ 83169 w 139231"/>
                <a:gd name="connsiteY73" fmla="*/ 377 h 68362"/>
                <a:gd name="connsiteX74" fmla="*/ 87105 w 139231"/>
                <a:gd name="connsiteY74" fmla="*/ 143 h 68362"/>
                <a:gd name="connsiteX75" fmla="*/ 101856 w 139231"/>
                <a:gd name="connsiteY75" fmla="*/ 2795 h 68362"/>
                <a:gd name="connsiteX76" fmla="*/ 105486 w 139231"/>
                <a:gd name="connsiteY76" fmla="*/ 2795 h 68362"/>
                <a:gd name="connsiteX77" fmla="*/ 110506 w 139231"/>
                <a:gd name="connsiteY77" fmla="*/ 5489 h 68362"/>
                <a:gd name="connsiteX78" fmla="*/ 113219 w 139231"/>
                <a:gd name="connsiteY78" fmla="*/ 6182 h 68362"/>
                <a:gd name="connsiteX79" fmla="*/ 121204 w 139231"/>
                <a:gd name="connsiteY79" fmla="*/ 6187 h 68362"/>
                <a:gd name="connsiteX80" fmla="*/ 133515 w 139231"/>
                <a:gd name="connsiteY80" fmla="*/ 7375 h 68362"/>
                <a:gd name="connsiteX81" fmla="*/ 135931 w 139231"/>
                <a:gd name="connsiteY81" fmla="*/ 5553 h 68362"/>
                <a:gd name="connsiteX82" fmla="*/ 136166 w 139231"/>
                <a:gd name="connsiteY82" fmla="*/ 5079 h 68362"/>
                <a:gd name="connsiteX83" fmla="*/ 137345 w 139231"/>
                <a:gd name="connsiteY83" fmla="*/ 6099 h 68362"/>
                <a:gd name="connsiteX84" fmla="*/ 138831 w 139231"/>
                <a:gd name="connsiteY84" fmla="*/ 7740 h 68362"/>
                <a:gd name="connsiteX85" fmla="*/ 139231 w 139231"/>
                <a:gd name="connsiteY85" fmla="*/ 8678 h 68362"/>
                <a:gd name="connsiteX86" fmla="*/ 138728 w 139231"/>
                <a:gd name="connsiteY86" fmla="*/ 9229 h 68362"/>
                <a:gd name="connsiteX87" fmla="*/ 137246 w 139231"/>
                <a:gd name="connsiteY87" fmla="*/ 9697 h 68362"/>
                <a:gd name="connsiteX88" fmla="*/ 136909 w 139231"/>
                <a:gd name="connsiteY88" fmla="*/ 10202 h 68362"/>
                <a:gd name="connsiteX89" fmla="*/ 136253 w 139231"/>
                <a:gd name="connsiteY89" fmla="*/ 11056 h 68362"/>
                <a:gd name="connsiteX90" fmla="*/ 134523 w 139231"/>
                <a:gd name="connsiteY90" fmla="*/ 11210 h 68362"/>
                <a:gd name="connsiteX91" fmla="*/ 133627 w 139231"/>
                <a:gd name="connsiteY91" fmla="*/ 11843 h 68362"/>
                <a:gd name="connsiteX92" fmla="*/ 132562 w 139231"/>
                <a:gd name="connsiteY92" fmla="*/ 14618 h 68362"/>
                <a:gd name="connsiteX93" fmla="*/ 130530 w 139231"/>
                <a:gd name="connsiteY93" fmla="*/ 19205 h 68362"/>
                <a:gd name="connsiteX94" fmla="*/ 127527 w 139231"/>
                <a:gd name="connsiteY94" fmla="*/ 22688 h 68362"/>
                <a:gd name="connsiteX95" fmla="*/ 125123 w 139231"/>
                <a:gd name="connsiteY95" fmla="*/ 24595 h 68362"/>
                <a:gd name="connsiteX96" fmla="*/ 124048 w 139231"/>
                <a:gd name="connsiteY96" fmla="*/ 26056 h 68362"/>
                <a:gd name="connsiteX97" fmla="*/ 123378 w 139231"/>
                <a:gd name="connsiteY97" fmla="*/ 27810 h 68362"/>
                <a:gd name="connsiteX98" fmla="*/ 123221 w 139231"/>
                <a:gd name="connsiteY98" fmla="*/ 29568 h 68362"/>
                <a:gd name="connsiteX99" fmla="*/ 125527 w 139231"/>
                <a:gd name="connsiteY99" fmla="*/ 39200 h 68362"/>
                <a:gd name="connsiteX100" fmla="*/ 125499 w 139231"/>
                <a:gd name="connsiteY100" fmla="*/ 40934 h 68362"/>
                <a:gd name="connsiteX101" fmla="*/ 124957 w 139231"/>
                <a:gd name="connsiteY101" fmla="*/ 42713 h 68362"/>
                <a:gd name="connsiteX102" fmla="*/ 124564 w 139231"/>
                <a:gd name="connsiteY102" fmla="*/ 44524 h 68362"/>
                <a:gd name="connsiteX103" fmla="*/ 124888 w 139231"/>
                <a:gd name="connsiteY103" fmla="*/ 46092 h 68362"/>
                <a:gd name="connsiteX104" fmla="*/ 126406 w 139231"/>
                <a:gd name="connsiteY104" fmla="*/ 48768 h 68362"/>
                <a:gd name="connsiteX105" fmla="*/ 128021 w 139231"/>
                <a:gd name="connsiteY105" fmla="*/ 52754 h 68362"/>
                <a:gd name="connsiteX106" fmla="*/ 128669 w 139231"/>
                <a:gd name="connsiteY106" fmla="*/ 55296 h 68362"/>
                <a:gd name="connsiteX107" fmla="*/ 129742 w 139231"/>
                <a:gd name="connsiteY107" fmla="*/ 56229 h 68362"/>
                <a:gd name="connsiteX108" fmla="*/ 130776 w 139231"/>
                <a:gd name="connsiteY108" fmla="*/ 56912 h 68362"/>
                <a:gd name="connsiteX109" fmla="*/ 130993 w 139231"/>
                <a:gd name="connsiteY109" fmla="*/ 57342 h 68362"/>
                <a:gd name="connsiteX110" fmla="*/ 130958 w 139231"/>
                <a:gd name="connsiteY110" fmla="*/ 57789 h 68362"/>
                <a:gd name="connsiteX111" fmla="*/ 130425 w 139231"/>
                <a:gd name="connsiteY111" fmla="*/ 58292 h 68362"/>
                <a:gd name="connsiteX112" fmla="*/ 125765 w 139231"/>
                <a:gd name="connsiteY112" fmla="*/ 59622 h 68362"/>
                <a:gd name="connsiteX113" fmla="*/ 125160 w 139231"/>
                <a:gd name="connsiteY113" fmla="*/ 60748 h 68362"/>
                <a:gd name="connsiteX114" fmla="*/ 124657 w 139231"/>
                <a:gd name="connsiteY114" fmla="*/ 62002 h 68362"/>
                <a:gd name="connsiteX115" fmla="*/ 122623 w 139231"/>
                <a:gd name="connsiteY115" fmla="*/ 63858 h 68362"/>
                <a:gd name="connsiteX116" fmla="*/ 121999 w 139231"/>
                <a:gd name="connsiteY116" fmla="*/ 65588 h 68362"/>
                <a:gd name="connsiteX117" fmla="*/ 121612 w 139231"/>
                <a:gd name="connsiteY117" fmla="*/ 67573 h 68362"/>
                <a:gd name="connsiteX118" fmla="*/ 121560 w 139231"/>
                <a:gd name="connsiteY118" fmla="*/ 68279 h 68362"/>
                <a:gd name="connsiteX119" fmla="*/ 120999 w 139231"/>
                <a:gd name="connsiteY119" fmla="*/ 68362 h 68362"/>
                <a:gd name="connsiteX120" fmla="*/ 117915 w 139231"/>
                <a:gd name="connsiteY120" fmla="*/ 67954 h 68362"/>
                <a:gd name="connsiteX121" fmla="*/ 114517 w 139231"/>
                <a:gd name="connsiteY121" fmla="*/ 66666 h 68362"/>
                <a:gd name="connsiteX122" fmla="*/ 113026 w 139231"/>
                <a:gd name="connsiteY122" fmla="*/ 65698 h 68362"/>
                <a:gd name="connsiteX123" fmla="*/ 111563 w 139231"/>
                <a:gd name="connsiteY123" fmla="*/ 65708 h 68362"/>
                <a:gd name="connsiteX124" fmla="*/ 109792 w 139231"/>
                <a:gd name="connsiteY124" fmla="*/ 66348 h 68362"/>
                <a:gd name="connsiteX125" fmla="*/ 103443 w 139231"/>
                <a:gd name="connsiteY125" fmla="*/ 68187 h 68362"/>
                <a:gd name="connsiteX126" fmla="*/ 101884 w 139231"/>
                <a:gd name="connsiteY126" fmla="*/ 67758 h 68362"/>
                <a:gd name="connsiteX127" fmla="*/ 98256 w 139231"/>
                <a:gd name="connsiteY127" fmla="*/ 65954 h 68362"/>
                <a:gd name="connsiteX128" fmla="*/ 96421 w 139231"/>
                <a:gd name="connsiteY128" fmla="*/ 63988 h 68362"/>
                <a:gd name="connsiteX129" fmla="*/ 92337 w 139231"/>
                <a:gd name="connsiteY129" fmla="*/ 60066 h 68362"/>
                <a:gd name="connsiteX130" fmla="*/ 92003 w 139231"/>
                <a:gd name="connsiteY130" fmla="*/ 59132 h 68362"/>
                <a:gd name="connsiteX131" fmla="*/ 91469 w 139231"/>
                <a:gd name="connsiteY131" fmla="*/ 58383 h 68362"/>
                <a:gd name="connsiteX132" fmla="*/ 87105 w 139231"/>
                <a:gd name="connsiteY132" fmla="*/ 57411 h 68362"/>
                <a:gd name="connsiteX133" fmla="*/ 85494 w 139231"/>
                <a:gd name="connsiteY133" fmla="*/ 55962 h 68362"/>
                <a:gd name="connsiteX134" fmla="*/ 84151 w 139231"/>
                <a:gd name="connsiteY134" fmla="*/ 55759 h 68362"/>
                <a:gd name="connsiteX135" fmla="*/ 82186 w 139231"/>
                <a:gd name="connsiteY135" fmla="*/ 55035 h 68362"/>
                <a:gd name="connsiteX136" fmla="*/ 77073 w 139231"/>
                <a:gd name="connsiteY136" fmla="*/ 51935 h 68362"/>
                <a:gd name="connsiteX137" fmla="*/ 75803 w 139231"/>
                <a:gd name="connsiteY137" fmla="*/ 51645 h 68362"/>
                <a:gd name="connsiteX138" fmla="*/ 75494 w 139231"/>
                <a:gd name="connsiteY138" fmla="*/ 52167 h 68362"/>
                <a:gd name="connsiteX139" fmla="*/ 75583 w 139231"/>
                <a:gd name="connsiteY139" fmla="*/ 52900 h 68362"/>
                <a:gd name="connsiteX140" fmla="*/ 75265 w 139231"/>
                <a:gd name="connsiteY140" fmla="*/ 53324 h 68362"/>
                <a:gd name="connsiteX141" fmla="*/ 74611 w 139231"/>
                <a:gd name="connsiteY141" fmla="*/ 53310 h 68362"/>
                <a:gd name="connsiteX142" fmla="*/ 73428 w 139231"/>
                <a:gd name="connsiteY142" fmla="*/ 52170 h 68362"/>
                <a:gd name="connsiteX143" fmla="*/ 72009 w 139231"/>
                <a:gd name="connsiteY143" fmla="*/ 51166 h 68362"/>
                <a:gd name="connsiteX144" fmla="*/ 67593 w 139231"/>
                <a:gd name="connsiteY144" fmla="*/ 53053 h 68362"/>
                <a:gd name="connsiteX145" fmla="*/ 65995 w 139231"/>
                <a:gd name="connsiteY145" fmla="*/ 53562 h 68362"/>
                <a:gd name="connsiteX146" fmla="*/ 64596 w 139231"/>
                <a:gd name="connsiteY146" fmla="*/ 53673 h 68362"/>
                <a:gd name="connsiteX147" fmla="*/ 57589 w 139231"/>
                <a:gd name="connsiteY147" fmla="*/ 56153 h 68362"/>
                <a:gd name="connsiteX148" fmla="*/ 55457 w 139231"/>
                <a:gd name="connsiteY148" fmla="*/ 57488 h 68362"/>
                <a:gd name="connsiteX149" fmla="*/ 54574 w 139231"/>
                <a:gd name="connsiteY149" fmla="*/ 57345 h 68362"/>
                <a:gd name="connsiteX150" fmla="*/ 54783 w 139231"/>
                <a:gd name="connsiteY150" fmla="*/ 56092 h 68362"/>
                <a:gd name="connsiteX151" fmla="*/ 57699 w 139231"/>
                <a:gd name="connsiteY151" fmla="*/ 49800 h 68362"/>
                <a:gd name="connsiteX152" fmla="*/ 58221 w 139231"/>
                <a:gd name="connsiteY152" fmla="*/ 44795 h 68362"/>
                <a:gd name="connsiteX153" fmla="*/ 59288 w 139231"/>
                <a:gd name="connsiteY153" fmla="*/ 44107 h 68362"/>
                <a:gd name="connsiteX154" fmla="*/ 59597 w 139231"/>
                <a:gd name="connsiteY154" fmla="*/ 43412 h 68362"/>
                <a:gd name="connsiteX155" fmla="*/ 59141 w 139231"/>
                <a:gd name="connsiteY155" fmla="*/ 41812 h 68362"/>
                <a:gd name="connsiteX156" fmla="*/ 56114 w 139231"/>
                <a:gd name="connsiteY156" fmla="*/ 40786 h 68362"/>
                <a:gd name="connsiteX157" fmla="*/ 54892 w 139231"/>
                <a:gd name="connsiteY157" fmla="*/ 40937 h 68362"/>
                <a:gd name="connsiteX158" fmla="*/ 53792 w 139231"/>
                <a:gd name="connsiteY158" fmla="*/ 42657 h 68362"/>
                <a:gd name="connsiteX159" fmla="*/ 52652 w 139231"/>
                <a:gd name="connsiteY159" fmla="*/ 43896 h 68362"/>
                <a:gd name="connsiteX160" fmla="*/ 49981 w 139231"/>
                <a:gd name="connsiteY160" fmla="*/ 44651 h 68362"/>
                <a:gd name="connsiteX161" fmla="*/ 47684 w 139231"/>
                <a:gd name="connsiteY161" fmla="*/ 43346 h 68362"/>
                <a:gd name="connsiteX162" fmla="*/ 42302 w 139231"/>
                <a:gd name="connsiteY162" fmla="*/ 41600 h 68362"/>
                <a:gd name="connsiteX163" fmla="*/ 40942 w 139231"/>
                <a:gd name="connsiteY163" fmla="*/ 39272 h 68362"/>
                <a:gd name="connsiteX164" fmla="*/ 40620 w 139231"/>
                <a:gd name="connsiteY164" fmla="*/ 36928 h 68362"/>
                <a:gd name="connsiteX165" fmla="*/ 37774 w 139231"/>
                <a:gd name="connsiteY165" fmla="*/ 34658 h 68362"/>
                <a:gd name="connsiteX166" fmla="*/ 36591 w 139231"/>
                <a:gd name="connsiteY166" fmla="*/ 31982 h 68362"/>
                <a:gd name="connsiteX167" fmla="*/ 37064 w 139231"/>
                <a:gd name="connsiteY167" fmla="*/ 30112 h 68362"/>
                <a:gd name="connsiteX168" fmla="*/ 39646 w 139231"/>
                <a:gd name="connsiteY168" fmla="*/ 28884 h 68362"/>
                <a:gd name="connsiteX169" fmla="*/ 40383 w 139231"/>
                <a:gd name="connsiteY169" fmla="*/ 27813 h 68362"/>
                <a:gd name="connsiteX170" fmla="*/ 37128 w 139231"/>
                <a:gd name="connsiteY170" fmla="*/ 27983 h 68362"/>
                <a:gd name="connsiteX171" fmla="*/ 36466 w 139231"/>
                <a:gd name="connsiteY171" fmla="*/ 27726 h 68362"/>
                <a:gd name="connsiteX172" fmla="*/ 36323 w 139231"/>
                <a:gd name="connsiteY172" fmla="*/ 26763 h 68362"/>
                <a:gd name="connsiteX173" fmla="*/ 34883 w 139231"/>
                <a:gd name="connsiteY173" fmla="*/ 23478 h 68362"/>
                <a:gd name="connsiteX174" fmla="*/ 36157 w 139231"/>
                <a:gd name="connsiteY174" fmla="*/ 22183 h 68362"/>
                <a:gd name="connsiteX175" fmla="*/ 36718 w 139231"/>
                <a:gd name="connsiteY175" fmla="*/ 20923 h 68362"/>
                <a:gd name="connsiteX176" fmla="*/ 35673 w 139231"/>
                <a:gd name="connsiteY176" fmla="*/ 19850 h 68362"/>
                <a:gd name="connsiteX177" fmla="*/ 35947 w 139231"/>
                <a:gd name="connsiteY177" fmla="*/ 18629 h 68362"/>
                <a:gd name="connsiteX178" fmla="*/ 36761 w 139231"/>
                <a:gd name="connsiteY178" fmla="*/ 17394 h 68362"/>
                <a:gd name="connsiteX179" fmla="*/ 36262 w 139231"/>
                <a:gd name="connsiteY179" fmla="*/ 14521 h 68362"/>
                <a:gd name="connsiteX180" fmla="*/ 39493 w 139231"/>
                <a:gd name="connsiteY180" fmla="*/ 12997 h 68362"/>
                <a:gd name="connsiteX181" fmla="*/ 42633 w 139231"/>
                <a:gd name="connsiteY181" fmla="*/ 11924 h 68362"/>
                <a:gd name="connsiteX182" fmla="*/ 49286 w 139231"/>
                <a:gd name="connsiteY182" fmla="*/ 11377 h 68362"/>
                <a:gd name="connsiteX183" fmla="*/ 48627 w 139231"/>
                <a:gd name="connsiteY183" fmla="*/ 8747 h 68362"/>
                <a:gd name="connsiteX184" fmla="*/ 51320 w 139231"/>
                <a:gd name="connsiteY184" fmla="*/ 8628 h 68362"/>
                <a:gd name="connsiteX185" fmla="*/ 55852 w 139231"/>
                <a:gd name="connsiteY185" fmla="*/ 5460 h 68362"/>
                <a:gd name="connsiteX186" fmla="*/ 60346 w 139231"/>
                <a:gd name="connsiteY186" fmla="*/ 6017 h 68362"/>
                <a:gd name="connsiteX187" fmla="*/ 66846 w 139231"/>
                <a:gd name="connsiteY187" fmla="*/ 3840 h 68362"/>
                <a:gd name="connsiteX188" fmla="*/ 79366 w 139231"/>
                <a:gd name="connsiteY188" fmla="*/ 3870 h 68362"/>
                <a:gd name="connsiteX189" fmla="*/ 81072 w 139231"/>
                <a:gd name="connsiteY189" fmla="*/ 2612 h 68362"/>
                <a:gd name="connsiteX190" fmla="*/ 80774 w 139231"/>
                <a:gd name="connsiteY190" fmla="*/ 1348 h 68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Lst>
              <a:rect l="l" t="t" r="r" b="b"/>
              <a:pathLst>
                <a:path w="139231" h="68362">
                  <a:moveTo>
                    <a:pt x="15312" y="32990"/>
                  </a:moveTo>
                  <a:lnTo>
                    <a:pt x="16869" y="33189"/>
                  </a:lnTo>
                  <a:lnTo>
                    <a:pt x="18439" y="33973"/>
                  </a:lnTo>
                  <a:lnTo>
                    <a:pt x="19886" y="33725"/>
                  </a:lnTo>
                  <a:lnTo>
                    <a:pt x="21352" y="33180"/>
                  </a:lnTo>
                  <a:lnTo>
                    <a:pt x="24539" y="33692"/>
                  </a:lnTo>
                  <a:lnTo>
                    <a:pt x="31805" y="37642"/>
                  </a:lnTo>
                  <a:lnTo>
                    <a:pt x="32477" y="38697"/>
                  </a:lnTo>
                  <a:lnTo>
                    <a:pt x="28141" y="39176"/>
                  </a:lnTo>
                  <a:lnTo>
                    <a:pt x="27156" y="40385"/>
                  </a:lnTo>
                  <a:lnTo>
                    <a:pt x="26114" y="41230"/>
                  </a:lnTo>
                  <a:lnTo>
                    <a:pt x="24885" y="41502"/>
                  </a:lnTo>
                  <a:lnTo>
                    <a:pt x="22790" y="43197"/>
                  </a:lnTo>
                  <a:lnTo>
                    <a:pt x="19957" y="44819"/>
                  </a:lnTo>
                  <a:lnTo>
                    <a:pt x="19365" y="45792"/>
                  </a:lnTo>
                  <a:lnTo>
                    <a:pt x="14239" y="45613"/>
                  </a:lnTo>
                  <a:lnTo>
                    <a:pt x="11436" y="46227"/>
                  </a:lnTo>
                  <a:lnTo>
                    <a:pt x="9173" y="48040"/>
                  </a:lnTo>
                  <a:lnTo>
                    <a:pt x="8244" y="51538"/>
                  </a:lnTo>
                  <a:lnTo>
                    <a:pt x="6588" y="54265"/>
                  </a:lnTo>
                  <a:lnTo>
                    <a:pt x="4904" y="55250"/>
                  </a:lnTo>
                  <a:lnTo>
                    <a:pt x="3148" y="55400"/>
                  </a:lnTo>
                  <a:lnTo>
                    <a:pt x="2732" y="54377"/>
                  </a:lnTo>
                  <a:lnTo>
                    <a:pt x="2898" y="53355"/>
                  </a:lnTo>
                  <a:lnTo>
                    <a:pt x="6599" y="49499"/>
                  </a:lnTo>
                  <a:lnTo>
                    <a:pt x="7368" y="48246"/>
                  </a:lnTo>
                  <a:lnTo>
                    <a:pt x="5526" y="47689"/>
                  </a:lnTo>
                  <a:lnTo>
                    <a:pt x="3982" y="46348"/>
                  </a:lnTo>
                  <a:lnTo>
                    <a:pt x="611" y="44772"/>
                  </a:lnTo>
                  <a:lnTo>
                    <a:pt x="0" y="43506"/>
                  </a:lnTo>
                  <a:lnTo>
                    <a:pt x="808" y="43412"/>
                  </a:lnTo>
                  <a:lnTo>
                    <a:pt x="1546" y="43049"/>
                  </a:lnTo>
                  <a:lnTo>
                    <a:pt x="2444" y="41987"/>
                  </a:lnTo>
                  <a:lnTo>
                    <a:pt x="2865" y="40767"/>
                  </a:lnTo>
                  <a:lnTo>
                    <a:pt x="173" y="37200"/>
                  </a:lnTo>
                  <a:lnTo>
                    <a:pt x="1546" y="36648"/>
                  </a:lnTo>
                  <a:lnTo>
                    <a:pt x="3258" y="36778"/>
                  </a:lnTo>
                  <a:lnTo>
                    <a:pt x="5016" y="37815"/>
                  </a:lnTo>
                  <a:lnTo>
                    <a:pt x="6945" y="36598"/>
                  </a:lnTo>
                  <a:lnTo>
                    <a:pt x="7763" y="36418"/>
                  </a:lnTo>
                  <a:lnTo>
                    <a:pt x="9113" y="36852"/>
                  </a:lnTo>
                  <a:lnTo>
                    <a:pt x="10473" y="34496"/>
                  </a:lnTo>
                  <a:lnTo>
                    <a:pt x="13708" y="33718"/>
                  </a:lnTo>
                  <a:close/>
                  <a:moveTo>
                    <a:pt x="28987" y="31348"/>
                  </a:moveTo>
                  <a:lnTo>
                    <a:pt x="32689" y="32304"/>
                  </a:lnTo>
                  <a:lnTo>
                    <a:pt x="33211" y="34668"/>
                  </a:lnTo>
                  <a:lnTo>
                    <a:pt x="32926" y="35482"/>
                  </a:lnTo>
                  <a:lnTo>
                    <a:pt x="31086" y="35817"/>
                  </a:lnTo>
                  <a:lnTo>
                    <a:pt x="26733" y="33518"/>
                  </a:lnTo>
                  <a:lnTo>
                    <a:pt x="27742" y="31960"/>
                  </a:lnTo>
                  <a:close/>
                  <a:moveTo>
                    <a:pt x="17577" y="18061"/>
                  </a:moveTo>
                  <a:lnTo>
                    <a:pt x="18746" y="18475"/>
                  </a:lnTo>
                  <a:lnTo>
                    <a:pt x="18966" y="19857"/>
                  </a:lnTo>
                  <a:lnTo>
                    <a:pt x="19260" y="20406"/>
                  </a:lnTo>
                  <a:lnTo>
                    <a:pt x="23337" y="21184"/>
                  </a:lnTo>
                  <a:lnTo>
                    <a:pt x="24924" y="23505"/>
                  </a:lnTo>
                  <a:lnTo>
                    <a:pt x="25522" y="26295"/>
                  </a:lnTo>
                  <a:lnTo>
                    <a:pt x="23643" y="26524"/>
                  </a:lnTo>
                  <a:lnTo>
                    <a:pt x="21829" y="28128"/>
                  </a:lnTo>
                  <a:lnTo>
                    <a:pt x="20749" y="27487"/>
                  </a:lnTo>
                  <a:lnTo>
                    <a:pt x="20184" y="26718"/>
                  </a:lnTo>
                  <a:lnTo>
                    <a:pt x="17843" y="30342"/>
                  </a:lnTo>
                  <a:lnTo>
                    <a:pt x="15206" y="30963"/>
                  </a:lnTo>
                  <a:lnTo>
                    <a:pt x="13669" y="30248"/>
                  </a:lnTo>
                  <a:lnTo>
                    <a:pt x="13807" y="28895"/>
                  </a:lnTo>
                  <a:lnTo>
                    <a:pt x="12306" y="25339"/>
                  </a:lnTo>
                  <a:lnTo>
                    <a:pt x="10015" y="24297"/>
                  </a:lnTo>
                  <a:lnTo>
                    <a:pt x="6798" y="24199"/>
                  </a:lnTo>
                  <a:lnTo>
                    <a:pt x="4461" y="22732"/>
                  </a:lnTo>
                  <a:lnTo>
                    <a:pt x="13446" y="21733"/>
                  </a:lnTo>
                  <a:lnTo>
                    <a:pt x="14375" y="20036"/>
                  </a:lnTo>
                  <a:lnTo>
                    <a:pt x="16202" y="18254"/>
                  </a:lnTo>
                  <a:close/>
                  <a:moveTo>
                    <a:pt x="80815" y="0"/>
                  </a:moveTo>
                  <a:lnTo>
                    <a:pt x="83169" y="377"/>
                  </a:lnTo>
                  <a:lnTo>
                    <a:pt x="87105" y="143"/>
                  </a:lnTo>
                  <a:lnTo>
                    <a:pt x="101856" y="2795"/>
                  </a:lnTo>
                  <a:lnTo>
                    <a:pt x="105486" y="2795"/>
                  </a:lnTo>
                  <a:lnTo>
                    <a:pt x="110506" y="5489"/>
                  </a:lnTo>
                  <a:lnTo>
                    <a:pt x="113219" y="6182"/>
                  </a:lnTo>
                  <a:lnTo>
                    <a:pt x="121204" y="6187"/>
                  </a:lnTo>
                  <a:lnTo>
                    <a:pt x="133515" y="7375"/>
                  </a:lnTo>
                  <a:lnTo>
                    <a:pt x="135931" y="5553"/>
                  </a:lnTo>
                  <a:lnTo>
                    <a:pt x="136166" y="5079"/>
                  </a:lnTo>
                  <a:lnTo>
                    <a:pt x="137345" y="6099"/>
                  </a:lnTo>
                  <a:lnTo>
                    <a:pt x="138831" y="7740"/>
                  </a:lnTo>
                  <a:lnTo>
                    <a:pt x="139231" y="8678"/>
                  </a:lnTo>
                  <a:lnTo>
                    <a:pt x="138728" y="9229"/>
                  </a:lnTo>
                  <a:lnTo>
                    <a:pt x="137246" y="9697"/>
                  </a:lnTo>
                  <a:lnTo>
                    <a:pt x="136909" y="10202"/>
                  </a:lnTo>
                  <a:lnTo>
                    <a:pt x="136253" y="11056"/>
                  </a:lnTo>
                  <a:lnTo>
                    <a:pt x="134523" y="11210"/>
                  </a:lnTo>
                  <a:lnTo>
                    <a:pt x="133627" y="11843"/>
                  </a:lnTo>
                  <a:lnTo>
                    <a:pt x="132562" y="14618"/>
                  </a:lnTo>
                  <a:lnTo>
                    <a:pt x="130530" y="19205"/>
                  </a:lnTo>
                  <a:lnTo>
                    <a:pt x="127527" y="22688"/>
                  </a:lnTo>
                  <a:lnTo>
                    <a:pt x="125123" y="24595"/>
                  </a:lnTo>
                  <a:lnTo>
                    <a:pt x="124048" y="26056"/>
                  </a:lnTo>
                  <a:lnTo>
                    <a:pt x="123378" y="27810"/>
                  </a:lnTo>
                  <a:lnTo>
                    <a:pt x="123221" y="29568"/>
                  </a:lnTo>
                  <a:lnTo>
                    <a:pt x="125527" y="39200"/>
                  </a:lnTo>
                  <a:lnTo>
                    <a:pt x="125499" y="40934"/>
                  </a:lnTo>
                  <a:lnTo>
                    <a:pt x="124957" y="42713"/>
                  </a:lnTo>
                  <a:lnTo>
                    <a:pt x="124564" y="44524"/>
                  </a:lnTo>
                  <a:lnTo>
                    <a:pt x="124888" y="46092"/>
                  </a:lnTo>
                  <a:lnTo>
                    <a:pt x="126406" y="48768"/>
                  </a:lnTo>
                  <a:lnTo>
                    <a:pt x="128021" y="52754"/>
                  </a:lnTo>
                  <a:lnTo>
                    <a:pt x="128669" y="55296"/>
                  </a:lnTo>
                  <a:lnTo>
                    <a:pt x="129742" y="56229"/>
                  </a:lnTo>
                  <a:lnTo>
                    <a:pt x="130776" y="56912"/>
                  </a:lnTo>
                  <a:lnTo>
                    <a:pt x="130993" y="57342"/>
                  </a:lnTo>
                  <a:lnTo>
                    <a:pt x="130958" y="57789"/>
                  </a:lnTo>
                  <a:lnTo>
                    <a:pt x="130425" y="58292"/>
                  </a:lnTo>
                  <a:lnTo>
                    <a:pt x="125765" y="59622"/>
                  </a:lnTo>
                  <a:lnTo>
                    <a:pt x="125160" y="60748"/>
                  </a:lnTo>
                  <a:lnTo>
                    <a:pt x="124657" y="62002"/>
                  </a:lnTo>
                  <a:lnTo>
                    <a:pt x="122623" y="63858"/>
                  </a:lnTo>
                  <a:lnTo>
                    <a:pt x="121999" y="65588"/>
                  </a:lnTo>
                  <a:lnTo>
                    <a:pt x="121612" y="67573"/>
                  </a:lnTo>
                  <a:lnTo>
                    <a:pt x="121560" y="68279"/>
                  </a:lnTo>
                  <a:lnTo>
                    <a:pt x="120999" y="68362"/>
                  </a:lnTo>
                  <a:lnTo>
                    <a:pt x="117915" y="67954"/>
                  </a:lnTo>
                  <a:lnTo>
                    <a:pt x="114517" y="66666"/>
                  </a:lnTo>
                  <a:lnTo>
                    <a:pt x="113026" y="65698"/>
                  </a:lnTo>
                  <a:lnTo>
                    <a:pt x="111563" y="65708"/>
                  </a:lnTo>
                  <a:lnTo>
                    <a:pt x="109792" y="66348"/>
                  </a:lnTo>
                  <a:lnTo>
                    <a:pt x="103443" y="68187"/>
                  </a:lnTo>
                  <a:lnTo>
                    <a:pt x="101884" y="67758"/>
                  </a:lnTo>
                  <a:lnTo>
                    <a:pt x="98256" y="65954"/>
                  </a:lnTo>
                  <a:lnTo>
                    <a:pt x="96421" y="63988"/>
                  </a:lnTo>
                  <a:lnTo>
                    <a:pt x="92337" y="60066"/>
                  </a:lnTo>
                  <a:lnTo>
                    <a:pt x="92003" y="59132"/>
                  </a:lnTo>
                  <a:lnTo>
                    <a:pt x="91469" y="58383"/>
                  </a:lnTo>
                  <a:lnTo>
                    <a:pt x="87105" y="57411"/>
                  </a:lnTo>
                  <a:lnTo>
                    <a:pt x="85494" y="55962"/>
                  </a:lnTo>
                  <a:lnTo>
                    <a:pt x="84151" y="55759"/>
                  </a:lnTo>
                  <a:lnTo>
                    <a:pt x="82186" y="55035"/>
                  </a:lnTo>
                  <a:lnTo>
                    <a:pt x="77073" y="51935"/>
                  </a:lnTo>
                  <a:lnTo>
                    <a:pt x="75803" y="51645"/>
                  </a:lnTo>
                  <a:lnTo>
                    <a:pt x="75494" y="52167"/>
                  </a:lnTo>
                  <a:lnTo>
                    <a:pt x="75583" y="52900"/>
                  </a:lnTo>
                  <a:lnTo>
                    <a:pt x="75265" y="53324"/>
                  </a:lnTo>
                  <a:lnTo>
                    <a:pt x="74611" y="53310"/>
                  </a:lnTo>
                  <a:lnTo>
                    <a:pt x="73428" y="52170"/>
                  </a:lnTo>
                  <a:lnTo>
                    <a:pt x="72009" y="51166"/>
                  </a:lnTo>
                  <a:lnTo>
                    <a:pt x="67593" y="53053"/>
                  </a:lnTo>
                  <a:lnTo>
                    <a:pt x="65995" y="53562"/>
                  </a:lnTo>
                  <a:lnTo>
                    <a:pt x="64596" y="53673"/>
                  </a:lnTo>
                  <a:lnTo>
                    <a:pt x="57589" y="56153"/>
                  </a:lnTo>
                  <a:lnTo>
                    <a:pt x="55457" y="57488"/>
                  </a:lnTo>
                  <a:lnTo>
                    <a:pt x="54574" y="57345"/>
                  </a:lnTo>
                  <a:lnTo>
                    <a:pt x="54783" y="56092"/>
                  </a:lnTo>
                  <a:lnTo>
                    <a:pt x="57699" y="49800"/>
                  </a:lnTo>
                  <a:lnTo>
                    <a:pt x="58221" y="44795"/>
                  </a:lnTo>
                  <a:lnTo>
                    <a:pt x="59288" y="44107"/>
                  </a:lnTo>
                  <a:lnTo>
                    <a:pt x="59597" y="43412"/>
                  </a:lnTo>
                  <a:lnTo>
                    <a:pt x="59141" y="41812"/>
                  </a:lnTo>
                  <a:lnTo>
                    <a:pt x="56114" y="40786"/>
                  </a:lnTo>
                  <a:lnTo>
                    <a:pt x="54892" y="40937"/>
                  </a:lnTo>
                  <a:lnTo>
                    <a:pt x="53792" y="42657"/>
                  </a:lnTo>
                  <a:lnTo>
                    <a:pt x="52652" y="43896"/>
                  </a:lnTo>
                  <a:lnTo>
                    <a:pt x="49981" y="44651"/>
                  </a:lnTo>
                  <a:lnTo>
                    <a:pt x="47684" y="43346"/>
                  </a:lnTo>
                  <a:lnTo>
                    <a:pt x="42302" y="41600"/>
                  </a:lnTo>
                  <a:lnTo>
                    <a:pt x="40942" y="39272"/>
                  </a:lnTo>
                  <a:lnTo>
                    <a:pt x="40620" y="36928"/>
                  </a:lnTo>
                  <a:lnTo>
                    <a:pt x="37774" y="34658"/>
                  </a:lnTo>
                  <a:lnTo>
                    <a:pt x="36591" y="31982"/>
                  </a:lnTo>
                  <a:lnTo>
                    <a:pt x="37064" y="30112"/>
                  </a:lnTo>
                  <a:lnTo>
                    <a:pt x="39646" y="28884"/>
                  </a:lnTo>
                  <a:lnTo>
                    <a:pt x="40383" y="27813"/>
                  </a:lnTo>
                  <a:lnTo>
                    <a:pt x="37128" y="27983"/>
                  </a:lnTo>
                  <a:lnTo>
                    <a:pt x="36466" y="27726"/>
                  </a:lnTo>
                  <a:lnTo>
                    <a:pt x="36323" y="26763"/>
                  </a:lnTo>
                  <a:lnTo>
                    <a:pt x="34883" y="23478"/>
                  </a:lnTo>
                  <a:lnTo>
                    <a:pt x="36157" y="22183"/>
                  </a:lnTo>
                  <a:lnTo>
                    <a:pt x="36718" y="20923"/>
                  </a:lnTo>
                  <a:lnTo>
                    <a:pt x="35673" y="19850"/>
                  </a:lnTo>
                  <a:lnTo>
                    <a:pt x="35947" y="18629"/>
                  </a:lnTo>
                  <a:lnTo>
                    <a:pt x="36761" y="17394"/>
                  </a:lnTo>
                  <a:lnTo>
                    <a:pt x="36262" y="14521"/>
                  </a:lnTo>
                  <a:lnTo>
                    <a:pt x="39493" y="12997"/>
                  </a:lnTo>
                  <a:lnTo>
                    <a:pt x="42633" y="11924"/>
                  </a:lnTo>
                  <a:lnTo>
                    <a:pt x="49286" y="11377"/>
                  </a:lnTo>
                  <a:lnTo>
                    <a:pt x="48627" y="8747"/>
                  </a:lnTo>
                  <a:lnTo>
                    <a:pt x="51320" y="8628"/>
                  </a:lnTo>
                  <a:lnTo>
                    <a:pt x="55852" y="5460"/>
                  </a:lnTo>
                  <a:lnTo>
                    <a:pt x="60346" y="6017"/>
                  </a:lnTo>
                  <a:lnTo>
                    <a:pt x="66846" y="3840"/>
                  </a:lnTo>
                  <a:lnTo>
                    <a:pt x="79366" y="3870"/>
                  </a:lnTo>
                  <a:lnTo>
                    <a:pt x="81072" y="2612"/>
                  </a:lnTo>
                  <a:lnTo>
                    <a:pt x="80774" y="1348"/>
                  </a:lnTo>
                  <a:close/>
                </a:path>
              </a:pathLst>
            </a:custGeom>
            <a:solidFill>
              <a:srgbClr val="C7CDD0"/>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AT" sz="1600" err="1">
                <a:solidFill>
                  <a:schemeClr val="tx1"/>
                </a:solidFill>
                <a:latin typeface="Calibri" panose="020F0502020204030204" pitchFamily="34" charset="0"/>
                <a:cs typeface="Calibri" panose="020F0502020204030204" pitchFamily="34" charset="0"/>
              </a:endParaRPr>
            </a:p>
          </p:txBody>
        </p:sp>
        <p:sp>
          <p:nvSpPr>
            <p:cNvPr id="79" name="ee4p_FI_1_86241">
              <a:extLst>
                <a:ext uri="{FF2B5EF4-FFF2-40B4-BE49-F238E27FC236}">
                  <a16:creationId xmlns:a16="http://schemas.microsoft.com/office/drawing/2014/main" id="{58B9D30B-62D4-4EBB-950B-33B159EEF420}"/>
                </a:ext>
              </a:extLst>
            </p:cNvPr>
            <p:cNvSpPr>
              <a:spLocks noChangeAspect="1"/>
            </p:cNvSpPr>
            <p:nvPr>
              <p:custDataLst>
                <p:tags r:id="rId17"/>
              </p:custDataLst>
            </p:nvPr>
          </p:nvSpPr>
          <p:spPr>
            <a:xfrm>
              <a:off x="7420001" y="953017"/>
              <a:ext cx="805331" cy="1147973"/>
            </a:xfrm>
            <a:custGeom>
              <a:avLst/>
              <a:gdLst>
                <a:gd name="connsiteX0" fmla="*/ 21473 w 265732"/>
                <a:gd name="connsiteY0" fmla="*/ 360506 h 369053"/>
                <a:gd name="connsiteX1" fmla="*/ 23220 w 265732"/>
                <a:gd name="connsiteY1" fmla="*/ 360680 h 369053"/>
                <a:gd name="connsiteX2" fmla="*/ 24153 w 265732"/>
                <a:gd name="connsiteY2" fmla="*/ 361638 h 369053"/>
                <a:gd name="connsiteX3" fmla="*/ 23978 w 265732"/>
                <a:gd name="connsiteY3" fmla="*/ 362422 h 369053"/>
                <a:gd name="connsiteX4" fmla="*/ 22173 w 265732"/>
                <a:gd name="connsiteY4" fmla="*/ 362597 h 369053"/>
                <a:gd name="connsiteX5" fmla="*/ 21415 w 265732"/>
                <a:gd name="connsiteY5" fmla="*/ 361899 h 369053"/>
                <a:gd name="connsiteX6" fmla="*/ 19728 w 265732"/>
                <a:gd name="connsiteY6" fmla="*/ 361986 h 369053"/>
                <a:gd name="connsiteX7" fmla="*/ 19435 w 265732"/>
                <a:gd name="connsiteY7" fmla="*/ 361638 h 369053"/>
                <a:gd name="connsiteX8" fmla="*/ 20134 w 265732"/>
                <a:gd name="connsiteY8" fmla="*/ 360942 h 369053"/>
                <a:gd name="connsiteX9" fmla="*/ 45306 w 265732"/>
                <a:gd name="connsiteY9" fmla="*/ 357280 h 369053"/>
                <a:gd name="connsiteX10" fmla="*/ 46768 w 265732"/>
                <a:gd name="connsiteY10" fmla="*/ 357390 h 369053"/>
                <a:gd name="connsiteX11" fmla="*/ 47079 w 265732"/>
                <a:gd name="connsiteY11" fmla="*/ 358322 h 369053"/>
                <a:gd name="connsiteX12" fmla="*/ 46641 w 265732"/>
                <a:gd name="connsiteY12" fmla="*/ 359417 h 369053"/>
                <a:gd name="connsiteX13" fmla="*/ 44702 w 265732"/>
                <a:gd name="connsiteY13" fmla="*/ 359744 h 369053"/>
                <a:gd name="connsiteX14" fmla="*/ 43494 w 265732"/>
                <a:gd name="connsiteY14" fmla="*/ 358787 h 369053"/>
                <a:gd name="connsiteX15" fmla="*/ 43953 w 265732"/>
                <a:gd name="connsiteY15" fmla="*/ 358075 h 369053"/>
                <a:gd name="connsiteX16" fmla="*/ 51860 w 265732"/>
                <a:gd name="connsiteY16" fmla="*/ 356303 h 369053"/>
                <a:gd name="connsiteX17" fmla="*/ 51171 w 265732"/>
                <a:gd name="connsiteY17" fmla="*/ 358333 h 369053"/>
                <a:gd name="connsiteX18" fmla="*/ 48958 w 265732"/>
                <a:gd name="connsiteY18" fmla="*/ 359471 h 369053"/>
                <a:gd name="connsiteX19" fmla="*/ 48115 w 265732"/>
                <a:gd name="connsiteY19" fmla="*/ 359200 h 369053"/>
                <a:gd name="connsiteX20" fmla="*/ 48332 w 265732"/>
                <a:gd name="connsiteY20" fmla="*/ 357280 h 369053"/>
                <a:gd name="connsiteX21" fmla="*/ 49647 w 265732"/>
                <a:gd name="connsiteY21" fmla="*/ 356401 h 369053"/>
                <a:gd name="connsiteX22" fmla="*/ 2428 w 265732"/>
                <a:gd name="connsiteY22" fmla="*/ 354834 h 369053"/>
                <a:gd name="connsiteX23" fmla="*/ 3168 w 265732"/>
                <a:gd name="connsiteY23" fmla="*/ 356788 h 369053"/>
                <a:gd name="connsiteX24" fmla="*/ 3283 w 265732"/>
                <a:gd name="connsiteY24" fmla="*/ 357531 h 369053"/>
                <a:gd name="connsiteX25" fmla="*/ 2436 w 265732"/>
                <a:gd name="connsiteY25" fmla="*/ 357345 h 369053"/>
                <a:gd name="connsiteX26" fmla="*/ 1786 w 265732"/>
                <a:gd name="connsiteY26" fmla="*/ 357599 h 369053"/>
                <a:gd name="connsiteX27" fmla="*/ 1345 w 265732"/>
                <a:gd name="connsiteY27" fmla="*/ 358514 h 369053"/>
                <a:gd name="connsiteX28" fmla="*/ 387 w 265732"/>
                <a:gd name="connsiteY28" fmla="*/ 358186 h 369053"/>
                <a:gd name="connsiteX29" fmla="*/ 0 w 265732"/>
                <a:gd name="connsiteY29" fmla="*/ 356874 h 369053"/>
                <a:gd name="connsiteX30" fmla="*/ 715 w 265732"/>
                <a:gd name="connsiteY30" fmla="*/ 354909 h 369053"/>
                <a:gd name="connsiteX31" fmla="*/ 58731 w 265732"/>
                <a:gd name="connsiteY31" fmla="*/ 350695 h 369053"/>
                <a:gd name="connsiteX32" fmla="*/ 61532 w 265732"/>
                <a:gd name="connsiteY32" fmla="*/ 351466 h 369053"/>
                <a:gd name="connsiteX33" fmla="*/ 62709 w 265732"/>
                <a:gd name="connsiteY33" fmla="*/ 351190 h 369053"/>
                <a:gd name="connsiteX34" fmla="*/ 64047 w 265732"/>
                <a:gd name="connsiteY34" fmla="*/ 352933 h 369053"/>
                <a:gd name="connsiteX35" fmla="*/ 61778 w 265732"/>
                <a:gd name="connsiteY35" fmla="*/ 354042 h 369053"/>
                <a:gd name="connsiteX36" fmla="*/ 61620 w 265732"/>
                <a:gd name="connsiteY36" fmla="*/ 355416 h 369053"/>
                <a:gd name="connsiteX37" fmla="*/ 62517 w 265732"/>
                <a:gd name="connsiteY37" fmla="*/ 356269 h 369053"/>
                <a:gd name="connsiteX38" fmla="*/ 62832 w 265732"/>
                <a:gd name="connsiteY38" fmla="*/ 357503 h 369053"/>
                <a:gd name="connsiteX39" fmla="*/ 60571 w 265732"/>
                <a:gd name="connsiteY39" fmla="*/ 357502 h 369053"/>
                <a:gd name="connsiteX40" fmla="*/ 59489 w 265732"/>
                <a:gd name="connsiteY40" fmla="*/ 356463 h 369053"/>
                <a:gd name="connsiteX41" fmla="*/ 59018 w 265732"/>
                <a:gd name="connsiteY41" fmla="*/ 355144 h 369053"/>
                <a:gd name="connsiteX42" fmla="*/ 57967 w 265732"/>
                <a:gd name="connsiteY42" fmla="*/ 354210 h 369053"/>
                <a:gd name="connsiteX43" fmla="*/ 56565 w 265732"/>
                <a:gd name="connsiteY43" fmla="*/ 353499 h 369053"/>
                <a:gd name="connsiteX44" fmla="*/ 57252 w 265732"/>
                <a:gd name="connsiteY44" fmla="*/ 352551 h 369053"/>
                <a:gd name="connsiteX45" fmla="*/ 57643 w 265732"/>
                <a:gd name="connsiteY45" fmla="*/ 351190 h 369053"/>
                <a:gd name="connsiteX46" fmla="*/ 8165 w 265732"/>
                <a:gd name="connsiteY46" fmla="*/ 349529 h 369053"/>
                <a:gd name="connsiteX47" fmla="*/ 9409 w 265732"/>
                <a:gd name="connsiteY47" fmla="*/ 351135 h 369053"/>
                <a:gd name="connsiteX48" fmla="*/ 10404 w 265732"/>
                <a:gd name="connsiteY48" fmla="*/ 351345 h 369053"/>
                <a:gd name="connsiteX49" fmla="*/ 11082 w 265732"/>
                <a:gd name="connsiteY49" fmla="*/ 351355 h 369053"/>
                <a:gd name="connsiteX50" fmla="*/ 11384 w 265732"/>
                <a:gd name="connsiteY50" fmla="*/ 351075 h 369053"/>
                <a:gd name="connsiteX51" fmla="*/ 12568 w 265732"/>
                <a:gd name="connsiteY51" fmla="*/ 351271 h 369053"/>
                <a:gd name="connsiteX52" fmla="*/ 14347 w 265732"/>
                <a:gd name="connsiteY52" fmla="*/ 352557 h 369053"/>
                <a:gd name="connsiteX53" fmla="*/ 14705 w 265732"/>
                <a:gd name="connsiteY53" fmla="*/ 353253 h 369053"/>
                <a:gd name="connsiteX54" fmla="*/ 15932 w 265732"/>
                <a:gd name="connsiteY54" fmla="*/ 353609 h 369053"/>
                <a:gd name="connsiteX55" fmla="*/ 16360 w 265732"/>
                <a:gd name="connsiteY55" fmla="*/ 354330 h 369053"/>
                <a:gd name="connsiteX56" fmla="*/ 14941 w 265732"/>
                <a:gd name="connsiteY56" fmla="*/ 356576 h 369053"/>
                <a:gd name="connsiteX57" fmla="*/ 14064 w 265732"/>
                <a:gd name="connsiteY57" fmla="*/ 356618 h 369053"/>
                <a:gd name="connsiteX58" fmla="*/ 13410 w 265732"/>
                <a:gd name="connsiteY58" fmla="*/ 356334 h 369053"/>
                <a:gd name="connsiteX59" fmla="*/ 12255 w 265732"/>
                <a:gd name="connsiteY59" fmla="*/ 356579 h 369053"/>
                <a:gd name="connsiteX60" fmla="*/ 11577 w 265732"/>
                <a:gd name="connsiteY60" fmla="*/ 357004 h 369053"/>
                <a:gd name="connsiteX61" fmla="*/ 11350 w 265732"/>
                <a:gd name="connsiteY61" fmla="*/ 357937 h 369053"/>
                <a:gd name="connsiteX62" fmla="*/ 11387 w 265732"/>
                <a:gd name="connsiteY62" fmla="*/ 359888 h 369053"/>
                <a:gd name="connsiteX63" fmla="*/ 6208 w 265732"/>
                <a:gd name="connsiteY63" fmla="*/ 360279 h 369053"/>
                <a:gd name="connsiteX64" fmla="*/ 5018 w 265732"/>
                <a:gd name="connsiteY64" fmla="*/ 359709 h 369053"/>
                <a:gd name="connsiteX65" fmla="*/ 3388 w 265732"/>
                <a:gd name="connsiteY65" fmla="*/ 355268 h 369053"/>
                <a:gd name="connsiteX66" fmla="*/ 3712 w 265732"/>
                <a:gd name="connsiteY66" fmla="*/ 354120 h 369053"/>
                <a:gd name="connsiteX67" fmla="*/ 4809 w 265732"/>
                <a:gd name="connsiteY67" fmla="*/ 353630 h 369053"/>
                <a:gd name="connsiteX68" fmla="*/ 5749 w 265732"/>
                <a:gd name="connsiteY68" fmla="*/ 353525 h 369053"/>
                <a:gd name="connsiteX69" fmla="*/ 5887 w 265732"/>
                <a:gd name="connsiteY69" fmla="*/ 355919 h 369053"/>
                <a:gd name="connsiteX70" fmla="*/ 7266 w 265732"/>
                <a:gd name="connsiteY70" fmla="*/ 355681 h 369053"/>
                <a:gd name="connsiteX71" fmla="*/ 7699 w 265732"/>
                <a:gd name="connsiteY71" fmla="*/ 354103 h 369053"/>
                <a:gd name="connsiteX72" fmla="*/ 7795 w 265732"/>
                <a:gd name="connsiteY72" fmla="*/ 352992 h 369053"/>
                <a:gd name="connsiteX73" fmla="*/ 7422 w 265732"/>
                <a:gd name="connsiteY73" fmla="*/ 352431 h 369053"/>
                <a:gd name="connsiteX74" fmla="*/ 6485 w 265732"/>
                <a:gd name="connsiteY74" fmla="*/ 351996 h 369053"/>
                <a:gd name="connsiteX75" fmla="*/ 5943 w 265732"/>
                <a:gd name="connsiteY75" fmla="*/ 351250 h 369053"/>
                <a:gd name="connsiteX76" fmla="*/ 6722 w 265732"/>
                <a:gd name="connsiteY76" fmla="*/ 350049 h 369053"/>
                <a:gd name="connsiteX77" fmla="*/ 51039 w 265732"/>
                <a:gd name="connsiteY77" fmla="*/ 347396 h 369053"/>
                <a:gd name="connsiteX78" fmla="*/ 52799 w 265732"/>
                <a:gd name="connsiteY78" fmla="*/ 348443 h 369053"/>
                <a:gd name="connsiteX79" fmla="*/ 53760 w 265732"/>
                <a:gd name="connsiteY79" fmla="*/ 349666 h 369053"/>
                <a:gd name="connsiteX80" fmla="*/ 52821 w 265732"/>
                <a:gd name="connsiteY80" fmla="*/ 349950 h 369053"/>
                <a:gd name="connsiteX81" fmla="*/ 54412 w 265732"/>
                <a:gd name="connsiteY81" fmla="*/ 351211 h 369053"/>
                <a:gd name="connsiteX82" fmla="*/ 54732 w 265732"/>
                <a:gd name="connsiteY82" fmla="*/ 351827 h 369053"/>
                <a:gd name="connsiteX83" fmla="*/ 53123 w 265732"/>
                <a:gd name="connsiteY83" fmla="*/ 351973 h 369053"/>
                <a:gd name="connsiteX84" fmla="*/ 50849 w 265732"/>
                <a:gd name="connsiteY84" fmla="*/ 350326 h 369053"/>
                <a:gd name="connsiteX85" fmla="*/ 50562 w 265732"/>
                <a:gd name="connsiteY85" fmla="*/ 349682 h 369053"/>
                <a:gd name="connsiteX86" fmla="*/ 51454 w 265732"/>
                <a:gd name="connsiteY86" fmla="*/ 349308 h 369053"/>
                <a:gd name="connsiteX87" fmla="*/ 50865 w 265732"/>
                <a:gd name="connsiteY87" fmla="*/ 347983 h 369053"/>
                <a:gd name="connsiteX88" fmla="*/ 38675 w 265732"/>
                <a:gd name="connsiteY88" fmla="*/ 341784 h 369053"/>
                <a:gd name="connsiteX89" fmla="*/ 39409 w 265732"/>
                <a:gd name="connsiteY89" fmla="*/ 343210 h 369053"/>
                <a:gd name="connsiteX90" fmla="*/ 42717 w 265732"/>
                <a:gd name="connsiteY90" fmla="*/ 345409 h 369053"/>
                <a:gd name="connsiteX91" fmla="*/ 42408 w 265732"/>
                <a:gd name="connsiteY91" fmla="*/ 346959 h 369053"/>
                <a:gd name="connsiteX92" fmla="*/ 40908 w 265732"/>
                <a:gd name="connsiteY92" fmla="*/ 346787 h 369053"/>
                <a:gd name="connsiteX93" fmla="*/ 39381 w 265732"/>
                <a:gd name="connsiteY93" fmla="*/ 347068 h 369053"/>
                <a:gd name="connsiteX94" fmla="*/ 38150 w 265732"/>
                <a:gd name="connsiteY94" fmla="*/ 345529 h 369053"/>
                <a:gd name="connsiteX95" fmla="*/ 37491 w 265732"/>
                <a:gd name="connsiteY95" fmla="*/ 342933 h 369053"/>
                <a:gd name="connsiteX96" fmla="*/ 37716 w 265732"/>
                <a:gd name="connsiteY96" fmla="*/ 342374 h 369053"/>
                <a:gd name="connsiteX97" fmla="*/ 37973 w 265732"/>
                <a:gd name="connsiteY97" fmla="*/ 251776 h 369053"/>
                <a:gd name="connsiteX98" fmla="*/ 37651 w 265732"/>
                <a:gd name="connsiteY98" fmla="*/ 252424 h 369053"/>
                <a:gd name="connsiteX99" fmla="*/ 37563 w 265732"/>
                <a:gd name="connsiteY99" fmla="*/ 253045 h 369053"/>
                <a:gd name="connsiteX100" fmla="*/ 37800 w 265732"/>
                <a:gd name="connsiteY100" fmla="*/ 253695 h 369053"/>
                <a:gd name="connsiteX101" fmla="*/ 39096 w 265732"/>
                <a:gd name="connsiteY101" fmla="*/ 253516 h 369053"/>
                <a:gd name="connsiteX102" fmla="*/ 40841 w 265732"/>
                <a:gd name="connsiteY102" fmla="*/ 252332 h 369053"/>
                <a:gd name="connsiteX103" fmla="*/ 42078 w 265732"/>
                <a:gd name="connsiteY103" fmla="*/ 252885 h 369053"/>
                <a:gd name="connsiteX104" fmla="*/ 41938 w 265732"/>
                <a:gd name="connsiteY104" fmla="*/ 254575 h 369053"/>
                <a:gd name="connsiteX105" fmla="*/ 41098 w 265732"/>
                <a:gd name="connsiteY105" fmla="*/ 254511 h 369053"/>
                <a:gd name="connsiteX106" fmla="*/ 40867 w 265732"/>
                <a:gd name="connsiteY106" fmla="*/ 254232 h 369053"/>
                <a:gd name="connsiteX107" fmla="*/ 39789 w 265732"/>
                <a:gd name="connsiteY107" fmla="*/ 255197 h 369053"/>
                <a:gd name="connsiteX108" fmla="*/ 39597 w 265732"/>
                <a:gd name="connsiteY108" fmla="*/ 255781 h 369053"/>
                <a:gd name="connsiteX109" fmla="*/ 38351 w 265732"/>
                <a:gd name="connsiteY109" fmla="*/ 256154 h 369053"/>
                <a:gd name="connsiteX110" fmla="*/ 36049 w 265732"/>
                <a:gd name="connsiteY110" fmla="*/ 254502 h 369053"/>
                <a:gd name="connsiteX111" fmla="*/ 34602 w 265732"/>
                <a:gd name="connsiteY111" fmla="*/ 251783 h 369053"/>
                <a:gd name="connsiteX112" fmla="*/ 116464 w 265732"/>
                <a:gd name="connsiteY112" fmla="*/ 187740 h 369053"/>
                <a:gd name="connsiteX113" fmla="*/ 120546 w 265732"/>
                <a:gd name="connsiteY113" fmla="*/ 188858 h 369053"/>
                <a:gd name="connsiteX114" fmla="*/ 121142 w 265732"/>
                <a:gd name="connsiteY114" fmla="*/ 189455 h 369053"/>
                <a:gd name="connsiteX115" fmla="*/ 118803 w 265732"/>
                <a:gd name="connsiteY115" fmla="*/ 189902 h 369053"/>
                <a:gd name="connsiteX116" fmla="*/ 117840 w 265732"/>
                <a:gd name="connsiteY116" fmla="*/ 191169 h 369053"/>
                <a:gd name="connsiteX117" fmla="*/ 114539 w 265732"/>
                <a:gd name="connsiteY117" fmla="*/ 192361 h 369053"/>
                <a:gd name="connsiteX118" fmla="*/ 111878 w 265732"/>
                <a:gd name="connsiteY118" fmla="*/ 191616 h 369053"/>
                <a:gd name="connsiteX119" fmla="*/ 111832 w 265732"/>
                <a:gd name="connsiteY119" fmla="*/ 189306 h 369053"/>
                <a:gd name="connsiteX120" fmla="*/ 113482 w 265732"/>
                <a:gd name="connsiteY120" fmla="*/ 188187 h 369053"/>
                <a:gd name="connsiteX121" fmla="*/ 181957 w 265732"/>
                <a:gd name="connsiteY121" fmla="*/ 0 h 369053"/>
                <a:gd name="connsiteX122" fmla="*/ 185099 w 265732"/>
                <a:gd name="connsiteY122" fmla="*/ 126 h 369053"/>
                <a:gd name="connsiteX123" fmla="*/ 188577 w 265732"/>
                <a:gd name="connsiteY123" fmla="*/ 3686 h 369053"/>
                <a:gd name="connsiteX124" fmla="*/ 193483 w 265732"/>
                <a:gd name="connsiteY124" fmla="*/ 7643 h 369053"/>
                <a:gd name="connsiteX125" fmla="*/ 196636 w 265732"/>
                <a:gd name="connsiteY125" fmla="*/ 9562 h 369053"/>
                <a:gd name="connsiteX126" fmla="*/ 205230 w 265732"/>
                <a:gd name="connsiteY126" fmla="*/ 13154 h 369053"/>
                <a:gd name="connsiteX127" fmla="*/ 212775 w 265732"/>
                <a:gd name="connsiteY127" fmla="*/ 15515 h 369053"/>
                <a:gd name="connsiteX128" fmla="*/ 217016 w 265732"/>
                <a:gd name="connsiteY128" fmla="*/ 23292 h 369053"/>
                <a:gd name="connsiteX129" fmla="*/ 214926 w 265732"/>
                <a:gd name="connsiteY129" fmla="*/ 26382 h 369053"/>
                <a:gd name="connsiteX130" fmla="*/ 213885 w 265732"/>
                <a:gd name="connsiteY130" fmla="*/ 27446 h 369053"/>
                <a:gd name="connsiteX131" fmla="*/ 210195 w 265732"/>
                <a:gd name="connsiteY131" fmla="*/ 30516 h 369053"/>
                <a:gd name="connsiteX132" fmla="*/ 206245 w 265732"/>
                <a:gd name="connsiteY132" fmla="*/ 34840 h 369053"/>
                <a:gd name="connsiteX133" fmla="*/ 205943 w 265732"/>
                <a:gd name="connsiteY133" fmla="*/ 37090 h 369053"/>
                <a:gd name="connsiteX134" fmla="*/ 207254 w 265732"/>
                <a:gd name="connsiteY134" fmla="*/ 39357 h 369053"/>
                <a:gd name="connsiteX135" fmla="*/ 208889 w 265732"/>
                <a:gd name="connsiteY135" fmla="*/ 40855 h 369053"/>
                <a:gd name="connsiteX136" fmla="*/ 207409 w 265732"/>
                <a:gd name="connsiteY136" fmla="*/ 41332 h 369053"/>
                <a:gd name="connsiteX137" fmla="*/ 202838 w 265732"/>
                <a:gd name="connsiteY137" fmla="*/ 43215 h 369053"/>
                <a:gd name="connsiteX138" fmla="*/ 200048 w 265732"/>
                <a:gd name="connsiteY138" fmla="*/ 44485 h 369053"/>
                <a:gd name="connsiteX139" fmla="*/ 196688 w 265732"/>
                <a:gd name="connsiteY139" fmla="*/ 45416 h 369053"/>
                <a:gd name="connsiteX140" fmla="*/ 197560 w 265732"/>
                <a:gd name="connsiteY140" fmla="*/ 46649 h 369053"/>
                <a:gd name="connsiteX141" fmla="*/ 203142 w 265732"/>
                <a:gd name="connsiteY141" fmla="*/ 46910 h 369053"/>
                <a:gd name="connsiteX142" fmla="*/ 204002 w 265732"/>
                <a:gd name="connsiteY142" fmla="*/ 47260 h 369053"/>
                <a:gd name="connsiteX143" fmla="*/ 204621 w 265732"/>
                <a:gd name="connsiteY143" fmla="*/ 47894 h 369053"/>
                <a:gd name="connsiteX144" fmla="*/ 204727 w 265732"/>
                <a:gd name="connsiteY144" fmla="*/ 48907 h 369053"/>
                <a:gd name="connsiteX145" fmla="*/ 204161 w 265732"/>
                <a:gd name="connsiteY145" fmla="*/ 50542 h 369053"/>
                <a:gd name="connsiteX146" fmla="*/ 198130 w 265732"/>
                <a:gd name="connsiteY146" fmla="*/ 59538 h 369053"/>
                <a:gd name="connsiteX147" fmla="*/ 197940 w 265732"/>
                <a:gd name="connsiteY147" fmla="*/ 61428 h 369053"/>
                <a:gd name="connsiteX148" fmla="*/ 199918 w 265732"/>
                <a:gd name="connsiteY148" fmla="*/ 66676 h 369053"/>
                <a:gd name="connsiteX149" fmla="*/ 202682 w 265732"/>
                <a:gd name="connsiteY149" fmla="*/ 72845 h 369053"/>
                <a:gd name="connsiteX150" fmla="*/ 211037 w 265732"/>
                <a:gd name="connsiteY150" fmla="*/ 75582 h 369053"/>
                <a:gd name="connsiteX151" fmla="*/ 217247 w 265732"/>
                <a:gd name="connsiteY151" fmla="*/ 77717 h 369053"/>
                <a:gd name="connsiteX152" fmla="*/ 221236 w 265732"/>
                <a:gd name="connsiteY152" fmla="*/ 82760 h 369053"/>
                <a:gd name="connsiteX153" fmla="*/ 227811 w 265732"/>
                <a:gd name="connsiteY153" fmla="*/ 89390 h 369053"/>
                <a:gd name="connsiteX154" fmla="*/ 231297 w 265732"/>
                <a:gd name="connsiteY154" fmla="*/ 91862 h 369053"/>
                <a:gd name="connsiteX155" fmla="*/ 231493 w 265732"/>
                <a:gd name="connsiteY155" fmla="*/ 92629 h 369053"/>
                <a:gd name="connsiteX156" fmla="*/ 230456 w 265732"/>
                <a:gd name="connsiteY156" fmla="*/ 97183 h 369053"/>
                <a:gd name="connsiteX157" fmla="*/ 226241 w 265732"/>
                <a:gd name="connsiteY157" fmla="*/ 101735 h 369053"/>
                <a:gd name="connsiteX158" fmla="*/ 222298 w 265732"/>
                <a:gd name="connsiteY158" fmla="*/ 105565 h 369053"/>
                <a:gd name="connsiteX159" fmla="*/ 218217 w 265732"/>
                <a:gd name="connsiteY159" fmla="*/ 110170 h 369053"/>
                <a:gd name="connsiteX160" fmla="*/ 215025 w 265732"/>
                <a:gd name="connsiteY160" fmla="*/ 114087 h 369053"/>
                <a:gd name="connsiteX161" fmla="*/ 211568 w 265732"/>
                <a:gd name="connsiteY161" fmla="*/ 118772 h 369053"/>
                <a:gd name="connsiteX162" fmla="*/ 211171 w 265732"/>
                <a:gd name="connsiteY162" fmla="*/ 120288 h 369053"/>
                <a:gd name="connsiteX163" fmla="*/ 211108 w 265732"/>
                <a:gd name="connsiteY163" fmla="*/ 121719 h 369053"/>
                <a:gd name="connsiteX164" fmla="*/ 211702 w 265732"/>
                <a:gd name="connsiteY164" fmla="*/ 123300 h 369053"/>
                <a:gd name="connsiteX165" fmla="*/ 216129 w 265732"/>
                <a:gd name="connsiteY165" fmla="*/ 129002 h 369053"/>
                <a:gd name="connsiteX166" fmla="*/ 217852 w 265732"/>
                <a:gd name="connsiteY166" fmla="*/ 131908 h 369053"/>
                <a:gd name="connsiteX167" fmla="*/ 219912 w 265732"/>
                <a:gd name="connsiteY167" fmla="*/ 135045 h 369053"/>
                <a:gd name="connsiteX168" fmla="*/ 221680 w 265732"/>
                <a:gd name="connsiteY168" fmla="*/ 138458 h 369053"/>
                <a:gd name="connsiteX169" fmla="*/ 222706 w 265732"/>
                <a:gd name="connsiteY169" fmla="*/ 141510 h 369053"/>
                <a:gd name="connsiteX170" fmla="*/ 224479 w 265732"/>
                <a:gd name="connsiteY170" fmla="*/ 144480 h 369053"/>
                <a:gd name="connsiteX171" fmla="*/ 225581 w 265732"/>
                <a:gd name="connsiteY171" fmla="*/ 145996 h 369053"/>
                <a:gd name="connsiteX172" fmla="*/ 227411 w 265732"/>
                <a:gd name="connsiteY172" fmla="*/ 148118 h 369053"/>
                <a:gd name="connsiteX173" fmla="*/ 229621 w 265732"/>
                <a:gd name="connsiteY173" fmla="*/ 151271 h 369053"/>
                <a:gd name="connsiteX174" fmla="*/ 230355 w 265732"/>
                <a:gd name="connsiteY174" fmla="*/ 153765 h 369053"/>
                <a:gd name="connsiteX175" fmla="*/ 233691 w 265732"/>
                <a:gd name="connsiteY175" fmla="*/ 162396 h 369053"/>
                <a:gd name="connsiteX176" fmla="*/ 234028 w 265732"/>
                <a:gd name="connsiteY176" fmla="*/ 164590 h 369053"/>
                <a:gd name="connsiteX177" fmla="*/ 233864 w 265732"/>
                <a:gd name="connsiteY177" fmla="*/ 166212 h 369053"/>
                <a:gd name="connsiteX178" fmla="*/ 232398 w 265732"/>
                <a:gd name="connsiteY178" fmla="*/ 166611 h 369053"/>
                <a:gd name="connsiteX179" fmla="*/ 229161 w 265732"/>
                <a:gd name="connsiteY179" fmla="*/ 166869 h 369053"/>
                <a:gd name="connsiteX180" fmla="*/ 225652 w 265732"/>
                <a:gd name="connsiteY180" fmla="*/ 167931 h 369053"/>
                <a:gd name="connsiteX181" fmla="*/ 225475 w 265732"/>
                <a:gd name="connsiteY181" fmla="*/ 168288 h 369053"/>
                <a:gd name="connsiteX182" fmla="*/ 227764 w 265732"/>
                <a:gd name="connsiteY182" fmla="*/ 170314 h 369053"/>
                <a:gd name="connsiteX183" fmla="*/ 225742 w 265732"/>
                <a:gd name="connsiteY183" fmla="*/ 173770 h 369053"/>
                <a:gd name="connsiteX184" fmla="*/ 225451 w 265732"/>
                <a:gd name="connsiteY184" fmla="*/ 178707 h 369053"/>
                <a:gd name="connsiteX185" fmla="*/ 223292 w 265732"/>
                <a:gd name="connsiteY185" fmla="*/ 181294 h 369053"/>
                <a:gd name="connsiteX186" fmla="*/ 223088 w 265732"/>
                <a:gd name="connsiteY186" fmla="*/ 181895 h 369053"/>
                <a:gd name="connsiteX187" fmla="*/ 223186 w 265732"/>
                <a:gd name="connsiteY187" fmla="*/ 182397 h 369053"/>
                <a:gd name="connsiteX188" fmla="*/ 223568 w 265732"/>
                <a:gd name="connsiteY188" fmla="*/ 182789 h 369053"/>
                <a:gd name="connsiteX189" fmla="*/ 227567 w 265732"/>
                <a:gd name="connsiteY189" fmla="*/ 183479 h 369053"/>
                <a:gd name="connsiteX190" fmla="*/ 227913 w 265732"/>
                <a:gd name="connsiteY190" fmla="*/ 184180 h 369053"/>
                <a:gd name="connsiteX191" fmla="*/ 227930 w 265732"/>
                <a:gd name="connsiteY191" fmla="*/ 185629 h 369053"/>
                <a:gd name="connsiteX192" fmla="*/ 227573 w 265732"/>
                <a:gd name="connsiteY192" fmla="*/ 186967 h 369053"/>
                <a:gd name="connsiteX193" fmla="*/ 225565 w 265732"/>
                <a:gd name="connsiteY193" fmla="*/ 187959 h 369053"/>
                <a:gd name="connsiteX194" fmla="*/ 223408 w 265732"/>
                <a:gd name="connsiteY194" fmla="*/ 189427 h 369053"/>
                <a:gd name="connsiteX195" fmla="*/ 222931 w 265732"/>
                <a:gd name="connsiteY195" fmla="*/ 190776 h 369053"/>
                <a:gd name="connsiteX196" fmla="*/ 223004 w 265732"/>
                <a:gd name="connsiteY196" fmla="*/ 191980 h 369053"/>
                <a:gd name="connsiteX197" fmla="*/ 223741 w 265732"/>
                <a:gd name="connsiteY197" fmla="*/ 194013 h 369053"/>
                <a:gd name="connsiteX198" fmla="*/ 225159 w 265732"/>
                <a:gd name="connsiteY198" fmla="*/ 196379 h 369053"/>
                <a:gd name="connsiteX199" fmla="*/ 226963 w 265732"/>
                <a:gd name="connsiteY199" fmla="*/ 197863 h 369053"/>
                <a:gd name="connsiteX200" fmla="*/ 233367 w 265732"/>
                <a:gd name="connsiteY200" fmla="*/ 199267 h 369053"/>
                <a:gd name="connsiteX201" fmla="*/ 234194 w 265732"/>
                <a:gd name="connsiteY201" fmla="*/ 200428 h 369053"/>
                <a:gd name="connsiteX202" fmla="*/ 234546 w 265732"/>
                <a:gd name="connsiteY202" fmla="*/ 202018 h 369053"/>
                <a:gd name="connsiteX203" fmla="*/ 234412 w 265732"/>
                <a:gd name="connsiteY203" fmla="*/ 203569 h 369053"/>
                <a:gd name="connsiteX204" fmla="*/ 231437 w 265732"/>
                <a:gd name="connsiteY204" fmla="*/ 206669 h 369053"/>
                <a:gd name="connsiteX205" fmla="*/ 231460 w 265732"/>
                <a:gd name="connsiteY205" fmla="*/ 207860 h 369053"/>
                <a:gd name="connsiteX206" fmla="*/ 232682 w 265732"/>
                <a:gd name="connsiteY206" fmla="*/ 210740 h 369053"/>
                <a:gd name="connsiteX207" fmla="*/ 234147 w 265732"/>
                <a:gd name="connsiteY207" fmla="*/ 213485 h 369053"/>
                <a:gd name="connsiteX208" fmla="*/ 240394 w 265732"/>
                <a:gd name="connsiteY208" fmla="*/ 216455 h 369053"/>
                <a:gd name="connsiteX209" fmla="*/ 242545 w 265732"/>
                <a:gd name="connsiteY209" fmla="*/ 218082 h 369053"/>
                <a:gd name="connsiteX210" fmla="*/ 243117 w 265732"/>
                <a:gd name="connsiteY210" fmla="*/ 219376 h 369053"/>
                <a:gd name="connsiteX211" fmla="*/ 243430 w 265732"/>
                <a:gd name="connsiteY211" fmla="*/ 221460 h 369053"/>
                <a:gd name="connsiteX212" fmla="*/ 243389 w 265732"/>
                <a:gd name="connsiteY212" fmla="*/ 223717 h 369053"/>
                <a:gd name="connsiteX213" fmla="*/ 242899 w 265732"/>
                <a:gd name="connsiteY213" fmla="*/ 225719 h 369053"/>
                <a:gd name="connsiteX214" fmla="*/ 240940 w 265732"/>
                <a:gd name="connsiteY214" fmla="*/ 228298 h 369053"/>
                <a:gd name="connsiteX215" fmla="*/ 236406 w 265732"/>
                <a:gd name="connsiteY215" fmla="*/ 233375 h 369053"/>
                <a:gd name="connsiteX216" fmla="*/ 231847 w 265732"/>
                <a:gd name="connsiteY216" fmla="*/ 235344 h 369053"/>
                <a:gd name="connsiteX217" fmla="*/ 231569 w 265732"/>
                <a:gd name="connsiteY217" fmla="*/ 235771 h 369053"/>
                <a:gd name="connsiteX218" fmla="*/ 232981 w 265732"/>
                <a:gd name="connsiteY218" fmla="*/ 237391 h 369053"/>
                <a:gd name="connsiteX219" fmla="*/ 241011 w 265732"/>
                <a:gd name="connsiteY219" fmla="*/ 243873 h 369053"/>
                <a:gd name="connsiteX220" fmla="*/ 246246 w 265732"/>
                <a:gd name="connsiteY220" fmla="*/ 246900 h 369053"/>
                <a:gd name="connsiteX221" fmla="*/ 253311 w 265732"/>
                <a:gd name="connsiteY221" fmla="*/ 250978 h 369053"/>
                <a:gd name="connsiteX222" fmla="*/ 257868 w 265732"/>
                <a:gd name="connsiteY222" fmla="*/ 254194 h 369053"/>
                <a:gd name="connsiteX223" fmla="*/ 259340 w 265732"/>
                <a:gd name="connsiteY223" fmla="*/ 256505 h 369053"/>
                <a:gd name="connsiteX224" fmla="*/ 261314 w 265732"/>
                <a:gd name="connsiteY224" fmla="*/ 259071 h 369053"/>
                <a:gd name="connsiteX225" fmla="*/ 263532 w 265732"/>
                <a:gd name="connsiteY225" fmla="*/ 261166 h 369053"/>
                <a:gd name="connsiteX226" fmla="*/ 265130 w 265732"/>
                <a:gd name="connsiteY226" fmla="*/ 262982 h 369053"/>
                <a:gd name="connsiteX227" fmla="*/ 265732 w 265732"/>
                <a:gd name="connsiteY227" fmla="*/ 264150 h 369053"/>
                <a:gd name="connsiteX228" fmla="*/ 265676 w 265732"/>
                <a:gd name="connsiteY228" fmla="*/ 265405 h 369053"/>
                <a:gd name="connsiteX229" fmla="*/ 263538 w 265732"/>
                <a:gd name="connsiteY229" fmla="*/ 269185 h 369053"/>
                <a:gd name="connsiteX230" fmla="*/ 262324 w 265732"/>
                <a:gd name="connsiteY230" fmla="*/ 272102 h 369053"/>
                <a:gd name="connsiteX231" fmla="*/ 260185 w 265732"/>
                <a:gd name="connsiteY231" fmla="*/ 276371 h 369053"/>
                <a:gd name="connsiteX232" fmla="*/ 257997 w 265732"/>
                <a:gd name="connsiteY232" fmla="*/ 279345 h 369053"/>
                <a:gd name="connsiteX233" fmla="*/ 252448 w 265732"/>
                <a:gd name="connsiteY233" fmla="*/ 284759 h 369053"/>
                <a:gd name="connsiteX234" fmla="*/ 244264 w 265732"/>
                <a:gd name="connsiteY234" fmla="*/ 291477 h 369053"/>
                <a:gd name="connsiteX235" fmla="*/ 242363 w 265732"/>
                <a:gd name="connsiteY235" fmla="*/ 293506 h 369053"/>
                <a:gd name="connsiteX236" fmla="*/ 238533 w 265732"/>
                <a:gd name="connsiteY236" fmla="*/ 297034 h 369053"/>
                <a:gd name="connsiteX237" fmla="*/ 231977 w 265732"/>
                <a:gd name="connsiteY237" fmla="*/ 304096 h 369053"/>
                <a:gd name="connsiteX238" fmla="*/ 230279 w 265732"/>
                <a:gd name="connsiteY238" fmla="*/ 305652 h 369053"/>
                <a:gd name="connsiteX239" fmla="*/ 224905 w 265732"/>
                <a:gd name="connsiteY239" fmla="*/ 311263 h 369053"/>
                <a:gd name="connsiteX240" fmla="*/ 222456 w 265732"/>
                <a:gd name="connsiteY240" fmla="*/ 313045 h 369053"/>
                <a:gd name="connsiteX241" fmla="*/ 220532 w 265732"/>
                <a:gd name="connsiteY241" fmla="*/ 314710 h 369053"/>
                <a:gd name="connsiteX242" fmla="*/ 215209 w 265732"/>
                <a:gd name="connsiteY242" fmla="*/ 319993 h 369053"/>
                <a:gd name="connsiteX243" fmla="*/ 209489 w 265732"/>
                <a:gd name="connsiteY243" fmla="*/ 323994 h 369053"/>
                <a:gd name="connsiteX244" fmla="*/ 203874 w 265732"/>
                <a:gd name="connsiteY244" fmla="*/ 327703 h 369053"/>
                <a:gd name="connsiteX245" fmla="*/ 202190 w 265732"/>
                <a:gd name="connsiteY245" fmla="*/ 329581 h 369053"/>
                <a:gd name="connsiteX246" fmla="*/ 200095 w 265732"/>
                <a:gd name="connsiteY246" fmla="*/ 331012 h 369053"/>
                <a:gd name="connsiteX247" fmla="*/ 197595 w 265732"/>
                <a:gd name="connsiteY247" fmla="*/ 332372 h 369053"/>
                <a:gd name="connsiteX248" fmla="*/ 196541 w 265732"/>
                <a:gd name="connsiteY248" fmla="*/ 333134 h 369053"/>
                <a:gd name="connsiteX249" fmla="*/ 190892 w 265732"/>
                <a:gd name="connsiteY249" fmla="*/ 338191 h 369053"/>
                <a:gd name="connsiteX250" fmla="*/ 183058 w 265732"/>
                <a:gd name="connsiteY250" fmla="*/ 345191 h 369053"/>
                <a:gd name="connsiteX251" fmla="*/ 182261 w 265732"/>
                <a:gd name="connsiteY251" fmla="*/ 345300 h 369053"/>
                <a:gd name="connsiteX252" fmla="*/ 180221 w 265732"/>
                <a:gd name="connsiteY252" fmla="*/ 346429 h 369053"/>
                <a:gd name="connsiteX253" fmla="*/ 177031 w 265732"/>
                <a:gd name="connsiteY253" fmla="*/ 346702 h 369053"/>
                <a:gd name="connsiteX254" fmla="*/ 175645 w 265732"/>
                <a:gd name="connsiteY254" fmla="*/ 347565 h 369053"/>
                <a:gd name="connsiteX255" fmla="*/ 170769 w 265732"/>
                <a:gd name="connsiteY255" fmla="*/ 345106 h 369053"/>
                <a:gd name="connsiteX256" fmla="*/ 169959 w 265732"/>
                <a:gd name="connsiteY256" fmla="*/ 344947 h 369053"/>
                <a:gd name="connsiteX257" fmla="*/ 167092 w 265732"/>
                <a:gd name="connsiteY257" fmla="*/ 345557 h 369053"/>
                <a:gd name="connsiteX258" fmla="*/ 164340 w 265732"/>
                <a:gd name="connsiteY258" fmla="*/ 347344 h 369053"/>
                <a:gd name="connsiteX259" fmla="*/ 159261 w 265732"/>
                <a:gd name="connsiteY259" fmla="*/ 347890 h 369053"/>
                <a:gd name="connsiteX260" fmla="*/ 156739 w 265732"/>
                <a:gd name="connsiteY260" fmla="*/ 348469 h 369053"/>
                <a:gd name="connsiteX261" fmla="*/ 155131 w 265732"/>
                <a:gd name="connsiteY261" fmla="*/ 349294 h 369053"/>
                <a:gd name="connsiteX262" fmla="*/ 154800 w 265732"/>
                <a:gd name="connsiteY262" fmla="*/ 347341 h 369053"/>
                <a:gd name="connsiteX263" fmla="*/ 155495 w 265732"/>
                <a:gd name="connsiteY263" fmla="*/ 344862 h 369053"/>
                <a:gd name="connsiteX264" fmla="*/ 156614 w 265732"/>
                <a:gd name="connsiteY264" fmla="*/ 343208 h 369053"/>
                <a:gd name="connsiteX265" fmla="*/ 156718 w 265732"/>
                <a:gd name="connsiteY265" fmla="*/ 342130 h 369053"/>
                <a:gd name="connsiteX266" fmla="*/ 155897 w 265732"/>
                <a:gd name="connsiteY266" fmla="*/ 342242 h 369053"/>
                <a:gd name="connsiteX267" fmla="*/ 154271 w 265732"/>
                <a:gd name="connsiteY267" fmla="*/ 344669 h 369053"/>
                <a:gd name="connsiteX268" fmla="*/ 153401 w 265732"/>
                <a:gd name="connsiteY268" fmla="*/ 347500 h 369053"/>
                <a:gd name="connsiteX269" fmla="*/ 151660 w 265732"/>
                <a:gd name="connsiteY269" fmla="*/ 348922 h 369053"/>
                <a:gd name="connsiteX270" fmla="*/ 147834 w 265732"/>
                <a:gd name="connsiteY270" fmla="*/ 349503 h 369053"/>
                <a:gd name="connsiteX271" fmla="*/ 144105 w 265732"/>
                <a:gd name="connsiteY271" fmla="*/ 347230 h 369053"/>
                <a:gd name="connsiteX272" fmla="*/ 142334 w 265732"/>
                <a:gd name="connsiteY272" fmla="*/ 347253 h 369053"/>
                <a:gd name="connsiteX273" fmla="*/ 143446 w 265732"/>
                <a:gd name="connsiteY273" fmla="*/ 348881 h 369053"/>
                <a:gd name="connsiteX274" fmla="*/ 144198 w 265732"/>
                <a:gd name="connsiteY274" fmla="*/ 350667 h 369053"/>
                <a:gd name="connsiteX275" fmla="*/ 144100 w 265732"/>
                <a:gd name="connsiteY275" fmla="*/ 351667 h 369053"/>
                <a:gd name="connsiteX276" fmla="*/ 142112 w 265732"/>
                <a:gd name="connsiteY276" fmla="*/ 351491 h 369053"/>
                <a:gd name="connsiteX277" fmla="*/ 139898 w 265732"/>
                <a:gd name="connsiteY277" fmla="*/ 352561 h 369053"/>
                <a:gd name="connsiteX278" fmla="*/ 137957 w 265732"/>
                <a:gd name="connsiteY278" fmla="*/ 354123 h 369053"/>
                <a:gd name="connsiteX279" fmla="*/ 137015 w 265732"/>
                <a:gd name="connsiteY279" fmla="*/ 354126 h 369053"/>
                <a:gd name="connsiteX280" fmla="*/ 135711 w 265732"/>
                <a:gd name="connsiteY280" fmla="*/ 351943 h 369053"/>
                <a:gd name="connsiteX281" fmla="*/ 133318 w 265732"/>
                <a:gd name="connsiteY281" fmla="*/ 352962 h 369053"/>
                <a:gd name="connsiteX282" fmla="*/ 131274 w 265732"/>
                <a:gd name="connsiteY282" fmla="*/ 354332 h 369053"/>
                <a:gd name="connsiteX283" fmla="*/ 127119 w 265732"/>
                <a:gd name="connsiteY283" fmla="*/ 354760 h 369053"/>
                <a:gd name="connsiteX284" fmla="*/ 124642 w 265732"/>
                <a:gd name="connsiteY284" fmla="*/ 356559 h 369053"/>
                <a:gd name="connsiteX285" fmla="*/ 120259 w 265732"/>
                <a:gd name="connsiteY285" fmla="*/ 357772 h 369053"/>
                <a:gd name="connsiteX286" fmla="*/ 117851 w 265732"/>
                <a:gd name="connsiteY286" fmla="*/ 357743 h 369053"/>
                <a:gd name="connsiteX287" fmla="*/ 112362 w 265732"/>
                <a:gd name="connsiteY287" fmla="*/ 359203 h 369053"/>
                <a:gd name="connsiteX288" fmla="*/ 110537 w 265732"/>
                <a:gd name="connsiteY288" fmla="*/ 361452 h 369053"/>
                <a:gd name="connsiteX289" fmla="*/ 108937 w 265732"/>
                <a:gd name="connsiteY289" fmla="*/ 362279 h 369053"/>
                <a:gd name="connsiteX290" fmla="*/ 106659 w 265732"/>
                <a:gd name="connsiteY290" fmla="*/ 361583 h 369053"/>
                <a:gd name="connsiteX291" fmla="*/ 99641 w 265732"/>
                <a:gd name="connsiteY291" fmla="*/ 362679 h 369053"/>
                <a:gd name="connsiteX292" fmla="*/ 92932 w 265732"/>
                <a:gd name="connsiteY292" fmla="*/ 364116 h 369053"/>
                <a:gd name="connsiteX293" fmla="*/ 90077 w 265732"/>
                <a:gd name="connsiteY293" fmla="*/ 364034 h 369053"/>
                <a:gd name="connsiteX294" fmla="*/ 87222 w 265732"/>
                <a:gd name="connsiteY294" fmla="*/ 363437 h 369053"/>
                <a:gd name="connsiteX295" fmla="*/ 84197 w 265732"/>
                <a:gd name="connsiteY295" fmla="*/ 365433 h 369053"/>
                <a:gd name="connsiteX296" fmla="*/ 80984 w 265732"/>
                <a:gd name="connsiteY296" fmla="*/ 368101 h 369053"/>
                <a:gd name="connsiteX297" fmla="*/ 77442 w 265732"/>
                <a:gd name="connsiteY297" fmla="*/ 369053 h 369053"/>
                <a:gd name="connsiteX298" fmla="*/ 76173 w 265732"/>
                <a:gd name="connsiteY298" fmla="*/ 368712 h 369053"/>
                <a:gd name="connsiteX299" fmla="*/ 77187 w 265732"/>
                <a:gd name="connsiteY299" fmla="*/ 367314 h 369053"/>
                <a:gd name="connsiteX300" fmla="*/ 79531 w 265732"/>
                <a:gd name="connsiteY300" fmla="*/ 365865 h 369053"/>
                <a:gd name="connsiteX301" fmla="*/ 81139 w 265732"/>
                <a:gd name="connsiteY301" fmla="*/ 363900 h 369053"/>
                <a:gd name="connsiteX302" fmla="*/ 81360 w 265732"/>
                <a:gd name="connsiteY302" fmla="*/ 362261 h 369053"/>
                <a:gd name="connsiteX303" fmla="*/ 80254 w 265732"/>
                <a:gd name="connsiteY303" fmla="*/ 361617 h 369053"/>
                <a:gd name="connsiteX304" fmla="*/ 78744 w 265732"/>
                <a:gd name="connsiteY304" fmla="*/ 361420 h 369053"/>
                <a:gd name="connsiteX305" fmla="*/ 76842 w 265732"/>
                <a:gd name="connsiteY305" fmla="*/ 359723 h 369053"/>
                <a:gd name="connsiteX306" fmla="*/ 75019 w 265732"/>
                <a:gd name="connsiteY306" fmla="*/ 356041 h 369053"/>
                <a:gd name="connsiteX307" fmla="*/ 74032 w 265732"/>
                <a:gd name="connsiteY307" fmla="*/ 355838 h 369053"/>
                <a:gd name="connsiteX308" fmla="*/ 73532 w 265732"/>
                <a:gd name="connsiteY308" fmla="*/ 356806 h 369053"/>
                <a:gd name="connsiteX309" fmla="*/ 72972 w 265732"/>
                <a:gd name="connsiteY309" fmla="*/ 359630 h 369053"/>
                <a:gd name="connsiteX310" fmla="*/ 72404 w 265732"/>
                <a:gd name="connsiteY310" fmla="*/ 360443 h 369053"/>
                <a:gd name="connsiteX311" fmla="*/ 71439 w 265732"/>
                <a:gd name="connsiteY311" fmla="*/ 361089 h 369053"/>
                <a:gd name="connsiteX312" fmla="*/ 70280 w 265732"/>
                <a:gd name="connsiteY312" fmla="*/ 361739 h 369053"/>
                <a:gd name="connsiteX313" fmla="*/ 69148 w 265732"/>
                <a:gd name="connsiteY313" fmla="*/ 362056 h 369053"/>
                <a:gd name="connsiteX314" fmla="*/ 65091 w 265732"/>
                <a:gd name="connsiteY314" fmla="*/ 362017 h 369053"/>
                <a:gd name="connsiteX315" fmla="*/ 64557 w 265732"/>
                <a:gd name="connsiteY315" fmla="*/ 360593 h 369053"/>
                <a:gd name="connsiteX316" fmla="*/ 64557 w 265732"/>
                <a:gd name="connsiteY316" fmla="*/ 359997 h 369053"/>
                <a:gd name="connsiteX317" fmla="*/ 65276 w 265732"/>
                <a:gd name="connsiteY317" fmla="*/ 358120 h 369053"/>
                <a:gd name="connsiteX318" fmla="*/ 64648 w 265732"/>
                <a:gd name="connsiteY318" fmla="*/ 357792 h 369053"/>
                <a:gd name="connsiteX319" fmla="*/ 65246 w 265732"/>
                <a:gd name="connsiteY319" fmla="*/ 356319 h 369053"/>
                <a:gd name="connsiteX320" fmla="*/ 66203 w 265732"/>
                <a:gd name="connsiteY320" fmla="*/ 356398 h 369053"/>
                <a:gd name="connsiteX321" fmla="*/ 67336 w 265732"/>
                <a:gd name="connsiteY321" fmla="*/ 356180 h 369053"/>
                <a:gd name="connsiteX322" fmla="*/ 67904 w 265732"/>
                <a:gd name="connsiteY322" fmla="*/ 355422 h 369053"/>
                <a:gd name="connsiteX323" fmla="*/ 67861 w 265732"/>
                <a:gd name="connsiteY323" fmla="*/ 354517 h 369053"/>
                <a:gd name="connsiteX324" fmla="*/ 66285 w 265732"/>
                <a:gd name="connsiteY324" fmla="*/ 354282 h 369053"/>
                <a:gd name="connsiteX325" fmla="*/ 66188 w 265732"/>
                <a:gd name="connsiteY325" fmla="*/ 353664 h 369053"/>
                <a:gd name="connsiteX326" fmla="*/ 67593 w 265732"/>
                <a:gd name="connsiteY326" fmla="*/ 351083 h 369053"/>
                <a:gd name="connsiteX327" fmla="*/ 67794 w 265732"/>
                <a:gd name="connsiteY327" fmla="*/ 350369 h 369053"/>
                <a:gd name="connsiteX328" fmla="*/ 67250 w 265732"/>
                <a:gd name="connsiteY328" fmla="*/ 350221 h 369053"/>
                <a:gd name="connsiteX329" fmla="*/ 66369 w 265732"/>
                <a:gd name="connsiteY329" fmla="*/ 350502 h 369053"/>
                <a:gd name="connsiteX330" fmla="*/ 60562 w 265732"/>
                <a:gd name="connsiteY330" fmla="*/ 349692 h 369053"/>
                <a:gd name="connsiteX331" fmla="*/ 53400 w 265732"/>
                <a:gd name="connsiteY331" fmla="*/ 346385 h 369053"/>
                <a:gd name="connsiteX332" fmla="*/ 51638 w 265732"/>
                <a:gd name="connsiteY332" fmla="*/ 346214 h 369053"/>
                <a:gd name="connsiteX333" fmla="*/ 50554 w 265732"/>
                <a:gd name="connsiteY333" fmla="*/ 343257 h 369053"/>
                <a:gd name="connsiteX334" fmla="*/ 48826 w 265732"/>
                <a:gd name="connsiteY334" fmla="*/ 343632 h 369053"/>
                <a:gd name="connsiteX335" fmla="*/ 46308 w 265732"/>
                <a:gd name="connsiteY335" fmla="*/ 345363 h 369053"/>
                <a:gd name="connsiteX336" fmla="*/ 44419 w 265732"/>
                <a:gd name="connsiteY336" fmla="*/ 344048 h 369053"/>
                <a:gd name="connsiteX337" fmla="*/ 42389 w 265732"/>
                <a:gd name="connsiteY337" fmla="*/ 343182 h 369053"/>
                <a:gd name="connsiteX338" fmla="*/ 41827 w 265732"/>
                <a:gd name="connsiteY338" fmla="*/ 341828 h 369053"/>
                <a:gd name="connsiteX339" fmla="*/ 41856 w 265732"/>
                <a:gd name="connsiteY339" fmla="*/ 339829 h 369053"/>
                <a:gd name="connsiteX340" fmla="*/ 41681 w 265732"/>
                <a:gd name="connsiteY340" fmla="*/ 337469 h 369053"/>
                <a:gd name="connsiteX341" fmla="*/ 41126 w 265732"/>
                <a:gd name="connsiteY341" fmla="*/ 334704 h 369053"/>
                <a:gd name="connsiteX342" fmla="*/ 40720 w 265732"/>
                <a:gd name="connsiteY342" fmla="*/ 330768 h 369053"/>
                <a:gd name="connsiteX343" fmla="*/ 41100 w 265732"/>
                <a:gd name="connsiteY343" fmla="*/ 327687 h 369053"/>
                <a:gd name="connsiteX344" fmla="*/ 42719 w 265732"/>
                <a:gd name="connsiteY344" fmla="*/ 325403 h 369053"/>
                <a:gd name="connsiteX345" fmla="*/ 43341 w 265732"/>
                <a:gd name="connsiteY345" fmla="*/ 323944 h 369053"/>
                <a:gd name="connsiteX346" fmla="*/ 44101 w 265732"/>
                <a:gd name="connsiteY346" fmla="*/ 320215 h 369053"/>
                <a:gd name="connsiteX347" fmla="*/ 44272 w 265732"/>
                <a:gd name="connsiteY347" fmla="*/ 315839 h 369053"/>
                <a:gd name="connsiteX348" fmla="*/ 43842 w 265732"/>
                <a:gd name="connsiteY348" fmla="*/ 314347 h 369053"/>
                <a:gd name="connsiteX349" fmla="*/ 43950 w 265732"/>
                <a:gd name="connsiteY349" fmla="*/ 313354 h 369053"/>
                <a:gd name="connsiteX350" fmla="*/ 45242 w 265732"/>
                <a:gd name="connsiteY350" fmla="*/ 313354 h 369053"/>
                <a:gd name="connsiteX351" fmla="*/ 44961 w 265732"/>
                <a:gd name="connsiteY351" fmla="*/ 312502 h 369053"/>
                <a:gd name="connsiteX352" fmla="*/ 44393 w 265732"/>
                <a:gd name="connsiteY352" fmla="*/ 312035 h 369053"/>
                <a:gd name="connsiteX353" fmla="*/ 43765 w 265732"/>
                <a:gd name="connsiteY353" fmla="*/ 311065 h 369053"/>
                <a:gd name="connsiteX354" fmla="*/ 44300 w 265732"/>
                <a:gd name="connsiteY354" fmla="*/ 310551 h 369053"/>
                <a:gd name="connsiteX355" fmla="*/ 45846 w 265732"/>
                <a:gd name="connsiteY355" fmla="*/ 310514 h 369053"/>
                <a:gd name="connsiteX356" fmla="*/ 45971 w 265732"/>
                <a:gd name="connsiteY356" fmla="*/ 310187 h 369053"/>
                <a:gd name="connsiteX357" fmla="*/ 46146 w 265732"/>
                <a:gd name="connsiteY357" fmla="*/ 309723 h 369053"/>
                <a:gd name="connsiteX358" fmla="*/ 44950 w 265732"/>
                <a:gd name="connsiteY358" fmla="*/ 307170 h 369053"/>
                <a:gd name="connsiteX359" fmla="*/ 44812 w 265732"/>
                <a:gd name="connsiteY359" fmla="*/ 305952 h 369053"/>
                <a:gd name="connsiteX360" fmla="*/ 43151 w 265732"/>
                <a:gd name="connsiteY360" fmla="*/ 302250 h 369053"/>
                <a:gd name="connsiteX361" fmla="*/ 41257 w 265732"/>
                <a:gd name="connsiteY361" fmla="*/ 298735 h 369053"/>
                <a:gd name="connsiteX362" fmla="*/ 38407 w 265732"/>
                <a:gd name="connsiteY362" fmla="*/ 296188 h 369053"/>
                <a:gd name="connsiteX363" fmla="*/ 39418 w 265732"/>
                <a:gd name="connsiteY363" fmla="*/ 291988 h 369053"/>
                <a:gd name="connsiteX364" fmla="*/ 40569 w 265732"/>
                <a:gd name="connsiteY364" fmla="*/ 288184 h 369053"/>
                <a:gd name="connsiteX365" fmla="*/ 40340 w 265732"/>
                <a:gd name="connsiteY365" fmla="*/ 286349 h 369053"/>
                <a:gd name="connsiteX366" fmla="*/ 39899 w 265732"/>
                <a:gd name="connsiteY366" fmla="*/ 284114 h 369053"/>
                <a:gd name="connsiteX367" fmla="*/ 36410 w 265732"/>
                <a:gd name="connsiteY367" fmla="*/ 281660 h 369053"/>
                <a:gd name="connsiteX368" fmla="*/ 35891 w 265732"/>
                <a:gd name="connsiteY368" fmla="*/ 278196 h 369053"/>
                <a:gd name="connsiteX369" fmla="*/ 35038 w 265732"/>
                <a:gd name="connsiteY369" fmla="*/ 274472 h 369053"/>
                <a:gd name="connsiteX370" fmla="*/ 35360 w 265732"/>
                <a:gd name="connsiteY370" fmla="*/ 272185 h 369053"/>
                <a:gd name="connsiteX371" fmla="*/ 35928 w 265732"/>
                <a:gd name="connsiteY371" fmla="*/ 270433 h 369053"/>
                <a:gd name="connsiteX372" fmla="*/ 37075 w 265732"/>
                <a:gd name="connsiteY372" fmla="*/ 268687 h 369053"/>
                <a:gd name="connsiteX373" fmla="*/ 42864 w 265732"/>
                <a:gd name="connsiteY373" fmla="*/ 263167 h 369053"/>
                <a:gd name="connsiteX374" fmla="*/ 43218 w 265732"/>
                <a:gd name="connsiteY374" fmla="*/ 260279 h 369053"/>
                <a:gd name="connsiteX375" fmla="*/ 47142 w 265732"/>
                <a:gd name="connsiteY375" fmla="*/ 260069 h 369053"/>
                <a:gd name="connsiteX376" fmla="*/ 45321 w 265732"/>
                <a:gd name="connsiteY376" fmla="*/ 257484 h 369053"/>
                <a:gd name="connsiteX377" fmla="*/ 44892 w 265732"/>
                <a:gd name="connsiteY377" fmla="*/ 256031 h 369053"/>
                <a:gd name="connsiteX378" fmla="*/ 44801 w 265732"/>
                <a:gd name="connsiteY378" fmla="*/ 254334 h 369053"/>
                <a:gd name="connsiteX379" fmla="*/ 50446 w 265732"/>
                <a:gd name="connsiteY379" fmla="*/ 253171 h 369053"/>
                <a:gd name="connsiteX380" fmla="*/ 52553 w 265732"/>
                <a:gd name="connsiteY380" fmla="*/ 254126 h 369053"/>
                <a:gd name="connsiteX381" fmla="*/ 57520 w 265732"/>
                <a:gd name="connsiteY381" fmla="*/ 252946 h 369053"/>
                <a:gd name="connsiteX382" fmla="*/ 61929 w 265732"/>
                <a:gd name="connsiteY382" fmla="*/ 250636 h 369053"/>
                <a:gd name="connsiteX383" fmla="*/ 61851 w 265732"/>
                <a:gd name="connsiteY383" fmla="*/ 249407 h 369053"/>
                <a:gd name="connsiteX384" fmla="*/ 61174 w 265732"/>
                <a:gd name="connsiteY384" fmla="*/ 248306 h 369053"/>
                <a:gd name="connsiteX385" fmla="*/ 60238 w 265732"/>
                <a:gd name="connsiteY385" fmla="*/ 246185 h 369053"/>
                <a:gd name="connsiteX386" fmla="*/ 60901 w 265732"/>
                <a:gd name="connsiteY386" fmla="*/ 245596 h 369053"/>
                <a:gd name="connsiteX387" fmla="*/ 62510 w 265732"/>
                <a:gd name="connsiteY387" fmla="*/ 246029 h 369053"/>
                <a:gd name="connsiteX388" fmla="*/ 61772 w 265732"/>
                <a:gd name="connsiteY388" fmla="*/ 244974 h 369053"/>
                <a:gd name="connsiteX389" fmla="*/ 61906 w 265732"/>
                <a:gd name="connsiteY389" fmla="*/ 243861 h 369053"/>
                <a:gd name="connsiteX390" fmla="*/ 63661 w 265732"/>
                <a:gd name="connsiteY390" fmla="*/ 244324 h 369053"/>
                <a:gd name="connsiteX391" fmla="*/ 66527 w 265732"/>
                <a:gd name="connsiteY391" fmla="*/ 241214 h 369053"/>
                <a:gd name="connsiteX392" fmla="*/ 66630 w 265732"/>
                <a:gd name="connsiteY392" fmla="*/ 238835 h 369053"/>
                <a:gd name="connsiteX393" fmla="*/ 71582 w 265732"/>
                <a:gd name="connsiteY393" fmla="*/ 237590 h 369053"/>
                <a:gd name="connsiteX394" fmla="*/ 77291 w 265732"/>
                <a:gd name="connsiteY394" fmla="*/ 232724 h 369053"/>
                <a:gd name="connsiteX395" fmla="*/ 79926 w 265732"/>
                <a:gd name="connsiteY395" fmla="*/ 231207 h 369053"/>
                <a:gd name="connsiteX396" fmla="*/ 82471 w 265732"/>
                <a:gd name="connsiteY396" fmla="*/ 230108 h 369053"/>
                <a:gd name="connsiteX397" fmla="*/ 87894 w 265732"/>
                <a:gd name="connsiteY397" fmla="*/ 225229 h 369053"/>
                <a:gd name="connsiteX398" fmla="*/ 90215 w 265732"/>
                <a:gd name="connsiteY398" fmla="*/ 225002 h 369053"/>
                <a:gd name="connsiteX399" fmla="*/ 91409 w 265732"/>
                <a:gd name="connsiteY399" fmla="*/ 221706 h 369053"/>
                <a:gd name="connsiteX400" fmla="*/ 96020 w 265732"/>
                <a:gd name="connsiteY400" fmla="*/ 217312 h 369053"/>
                <a:gd name="connsiteX401" fmla="*/ 97421 w 265732"/>
                <a:gd name="connsiteY401" fmla="*/ 216749 h 369053"/>
                <a:gd name="connsiteX402" fmla="*/ 99576 w 265732"/>
                <a:gd name="connsiteY402" fmla="*/ 212779 h 369053"/>
                <a:gd name="connsiteX403" fmla="*/ 105238 w 265732"/>
                <a:gd name="connsiteY403" fmla="*/ 208180 h 369053"/>
                <a:gd name="connsiteX404" fmla="*/ 108827 w 265732"/>
                <a:gd name="connsiteY404" fmla="*/ 202302 h 369053"/>
                <a:gd name="connsiteX405" fmla="*/ 110807 w 265732"/>
                <a:gd name="connsiteY405" fmla="*/ 200210 h 369053"/>
                <a:gd name="connsiteX406" fmla="*/ 111420 w 265732"/>
                <a:gd name="connsiteY406" fmla="*/ 197980 h 369053"/>
                <a:gd name="connsiteX407" fmla="*/ 113625 w 265732"/>
                <a:gd name="connsiteY407" fmla="*/ 197791 h 369053"/>
                <a:gd name="connsiteX408" fmla="*/ 115614 w 265732"/>
                <a:gd name="connsiteY408" fmla="*/ 196151 h 369053"/>
                <a:gd name="connsiteX409" fmla="*/ 119917 w 265732"/>
                <a:gd name="connsiteY409" fmla="*/ 195007 h 369053"/>
                <a:gd name="connsiteX410" fmla="*/ 124165 w 265732"/>
                <a:gd name="connsiteY410" fmla="*/ 195324 h 369053"/>
                <a:gd name="connsiteX411" fmla="*/ 125934 w 265732"/>
                <a:gd name="connsiteY411" fmla="*/ 196102 h 369053"/>
                <a:gd name="connsiteX412" fmla="*/ 127568 w 265732"/>
                <a:gd name="connsiteY412" fmla="*/ 195855 h 369053"/>
                <a:gd name="connsiteX413" fmla="*/ 127404 w 265732"/>
                <a:gd name="connsiteY413" fmla="*/ 193846 h 369053"/>
                <a:gd name="connsiteX414" fmla="*/ 126238 w 265732"/>
                <a:gd name="connsiteY414" fmla="*/ 192604 h 369053"/>
                <a:gd name="connsiteX415" fmla="*/ 127190 w 265732"/>
                <a:gd name="connsiteY415" fmla="*/ 191411 h 369053"/>
                <a:gd name="connsiteX416" fmla="*/ 129436 w 265732"/>
                <a:gd name="connsiteY416" fmla="*/ 190506 h 369053"/>
                <a:gd name="connsiteX417" fmla="*/ 129207 w 265732"/>
                <a:gd name="connsiteY417" fmla="*/ 188505 h 369053"/>
                <a:gd name="connsiteX418" fmla="*/ 128719 w 265732"/>
                <a:gd name="connsiteY418" fmla="*/ 187300 h 369053"/>
                <a:gd name="connsiteX419" fmla="*/ 126853 w 265732"/>
                <a:gd name="connsiteY419" fmla="*/ 185694 h 369053"/>
                <a:gd name="connsiteX420" fmla="*/ 127782 w 265732"/>
                <a:gd name="connsiteY420" fmla="*/ 182092 h 369053"/>
                <a:gd name="connsiteX421" fmla="*/ 128004 w 265732"/>
                <a:gd name="connsiteY421" fmla="*/ 178137 h 369053"/>
                <a:gd name="connsiteX422" fmla="*/ 128888 w 265732"/>
                <a:gd name="connsiteY422" fmla="*/ 173559 h 369053"/>
                <a:gd name="connsiteX423" fmla="*/ 126542 w 265732"/>
                <a:gd name="connsiteY423" fmla="*/ 171129 h 369053"/>
                <a:gd name="connsiteX424" fmla="*/ 117644 w 265732"/>
                <a:gd name="connsiteY424" fmla="*/ 166987 h 369053"/>
                <a:gd name="connsiteX425" fmla="*/ 115983 w 265732"/>
                <a:gd name="connsiteY425" fmla="*/ 167131 h 369053"/>
                <a:gd name="connsiteX426" fmla="*/ 114007 w 265732"/>
                <a:gd name="connsiteY426" fmla="*/ 166611 h 369053"/>
                <a:gd name="connsiteX427" fmla="*/ 111943 w 265732"/>
                <a:gd name="connsiteY427" fmla="*/ 163467 h 369053"/>
                <a:gd name="connsiteX428" fmla="*/ 112865 w 265732"/>
                <a:gd name="connsiteY428" fmla="*/ 160750 h 369053"/>
                <a:gd name="connsiteX429" fmla="*/ 112971 w 265732"/>
                <a:gd name="connsiteY429" fmla="*/ 159748 h 369053"/>
                <a:gd name="connsiteX430" fmla="*/ 112165 w 265732"/>
                <a:gd name="connsiteY430" fmla="*/ 159778 h 369053"/>
                <a:gd name="connsiteX431" fmla="*/ 110861 w 265732"/>
                <a:gd name="connsiteY431" fmla="*/ 161103 h 369053"/>
                <a:gd name="connsiteX432" fmla="*/ 108023 w 265732"/>
                <a:gd name="connsiteY432" fmla="*/ 162617 h 369053"/>
                <a:gd name="connsiteX433" fmla="*/ 104335 w 265732"/>
                <a:gd name="connsiteY433" fmla="*/ 161455 h 369053"/>
                <a:gd name="connsiteX434" fmla="*/ 102521 w 265732"/>
                <a:gd name="connsiteY434" fmla="*/ 161713 h 369053"/>
                <a:gd name="connsiteX435" fmla="*/ 100168 w 265732"/>
                <a:gd name="connsiteY435" fmla="*/ 154976 h 369053"/>
                <a:gd name="connsiteX436" fmla="*/ 98965 w 265732"/>
                <a:gd name="connsiteY436" fmla="*/ 152396 h 369053"/>
                <a:gd name="connsiteX437" fmla="*/ 97035 w 265732"/>
                <a:gd name="connsiteY437" fmla="*/ 149175 h 369053"/>
                <a:gd name="connsiteX438" fmla="*/ 93588 w 265732"/>
                <a:gd name="connsiteY438" fmla="*/ 147600 h 369053"/>
                <a:gd name="connsiteX439" fmla="*/ 92914 w 265732"/>
                <a:gd name="connsiteY439" fmla="*/ 146709 h 369053"/>
                <a:gd name="connsiteX440" fmla="*/ 92457 w 265732"/>
                <a:gd name="connsiteY440" fmla="*/ 145343 h 369053"/>
                <a:gd name="connsiteX441" fmla="*/ 92307 w 265732"/>
                <a:gd name="connsiteY441" fmla="*/ 143444 h 369053"/>
                <a:gd name="connsiteX442" fmla="*/ 91871 w 265732"/>
                <a:gd name="connsiteY442" fmla="*/ 140631 h 369053"/>
                <a:gd name="connsiteX443" fmla="*/ 92053 w 265732"/>
                <a:gd name="connsiteY443" fmla="*/ 138321 h 369053"/>
                <a:gd name="connsiteX444" fmla="*/ 92476 w 265732"/>
                <a:gd name="connsiteY444" fmla="*/ 136943 h 369053"/>
                <a:gd name="connsiteX445" fmla="*/ 93961 w 265732"/>
                <a:gd name="connsiteY445" fmla="*/ 136017 h 369053"/>
                <a:gd name="connsiteX446" fmla="*/ 96110 w 265732"/>
                <a:gd name="connsiteY446" fmla="*/ 133403 h 369053"/>
                <a:gd name="connsiteX447" fmla="*/ 96559 w 265732"/>
                <a:gd name="connsiteY447" fmla="*/ 131501 h 369053"/>
                <a:gd name="connsiteX448" fmla="*/ 96743 w 265732"/>
                <a:gd name="connsiteY448" fmla="*/ 128581 h 369053"/>
                <a:gd name="connsiteX449" fmla="*/ 97732 w 265732"/>
                <a:gd name="connsiteY449" fmla="*/ 126028 h 369053"/>
                <a:gd name="connsiteX450" fmla="*/ 98831 w 265732"/>
                <a:gd name="connsiteY450" fmla="*/ 124736 h 369053"/>
                <a:gd name="connsiteX451" fmla="*/ 98555 w 265732"/>
                <a:gd name="connsiteY451" fmla="*/ 123708 h 369053"/>
                <a:gd name="connsiteX452" fmla="*/ 97797 w 265732"/>
                <a:gd name="connsiteY452" fmla="*/ 122236 h 369053"/>
                <a:gd name="connsiteX453" fmla="*/ 96194 w 265732"/>
                <a:gd name="connsiteY453" fmla="*/ 120145 h 369053"/>
                <a:gd name="connsiteX454" fmla="*/ 93754 w 265732"/>
                <a:gd name="connsiteY454" fmla="*/ 117593 h 369053"/>
                <a:gd name="connsiteX455" fmla="*/ 91949 w 265732"/>
                <a:gd name="connsiteY455" fmla="*/ 115149 h 369053"/>
                <a:gd name="connsiteX456" fmla="*/ 91157 w 265732"/>
                <a:gd name="connsiteY456" fmla="*/ 112862 h 369053"/>
                <a:gd name="connsiteX457" fmla="*/ 90749 w 265732"/>
                <a:gd name="connsiteY457" fmla="*/ 110816 h 369053"/>
                <a:gd name="connsiteX458" fmla="*/ 90815 w 265732"/>
                <a:gd name="connsiteY458" fmla="*/ 108953 h 369053"/>
                <a:gd name="connsiteX459" fmla="*/ 91491 w 265732"/>
                <a:gd name="connsiteY459" fmla="*/ 107684 h 369053"/>
                <a:gd name="connsiteX460" fmla="*/ 93798 w 265732"/>
                <a:gd name="connsiteY460" fmla="*/ 106085 h 369053"/>
                <a:gd name="connsiteX461" fmla="*/ 94106 w 265732"/>
                <a:gd name="connsiteY461" fmla="*/ 105406 h 369053"/>
                <a:gd name="connsiteX462" fmla="*/ 93193 w 265732"/>
                <a:gd name="connsiteY462" fmla="*/ 101868 h 369053"/>
                <a:gd name="connsiteX463" fmla="*/ 91584 w 265732"/>
                <a:gd name="connsiteY463" fmla="*/ 101223 h 369053"/>
                <a:gd name="connsiteX464" fmla="*/ 88848 w 265732"/>
                <a:gd name="connsiteY464" fmla="*/ 100880 h 369053"/>
                <a:gd name="connsiteX465" fmla="*/ 87322 w 265732"/>
                <a:gd name="connsiteY465" fmla="*/ 100851 h 369053"/>
                <a:gd name="connsiteX466" fmla="*/ 87030 w 265732"/>
                <a:gd name="connsiteY466" fmla="*/ 100464 h 369053"/>
                <a:gd name="connsiteX467" fmla="*/ 86955 w 265732"/>
                <a:gd name="connsiteY467" fmla="*/ 99751 h 369053"/>
                <a:gd name="connsiteX468" fmla="*/ 87263 w 265732"/>
                <a:gd name="connsiteY468" fmla="*/ 98297 h 369053"/>
                <a:gd name="connsiteX469" fmla="*/ 88127 w 265732"/>
                <a:gd name="connsiteY469" fmla="*/ 96629 h 369053"/>
                <a:gd name="connsiteX470" fmla="*/ 88846 w 265732"/>
                <a:gd name="connsiteY470" fmla="*/ 95566 h 369053"/>
                <a:gd name="connsiteX471" fmla="*/ 88941 w 265732"/>
                <a:gd name="connsiteY471" fmla="*/ 94664 h 369053"/>
                <a:gd name="connsiteX472" fmla="*/ 88032 w 265732"/>
                <a:gd name="connsiteY472" fmla="*/ 91575 h 369053"/>
                <a:gd name="connsiteX473" fmla="*/ 87758 w 265732"/>
                <a:gd name="connsiteY473" fmla="*/ 87780 h 369053"/>
                <a:gd name="connsiteX474" fmla="*/ 88069 w 265732"/>
                <a:gd name="connsiteY474" fmla="*/ 84803 h 369053"/>
                <a:gd name="connsiteX475" fmla="*/ 90967 w 265732"/>
                <a:gd name="connsiteY475" fmla="*/ 82604 h 369053"/>
                <a:gd name="connsiteX476" fmla="*/ 91098 w 265732"/>
                <a:gd name="connsiteY476" fmla="*/ 81800 h 369053"/>
                <a:gd name="connsiteX477" fmla="*/ 87458 w 265732"/>
                <a:gd name="connsiteY477" fmla="*/ 79410 h 369053"/>
                <a:gd name="connsiteX478" fmla="*/ 84832 w 265732"/>
                <a:gd name="connsiteY478" fmla="*/ 76697 h 369053"/>
                <a:gd name="connsiteX479" fmla="*/ 84016 w 265732"/>
                <a:gd name="connsiteY479" fmla="*/ 75112 h 369053"/>
                <a:gd name="connsiteX480" fmla="*/ 81007 w 265732"/>
                <a:gd name="connsiteY480" fmla="*/ 74872 h 369053"/>
                <a:gd name="connsiteX481" fmla="*/ 79135 w 265732"/>
                <a:gd name="connsiteY481" fmla="*/ 70260 h 369053"/>
                <a:gd name="connsiteX482" fmla="*/ 76427 w 265732"/>
                <a:gd name="connsiteY482" fmla="*/ 68010 h 369053"/>
                <a:gd name="connsiteX483" fmla="*/ 73745 w 265732"/>
                <a:gd name="connsiteY483" fmla="*/ 66065 h 369053"/>
                <a:gd name="connsiteX484" fmla="*/ 72160 w 265732"/>
                <a:gd name="connsiteY484" fmla="*/ 65159 h 369053"/>
                <a:gd name="connsiteX485" fmla="*/ 62866 w 265732"/>
                <a:gd name="connsiteY485" fmla="*/ 62360 h 369053"/>
                <a:gd name="connsiteX486" fmla="*/ 59174 w 265732"/>
                <a:gd name="connsiteY486" fmla="*/ 61827 h 369053"/>
                <a:gd name="connsiteX487" fmla="*/ 54803 w 265732"/>
                <a:gd name="connsiteY487" fmla="*/ 60192 h 369053"/>
                <a:gd name="connsiteX488" fmla="*/ 51547 w 265732"/>
                <a:gd name="connsiteY488" fmla="*/ 58137 h 369053"/>
                <a:gd name="connsiteX489" fmla="*/ 48757 w 265732"/>
                <a:gd name="connsiteY489" fmla="*/ 56814 h 369053"/>
                <a:gd name="connsiteX490" fmla="*/ 46369 w 265732"/>
                <a:gd name="connsiteY490" fmla="*/ 55182 h 369053"/>
                <a:gd name="connsiteX491" fmla="*/ 43039 w 265732"/>
                <a:gd name="connsiteY491" fmla="*/ 53654 h 369053"/>
                <a:gd name="connsiteX492" fmla="*/ 42087 w 265732"/>
                <a:gd name="connsiteY492" fmla="*/ 52347 h 369053"/>
                <a:gd name="connsiteX493" fmla="*/ 38491 w 265732"/>
                <a:gd name="connsiteY493" fmla="*/ 49924 h 369053"/>
                <a:gd name="connsiteX494" fmla="*/ 36803 w 265732"/>
                <a:gd name="connsiteY494" fmla="*/ 48328 h 369053"/>
                <a:gd name="connsiteX495" fmla="*/ 30946 w 265732"/>
                <a:gd name="connsiteY495" fmla="*/ 45309 h 369053"/>
                <a:gd name="connsiteX496" fmla="*/ 30735 w 265732"/>
                <a:gd name="connsiteY496" fmla="*/ 44117 h 369053"/>
                <a:gd name="connsiteX497" fmla="*/ 30692 w 265732"/>
                <a:gd name="connsiteY497" fmla="*/ 42966 h 369053"/>
                <a:gd name="connsiteX498" fmla="*/ 30428 w 265732"/>
                <a:gd name="connsiteY498" fmla="*/ 42488 h 369053"/>
                <a:gd name="connsiteX499" fmla="*/ 24392 w 265732"/>
                <a:gd name="connsiteY499" fmla="*/ 40278 h 369053"/>
                <a:gd name="connsiteX500" fmla="*/ 25580 w 265732"/>
                <a:gd name="connsiteY500" fmla="*/ 39013 h 369053"/>
                <a:gd name="connsiteX501" fmla="*/ 30299 w 265732"/>
                <a:gd name="connsiteY501" fmla="*/ 38937 h 369053"/>
                <a:gd name="connsiteX502" fmla="*/ 34201 w 265732"/>
                <a:gd name="connsiteY502" fmla="*/ 40088 h 369053"/>
                <a:gd name="connsiteX503" fmla="*/ 35058 w 265732"/>
                <a:gd name="connsiteY503" fmla="*/ 39596 h 369053"/>
                <a:gd name="connsiteX504" fmla="*/ 35574 w 265732"/>
                <a:gd name="connsiteY504" fmla="*/ 38573 h 369053"/>
                <a:gd name="connsiteX505" fmla="*/ 33911 w 265732"/>
                <a:gd name="connsiteY505" fmla="*/ 34464 h 369053"/>
                <a:gd name="connsiteX506" fmla="*/ 34209 w 265732"/>
                <a:gd name="connsiteY506" fmla="*/ 33393 h 369053"/>
                <a:gd name="connsiteX507" fmla="*/ 35926 w 265732"/>
                <a:gd name="connsiteY507" fmla="*/ 32102 h 369053"/>
                <a:gd name="connsiteX508" fmla="*/ 38647 w 265732"/>
                <a:gd name="connsiteY508" fmla="*/ 31074 h 369053"/>
                <a:gd name="connsiteX509" fmla="*/ 42946 w 265732"/>
                <a:gd name="connsiteY509" fmla="*/ 30925 h 369053"/>
                <a:gd name="connsiteX510" fmla="*/ 45876 w 265732"/>
                <a:gd name="connsiteY510" fmla="*/ 31077 h 369053"/>
                <a:gd name="connsiteX511" fmla="*/ 46496 w 265732"/>
                <a:gd name="connsiteY511" fmla="*/ 31189 h 369053"/>
                <a:gd name="connsiteX512" fmla="*/ 50873 w 265732"/>
                <a:gd name="connsiteY512" fmla="*/ 35711 h 369053"/>
                <a:gd name="connsiteX513" fmla="*/ 54626 w 265732"/>
                <a:gd name="connsiteY513" fmla="*/ 40113 h 369053"/>
                <a:gd name="connsiteX514" fmla="*/ 56622 w 265732"/>
                <a:gd name="connsiteY514" fmla="*/ 41986 h 369053"/>
                <a:gd name="connsiteX515" fmla="*/ 61502 w 265732"/>
                <a:gd name="connsiteY515" fmla="*/ 47283 h 369053"/>
                <a:gd name="connsiteX516" fmla="*/ 63327 w 265732"/>
                <a:gd name="connsiteY516" fmla="*/ 50342 h 369053"/>
                <a:gd name="connsiteX517" fmla="*/ 63946 w 265732"/>
                <a:gd name="connsiteY517" fmla="*/ 52530 h 369053"/>
                <a:gd name="connsiteX518" fmla="*/ 65931 w 265732"/>
                <a:gd name="connsiteY518" fmla="*/ 52516 h 369053"/>
                <a:gd name="connsiteX519" fmla="*/ 72793 w 265732"/>
                <a:gd name="connsiteY519" fmla="*/ 53475 h 369053"/>
                <a:gd name="connsiteX520" fmla="*/ 78557 w 265732"/>
                <a:gd name="connsiteY520" fmla="*/ 54282 h 369053"/>
                <a:gd name="connsiteX521" fmla="*/ 80163 w 265732"/>
                <a:gd name="connsiteY521" fmla="*/ 55505 h 369053"/>
                <a:gd name="connsiteX522" fmla="*/ 84137 w 265732"/>
                <a:gd name="connsiteY522" fmla="*/ 55259 h 369053"/>
                <a:gd name="connsiteX523" fmla="*/ 87198 w 265732"/>
                <a:gd name="connsiteY523" fmla="*/ 54156 h 369053"/>
                <a:gd name="connsiteX524" fmla="*/ 92605 w 265732"/>
                <a:gd name="connsiteY524" fmla="*/ 52761 h 369053"/>
                <a:gd name="connsiteX525" fmla="*/ 94055 w 265732"/>
                <a:gd name="connsiteY525" fmla="*/ 51044 h 369053"/>
                <a:gd name="connsiteX526" fmla="*/ 95855 w 265732"/>
                <a:gd name="connsiteY526" fmla="*/ 49212 h 369053"/>
                <a:gd name="connsiteX527" fmla="*/ 99026 w 265732"/>
                <a:gd name="connsiteY527" fmla="*/ 49500 h 369053"/>
                <a:gd name="connsiteX528" fmla="*/ 102491 w 265732"/>
                <a:gd name="connsiteY528" fmla="*/ 50949 h 369053"/>
                <a:gd name="connsiteX529" fmla="*/ 106425 w 265732"/>
                <a:gd name="connsiteY529" fmla="*/ 52851 h 369053"/>
                <a:gd name="connsiteX530" fmla="*/ 109930 w 265732"/>
                <a:gd name="connsiteY530" fmla="*/ 53731 h 369053"/>
                <a:gd name="connsiteX531" fmla="*/ 114633 w 265732"/>
                <a:gd name="connsiteY531" fmla="*/ 55111 h 369053"/>
                <a:gd name="connsiteX532" fmla="*/ 116827 w 265732"/>
                <a:gd name="connsiteY532" fmla="*/ 56893 h 369053"/>
                <a:gd name="connsiteX533" fmla="*/ 119900 w 265732"/>
                <a:gd name="connsiteY533" fmla="*/ 57401 h 369053"/>
                <a:gd name="connsiteX534" fmla="*/ 123117 w 265732"/>
                <a:gd name="connsiteY534" fmla="*/ 55620 h 369053"/>
                <a:gd name="connsiteX535" fmla="*/ 125018 w 265732"/>
                <a:gd name="connsiteY535" fmla="*/ 50779 h 369053"/>
                <a:gd name="connsiteX536" fmla="*/ 126704 w 265732"/>
                <a:gd name="connsiteY536" fmla="*/ 48616 h 369053"/>
                <a:gd name="connsiteX537" fmla="*/ 129093 w 265732"/>
                <a:gd name="connsiteY537" fmla="*/ 47028 h 369053"/>
                <a:gd name="connsiteX538" fmla="*/ 131829 w 265732"/>
                <a:gd name="connsiteY538" fmla="*/ 46327 h 369053"/>
                <a:gd name="connsiteX539" fmla="*/ 133917 w 265732"/>
                <a:gd name="connsiteY539" fmla="*/ 46073 h 369053"/>
                <a:gd name="connsiteX540" fmla="*/ 135495 w 265732"/>
                <a:gd name="connsiteY540" fmla="*/ 44837 h 369053"/>
                <a:gd name="connsiteX541" fmla="*/ 137743 w 265732"/>
                <a:gd name="connsiteY541" fmla="*/ 42089 h 369053"/>
                <a:gd name="connsiteX542" fmla="*/ 138182 w 265732"/>
                <a:gd name="connsiteY542" fmla="*/ 38755 h 369053"/>
                <a:gd name="connsiteX543" fmla="*/ 137750 w 265732"/>
                <a:gd name="connsiteY543" fmla="*/ 32718 h 369053"/>
                <a:gd name="connsiteX544" fmla="*/ 138160 w 265732"/>
                <a:gd name="connsiteY544" fmla="*/ 30723 h 369053"/>
                <a:gd name="connsiteX545" fmla="*/ 139996 w 265732"/>
                <a:gd name="connsiteY545" fmla="*/ 27454 h 369053"/>
                <a:gd name="connsiteX546" fmla="*/ 142457 w 265732"/>
                <a:gd name="connsiteY546" fmla="*/ 18764 h 369053"/>
                <a:gd name="connsiteX547" fmla="*/ 143563 w 265732"/>
                <a:gd name="connsiteY547" fmla="*/ 16253 h 369053"/>
                <a:gd name="connsiteX548" fmla="*/ 144910 w 265732"/>
                <a:gd name="connsiteY548" fmla="*/ 14724 h 369053"/>
                <a:gd name="connsiteX549" fmla="*/ 146761 w 265732"/>
                <a:gd name="connsiteY549" fmla="*/ 13814 h 369053"/>
                <a:gd name="connsiteX550" fmla="*/ 150123 w 265732"/>
                <a:gd name="connsiteY550" fmla="*/ 11169 h 369053"/>
                <a:gd name="connsiteX551" fmla="*/ 154925 w 265732"/>
                <a:gd name="connsiteY551" fmla="*/ 5923 h 369053"/>
                <a:gd name="connsiteX552" fmla="*/ 156227 w 265732"/>
                <a:gd name="connsiteY552" fmla="*/ 5477 h 369053"/>
                <a:gd name="connsiteX553" fmla="*/ 159676 w 265732"/>
                <a:gd name="connsiteY553" fmla="*/ 5211 h 369053"/>
                <a:gd name="connsiteX554" fmla="*/ 163967 w 265732"/>
                <a:gd name="connsiteY554" fmla="*/ 5406 h 369053"/>
                <a:gd name="connsiteX555" fmla="*/ 167823 w 265732"/>
                <a:gd name="connsiteY555" fmla="*/ 6331 h 369053"/>
                <a:gd name="connsiteX556" fmla="*/ 168240 w 265732"/>
                <a:gd name="connsiteY556" fmla="*/ 6260 h 369053"/>
                <a:gd name="connsiteX557" fmla="*/ 169968 w 265732"/>
                <a:gd name="connsiteY557" fmla="*/ 5778 h 369053"/>
                <a:gd name="connsiteX558" fmla="*/ 173116 w 265732"/>
                <a:gd name="connsiteY558" fmla="*/ 4145 h 369053"/>
                <a:gd name="connsiteX559" fmla="*/ 178504 w 265732"/>
                <a:gd name="connsiteY559" fmla="*/ 895 h 369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Lst>
              <a:rect l="l" t="t" r="r" b="b"/>
              <a:pathLst>
                <a:path w="265732" h="369053">
                  <a:moveTo>
                    <a:pt x="21473" y="360506"/>
                  </a:moveTo>
                  <a:lnTo>
                    <a:pt x="23220" y="360680"/>
                  </a:lnTo>
                  <a:lnTo>
                    <a:pt x="24153" y="361638"/>
                  </a:lnTo>
                  <a:lnTo>
                    <a:pt x="23978" y="362422"/>
                  </a:lnTo>
                  <a:lnTo>
                    <a:pt x="22173" y="362597"/>
                  </a:lnTo>
                  <a:lnTo>
                    <a:pt x="21415" y="361899"/>
                  </a:lnTo>
                  <a:lnTo>
                    <a:pt x="19728" y="361986"/>
                  </a:lnTo>
                  <a:lnTo>
                    <a:pt x="19435" y="361638"/>
                  </a:lnTo>
                  <a:lnTo>
                    <a:pt x="20134" y="360942"/>
                  </a:lnTo>
                  <a:close/>
                  <a:moveTo>
                    <a:pt x="45306" y="357280"/>
                  </a:moveTo>
                  <a:lnTo>
                    <a:pt x="46768" y="357390"/>
                  </a:lnTo>
                  <a:lnTo>
                    <a:pt x="47079" y="358322"/>
                  </a:lnTo>
                  <a:lnTo>
                    <a:pt x="46641" y="359417"/>
                  </a:lnTo>
                  <a:lnTo>
                    <a:pt x="44702" y="359744"/>
                  </a:lnTo>
                  <a:lnTo>
                    <a:pt x="43494" y="358787"/>
                  </a:lnTo>
                  <a:lnTo>
                    <a:pt x="43953" y="358075"/>
                  </a:lnTo>
                  <a:close/>
                  <a:moveTo>
                    <a:pt x="51860" y="356303"/>
                  </a:moveTo>
                  <a:lnTo>
                    <a:pt x="51171" y="358333"/>
                  </a:lnTo>
                  <a:lnTo>
                    <a:pt x="48958" y="359471"/>
                  </a:lnTo>
                  <a:lnTo>
                    <a:pt x="48115" y="359200"/>
                  </a:lnTo>
                  <a:lnTo>
                    <a:pt x="48332" y="357280"/>
                  </a:lnTo>
                  <a:lnTo>
                    <a:pt x="49647" y="356401"/>
                  </a:lnTo>
                  <a:close/>
                  <a:moveTo>
                    <a:pt x="2428" y="354834"/>
                  </a:moveTo>
                  <a:lnTo>
                    <a:pt x="3168" y="356788"/>
                  </a:lnTo>
                  <a:lnTo>
                    <a:pt x="3283" y="357531"/>
                  </a:lnTo>
                  <a:lnTo>
                    <a:pt x="2436" y="357345"/>
                  </a:lnTo>
                  <a:lnTo>
                    <a:pt x="1786" y="357599"/>
                  </a:lnTo>
                  <a:lnTo>
                    <a:pt x="1345" y="358514"/>
                  </a:lnTo>
                  <a:lnTo>
                    <a:pt x="387" y="358186"/>
                  </a:lnTo>
                  <a:lnTo>
                    <a:pt x="0" y="356874"/>
                  </a:lnTo>
                  <a:lnTo>
                    <a:pt x="715" y="354909"/>
                  </a:lnTo>
                  <a:close/>
                  <a:moveTo>
                    <a:pt x="58731" y="350695"/>
                  </a:moveTo>
                  <a:lnTo>
                    <a:pt x="61532" y="351466"/>
                  </a:lnTo>
                  <a:lnTo>
                    <a:pt x="62709" y="351190"/>
                  </a:lnTo>
                  <a:lnTo>
                    <a:pt x="64047" y="352933"/>
                  </a:lnTo>
                  <a:lnTo>
                    <a:pt x="61778" y="354042"/>
                  </a:lnTo>
                  <a:lnTo>
                    <a:pt x="61620" y="355416"/>
                  </a:lnTo>
                  <a:lnTo>
                    <a:pt x="62517" y="356269"/>
                  </a:lnTo>
                  <a:lnTo>
                    <a:pt x="62832" y="357503"/>
                  </a:lnTo>
                  <a:lnTo>
                    <a:pt x="60571" y="357502"/>
                  </a:lnTo>
                  <a:lnTo>
                    <a:pt x="59489" y="356463"/>
                  </a:lnTo>
                  <a:lnTo>
                    <a:pt x="59018" y="355144"/>
                  </a:lnTo>
                  <a:lnTo>
                    <a:pt x="57967" y="354210"/>
                  </a:lnTo>
                  <a:lnTo>
                    <a:pt x="56565" y="353499"/>
                  </a:lnTo>
                  <a:lnTo>
                    <a:pt x="57252" y="352551"/>
                  </a:lnTo>
                  <a:lnTo>
                    <a:pt x="57643" y="351190"/>
                  </a:lnTo>
                  <a:close/>
                  <a:moveTo>
                    <a:pt x="8165" y="349529"/>
                  </a:moveTo>
                  <a:lnTo>
                    <a:pt x="9409" y="351135"/>
                  </a:lnTo>
                  <a:lnTo>
                    <a:pt x="10404" y="351345"/>
                  </a:lnTo>
                  <a:lnTo>
                    <a:pt x="11082" y="351355"/>
                  </a:lnTo>
                  <a:lnTo>
                    <a:pt x="11384" y="351075"/>
                  </a:lnTo>
                  <a:lnTo>
                    <a:pt x="12568" y="351271"/>
                  </a:lnTo>
                  <a:lnTo>
                    <a:pt x="14347" y="352557"/>
                  </a:lnTo>
                  <a:lnTo>
                    <a:pt x="14705" y="353253"/>
                  </a:lnTo>
                  <a:lnTo>
                    <a:pt x="15932" y="353609"/>
                  </a:lnTo>
                  <a:lnTo>
                    <a:pt x="16360" y="354330"/>
                  </a:lnTo>
                  <a:lnTo>
                    <a:pt x="14941" y="356576"/>
                  </a:lnTo>
                  <a:lnTo>
                    <a:pt x="14064" y="356618"/>
                  </a:lnTo>
                  <a:lnTo>
                    <a:pt x="13410" y="356334"/>
                  </a:lnTo>
                  <a:lnTo>
                    <a:pt x="12255" y="356579"/>
                  </a:lnTo>
                  <a:lnTo>
                    <a:pt x="11577" y="357004"/>
                  </a:lnTo>
                  <a:lnTo>
                    <a:pt x="11350" y="357937"/>
                  </a:lnTo>
                  <a:lnTo>
                    <a:pt x="11387" y="359888"/>
                  </a:lnTo>
                  <a:lnTo>
                    <a:pt x="6208" y="360279"/>
                  </a:lnTo>
                  <a:lnTo>
                    <a:pt x="5018" y="359709"/>
                  </a:lnTo>
                  <a:lnTo>
                    <a:pt x="3388" y="355268"/>
                  </a:lnTo>
                  <a:lnTo>
                    <a:pt x="3712" y="354120"/>
                  </a:lnTo>
                  <a:lnTo>
                    <a:pt x="4809" y="353630"/>
                  </a:lnTo>
                  <a:lnTo>
                    <a:pt x="5749" y="353525"/>
                  </a:lnTo>
                  <a:lnTo>
                    <a:pt x="5887" y="355919"/>
                  </a:lnTo>
                  <a:lnTo>
                    <a:pt x="7266" y="355681"/>
                  </a:lnTo>
                  <a:lnTo>
                    <a:pt x="7699" y="354103"/>
                  </a:lnTo>
                  <a:lnTo>
                    <a:pt x="7795" y="352992"/>
                  </a:lnTo>
                  <a:lnTo>
                    <a:pt x="7422" y="352431"/>
                  </a:lnTo>
                  <a:lnTo>
                    <a:pt x="6485" y="351996"/>
                  </a:lnTo>
                  <a:lnTo>
                    <a:pt x="5943" y="351250"/>
                  </a:lnTo>
                  <a:lnTo>
                    <a:pt x="6722" y="350049"/>
                  </a:lnTo>
                  <a:close/>
                  <a:moveTo>
                    <a:pt x="51039" y="347396"/>
                  </a:moveTo>
                  <a:lnTo>
                    <a:pt x="52799" y="348443"/>
                  </a:lnTo>
                  <a:lnTo>
                    <a:pt x="53760" y="349666"/>
                  </a:lnTo>
                  <a:lnTo>
                    <a:pt x="52821" y="349950"/>
                  </a:lnTo>
                  <a:lnTo>
                    <a:pt x="54412" y="351211"/>
                  </a:lnTo>
                  <a:lnTo>
                    <a:pt x="54732" y="351827"/>
                  </a:lnTo>
                  <a:lnTo>
                    <a:pt x="53123" y="351973"/>
                  </a:lnTo>
                  <a:lnTo>
                    <a:pt x="50849" y="350326"/>
                  </a:lnTo>
                  <a:lnTo>
                    <a:pt x="50562" y="349682"/>
                  </a:lnTo>
                  <a:lnTo>
                    <a:pt x="51454" y="349308"/>
                  </a:lnTo>
                  <a:lnTo>
                    <a:pt x="50865" y="347983"/>
                  </a:lnTo>
                  <a:close/>
                  <a:moveTo>
                    <a:pt x="38675" y="341784"/>
                  </a:moveTo>
                  <a:lnTo>
                    <a:pt x="39409" y="343210"/>
                  </a:lnTo>
                  <a:lnTo>
                    <a:pt x="42717" y="345409"/>
                  </a:lnTo>
                  <a:lnTo>
                    <a:pt x="42408" y="346959"/>
                  </a:lnTo>
                  <a:lnTo>
                    <a:pt x="40908" y="346787"/>
                  </a:lnTo>
                  <a:lnTo>
                    <a:pt x="39381" y="347068"/>
                  </a:lnTo>
                  <a:lnTo>
                    <a:pt x="38150" y="345529"/>
                  </a:lnTo>
                  <a:lnTo>
                    <a:pt x="37491" y="342933"/>
                  </a:lnTo>
                  <a:lnTo>
                    <a:pt x="37716" y="342374"/>
                  </a:lnTo>
                  <a:close/>
                  <a:moveTo>
                    <a:pt x="37973" y="251776"/>
                  </a:moveTo>
                  <a:lnTo>
                    <a:pt x="37651" y="252424"/>
                  </a:lnTo>
                  <a:lnTo>
                    <a:pt x="37563" y="253045"/>
                  </a:lnTo>
                  <a:lnTo>
                    <a:pt x="37800" y="253695"/>
                  </a:lnTo>
                  <a:lnTo>
                    <a:pt x="39096" y="253516"/>
                  </a:lnTo>
                  <a:lnTo>
                    <a:pt x="40841" y="252332"/>
                  </a:lnTo>
                  <a:lnTo>
                    <a:pt x="42078" y="252885"/>
                  </a:lnTo>
                  <a:lnTo>
                    <a:pt x="41938" y="254575"/>
                  </a:lnTo>
                  <a:lnTo>
                    <a:pt x="41098" y="254511"/>
                  </a:lnTo>
                  <a:lnTo>
                    <a:pt x="40867" y="254232"/>
                  </a:lnTo>
                  <a:lnTo>
                    <a:pt x="39789" y="255197"/>
                  </a:lnTo>
                  <a:lnTo>
                    <a:pt x="39597" y="255781"/>
                  </a:lnTo>
                  <a:lnTo>
                    <a:pt x="38351" y="256154"/>
                  </a:lnTo>
                  <a:lnTo>
                    <a:pt x="36049" y="254502"/>
                  </a:lnTo>
                  <a:lnTo>
                    <a:pt x="34602" y="251783"/>
                  </a:lnTo>
                  <a:close/>
                  <a:moveTo>
                    <a:pt x="116464" y="187740"/>
                  </a:moveTo>
                  <a:lnTo>
                    <a:pt x="120546" y="188858"/>
                  </a:lnTo>
                  <a:lnTo>
                    <a:pt x="121142" y="189455"/>
                  </a:lnTo>
                  <a:lnTo>
                    <a:pt x="118803" y="189902"/>
                  </a:lnTo>
                  <a:lnTo>
                    <a:pt x="117840" y="191169"/>
                  </a:lnTo>
                  <a:lnTo>
                    <a:pt x="114539" y="192361"/>
                  </a:lnTo>
                  <a:lnTo>
                    <a:pt x="111878" y="191616"/>
                  </a:lnTo>
                  <a:lnTo>
                    <a:pt x="111832" y="189306"/>
                  </a:lnTo>
                  <a:lnTo>
                    <a:pt x="113482" y="188187"/>
                  </a:lnTo>
                  <a:close/>
                  <a:moveTo>
                    <a:pt x="181957" y="0"/>
                  </a:moveTo>
                  <a:lnTo>
                    <a:pt x="185099" y="126"/>
                  </a:lnTo>
                  <a:lnTo>
                    <a:pt x="188577" y="3686"/>
                  </a:lnTo>
                  <a:lnTo>
                    <a:pt x="193483" y="7643"/>
                  </a:lnTo>
                  <a:lnTo>
                    <a:pt x="196636" y="9562"/>
                  </a:lnTo>
                  <a:lnTo>
                    <a:pt x="205230" y="13154"/>
                  </a:lnTo>
                  <a:lnTo>
                    <a:pt x="212775" y="15515"/>
                  </a:lnTo>
                  <a:lnTo>
                    <a:pt x="217016" y="23292"/>
                  </a:lnTo>
                  <a:lnTo>
                    <a:pt x="214926" y="26382"/>
                  </a:lnTo>
                  <a:lnTo>
                    <a:pt x="213885" y="27446"/>
                  </a:lnTo>
                  <a:lnTo>
                    <a:pt x="210195" y="30516"/>
                  </a:lnTo>
                  <a:lnTo>
                    <a:pt x="206245" y="34840"/>
                  </a:lnTo>
                  <a:lnTo>
                    <a:pt x="205943" y="37090"/>
                  </a:lnTo>
                  <a:lnTo>
                    <a:pt x="207254" y="39357"/>
                  </a:lnTo>
                  <a:lnTo>
                    <a:pt x="208889" y="40855"/>
                  </a:lnTo>
                  <a:lnTo>
                    <a:pt x="207409" y="41332"/>
                  </a:lnTo>
                  <a:lnTo>
                    <a:pt x="202838" y="43215"/>
                  </a:lnTo>
                  <a:lnTo>
                    <a:pt x="200048" y="44485"/>
                  </a:lnTo>
                  <a:lnTo>
                    <a:pt x="196688" y="45416"/>
                  </a:lnTo>
                  <a:lnTo>
                    <a:pt x="197560" y="46649"/>
                  </a:lnTo>
                  <a:lnTo>
                    <a:pt x="203142" y="46910"/>
                  </a:lnTo>
                  <a:lnTo>
                    <a:pt x="204002" y="47260"/>
                  </a:lnTo>
                  <a:lnTo>
                    <a:pt x="204621" y="47894"/>
                  </a:lnTo>
                  <a:lnTo>
                    <a:pt x="204727" y="48907"/>
                  </a:lnTo>
                  <a:lnTo>
                    <a:pt x="204161" y="50542"/>
                  </a:lnTo>
                  <a:lnTo>
                    <a:pt x="198130" y="59538"/>
                  </a:lnTo>
                  <a:lnTo>
                    <a:pt x="197940" y="61428"/>
                  </a:lnTo>
                  <a:lnTo>
                    <a:pt x="199918" y="66676"/>
                  </a:lnTo>
                  <a:lnTo>
                    <a:pt x="202682" y="72845"/>
                  </a:lnTo>
                  <a:lnTo>
                    <a:pt x="211037" y="75582"/>
                  </a:lnTo>
                  <a:lnTo>
                    <a:pt x="217247" y="77717"/>
                  </a:lnTo>
                  <a:lnTo>
                    <a:pt x="221236" y="82760"/>
                  </a:lnTo>
                  <a:lnTo>
                    <a:pt x="227811" y="89390"/>
                  </a:lnTo>
                  <a:lnTo>
                    <a:pt x="231297" y="91862"/>
                  </a:lnTo>
                  <a:lnTo>
                    <a:pt x="231493" y="92629"/>
                  </a:lnTo>
                  <a:lnTo>
                    <a:pt x="230456" y="97183"/>
                  </a:lnTo>
                  <a:lnTo>
                    <a:pt x="226241" y="101735"/>
                  </a:lnTo>
                  <a:lnTo>
                    <a:pt x="222298" y="105565"/>
                  </a:lnTo>
                  <a:lnTo>
                    <a:pt x="218217" y="110170"/>
                  </a:lnTo>
                  <a:lnTo>
                    <a:pt x="215025" y="114087"/>
                  </a:lnTo>
                  <a:lnTo>
                    <a:pt x="211568" y="118772"/>
                  </a:lnTo>
                  <a:lnTo>
                    <a:pt x="211171" y="120288"/>
                  </a:lnTo>
                  <a:lnTo>
                    <a:pt x="211108" y="121719"/>
                  </a:lnTo>
                  <a:lnTo>
                    <a:pt x="211702" y="123300"/>
                  </a:lnTo>
                  <a:lnTo>
                    <a:pt x="216129" y="129002"/>
                  </a:lnTo>
                  <a:lnTo>
                    <a:pt x="217852" y="131908"/>
                  </a:lnTo>
                  <a:lnTo>
                    <a:pt x="219912" y="135045"/>
                  </a:lnTo>
                  <a:lnTo>
                    <a:pt x="221680" y="138458"/>
                  </a:lnTo>
                  <a:lnTo>
                    <a:pt x="222706" y="141510"/>
                  </a:lnTo>
                  <a:lnTo>
                    <a:pt x="224479" y="144480"/>
                  </a:lnTo>
                  <a:lnTo>
                    <a:pt x="225581" y="145996"/>
                  </a:lnTo>
                  <a:lnTo>
                    <a:pt x="227411" y="148118"/>
                  </a:lnTo>
                  <a:lnTo>
                    <a:pt x="229621" y="151271"/>
                  </a:lnTo>
                  <a:lnTo>
                    <a:pt x="230355" y="153765"/>
                  </a:lnTo>
                  <a:lnTo>
                    <a:pt x="233691" y="162396"/>
                  </a:lnTo>
                  <a:lnTo>
                    <a:pt x="234028" y="164590"/>
                  </a:lnTo>
                  <a:lnTo>
                    <a:pt x="233864" y="166212"/>
                  </a:lnTo>
                  <a:lnTo>
                    <a:pt x="232398" y="166611"/>
                  </a:lnTo>
                  <a:lnTo>
                    <a:pt x="229161" y="166869"/>
                  </a:lnTo>
                  <a:lnTo>
                    <a:pt x="225652" y="167931"/>
                  </a:lnTo>
                  <a:lnTo>
                    <a:pt x="225475" y="168288"/>
                  </a:lnTo>
                  <a:lnTo>
                    <a:pt x="227764" y="170314"/>
                  </a:lnTo>
                  <a:lnTo>
                    <a:pt x="225742" y="173770"/>
                  </a:lnTo>
                  <a:lnTo>
                    <a:pt x="225451" y="178707"/>
                  </a:lnTo>
                  <a:lnTo>
                    <a:pt x="223292" y="181294"/>
                  </a:lnTo>
                  <a:lnTo>
                    <a:pt x="223088" y="181895"/>
                  </a:lnTo>
                  <a:lnTo>
                    <a:pt x="223186" y="182397"/>
                  </a:lnTo>
                  <a:lnTo>
                    <a:pt x="223568" y="182789"/>
                  </a:lnTo>
                  <a:lnTo>
                    <a:pt x="227567" y="183479"/>
                  </a:lnTo>
                  <a:lnTo>
                    <a:pt x="227913" y="184180"/>
                  </a:lnTo>
                  <a:lnTo>
                    <a:pt x="227930" y="185629"/>
                  </a:lnTo>
                  <a:lnTo>
                    <a:pt x="227573" y="186967"/>
                  </a:lnTo>
                  <a:lnTo>
                    <a:pt x="225565" y="187959"/>
                  </a:lnTo>
                  <a:lnTo>
                    <a:pt x="223408" y="189427"/>
                  </a:lnTo>
                  <a:lnTo>
                    <a:pt x="222931" y="190776"/>
                  </a:lnTo>
                  <a:lnTo>
                    <a:pt x="223004" y="191980"/>
                  </a:lnTo>
                  <a:lnTo>
                    <a:pt x="223741" y="194013"/>
                  </a:lnTo>
                  <a:lnTo>
                    <a:pt x="225159" y="196379"/>
                  </a:lnTo>
                  <a:lnTo>
                    <a:pt x="226963" y="197863"/>
                  </a:lnTo>
                  <a:lnTo>
                    <a:pt x="233367" y="199267"/>
                  </a:lnTo>
                  <a:lnTo>
                    <a:pt x="234194" y="200428"/>
                  </a:lnTo>
                  <a:lnTo>
                    <a:pt x="234546" y="202018"/>
                  </a:lnTo>
                  <a:lnTo>
                    <a:pt x="234412" y="203569"/>
                  </a:lnTo>
                  <a:lnTo>
                    <a:pt x="231437" y="206669"/>
                  </a:lnTo>
                  <a:lnTo>
                    <a:pt x="231460" y="207860"/>
                  </a:lnTo>
                  <a:lnTo>
                    <a:pt x="232682" y="210740"/>
                  </a:lnTo>
                  <a:lnTo>
                    <a:pt x="234147" y="213485"/>
                  </a:lnTo>
                  <a:lnTo>
                    <a:pt x="240394" y="216455"/>
                  </a:lnTo>
                  <a:lnTo>
                    <a:pt x="242545" y="218082"/>
                  </a:lnTo>
                  <a:lnTo>
                    <a:pt x="243117" y="219376"/>
                  </a:lnTo>
                  <a:lnTo>
                    <a:pt x="243430" y="221460"/>
                  </a:lnTo>
                  <a:lnTo>
                    <a:pt x="243389" y="223717"/>
                  </a:lnTo>
                  <a:lnTo>
                    <a:pt x="242899" y="225719"/>
                  </a:lnTo>
                  <a:lnTo>
                    <a:pt x="240940" y="228298"/>
                  </a:lnTo>
                  <a:lnTo>
                    <a:pt x="236406" y="233375"/>
                  </a:lnTo>
                  <a:lnTo>
                    <a:pt x="231847" y="235344"/>
                  </a:lnTo>
                  <a:lnTo>
                    <a:pt x="231569" y="235771"/>
                  </a:lnTo>
                  <a:lnTo>
                    <a:pt x="232981" y="237391"/>
                  </a:lnTo>
                  <a:lnTo>
                    <a:pt x="241011" y="243873"/>
                  </a:lnTo>
                  <a:lnTo>
                    <a:pt x="246246" y="246900"/>
                  </a:lnTo>
                  <a:lnTo>
                    <a:pt x="253311" y="250978"/>
                  </a:lnTo>
                  <a:lnTo>
                    <a:pt x="257868" y="254194"/>
                  </a:lnTo>
                  <a:lnTo>
                    <a:pt x="259340" y="256505"/>
                  </a:lnTo>
                  <a:lnTo>
                    <a:pt x="261314" y="259071"/>
                  </a:lnTo>
                  <a:lnTo>
                    <a:pt x="263532" y="261166"/>
                  </a:lnTo>
                  <a:lnTo>
                    <a:pt x="265130" y="262982"/>
                  </a:lnTo>
                  <a:lnTo>
                    <a:pt x="265732" y="264150"/>
                  </a:lnTo>
                  <a:lnTo>
                    <a:pt x="265676" y="265405"/>
                  </a:lnTo>
                  <a:lnTo>
                    <a:pt x="263538" y="269185"/>
                  </a:lnTo>
                  <a:lnTo>
                    <a:pt x="262324" y="272102"/>
                  </a:lnTo>
                  <a:lnTo>
                    <a:pt x="260185" y="276371"/>
                  </a:lnTo>
                  <a:lnTo>
                    <a:pt x="257997" y="279345"/>
                  </a:lnTo>
                  <a:lnTo>
                    <a:pt x="252448" y="284759"/>
                  </a:lnTo>
                  <a:lnTo>
                    <a:pt x="244264" y="291477"/>
                  </a:lnTo>
                  <a:lnTo>
                    <a:pt x="242363" y="293506"/>
                  </a:lnTo>
                  <a:lnTo>
                    <a:pt x="238533" y="297034"/>
                  </a:lnTo>
                  <a:lnTo>
                    <a:pt x="231977" y="304096"/>
                  </a:lnTo>
                  <a:lnTo>
                    <a:pt x="230279" y="305652"/>
                  </a:lnTo>
                  <a:lnTo>
                    <a:pt x="224905" y="311263"/>
                  </a:lnTo>
                  <a:lnTo>
                    <a:pt x="222456" y="313045"/>
                  </a:lnTo>
                  <a:lnTo>
                    <a:pt x="220532" y="314710"/>
                  </a:lnTo>
                  <a:lnTo>
                    <a:pt x="215209" y="319993"/>
                  </a:lnTo>
                  <a:lnTo>
                    <a:pt x="209489" y="323994"/>
                  </a:lnTo>
                  <a:lnTo>
                    <a:pt x="203874" y="327703"/>
                  </a:lnTo>
                  <a:lnTo>
                    <a:pt x="202190" y="329581"/>
                  </a:lnTo>
                  <a:lnTo>
                    <a:pt x="200095" y="331012"/>
                  </a:lnTo>
                  <a:lnTo>
                    <a:pt x="197595" y="332372"/>
                  </a:lnTo>
                  <a:lnTo>
                    <a:pt x="196541" y="333134"/>
                  </a:lnTo>
                  <a:lnTo>
                    <a:pt x="190892" y="338191"/>
                  </a:lnTo>
                  <a:lnTo>
                    <a:pt x="183058" y="345191"/>
                  </a:lnTo>
                  <a:lnTo>
                    <a:pt x="182261" y="345300"/>
                  </a:lnTo>
                  <a:lnTo>
                    <a:pt x="180221" y="346429"/>
                  </a:lnTo>
                  <a:lnTo>
                    <a:pt x="177031" y="346702"/>
                  </a:lnTo>
                  <a:lnTo>
                    <a:pt x="175645" y="347565"/>
                  </a:lnTo>
                  <a:lnTo>
                    <a:pt x="170769" y="345106"/>
                  </a:lnTo>
                  <a:lnTo>
                    <a:pt x="169959" y="344947"/>
                  </a:lnTo>
                  <a:lnTo>
                    <a:pt x="167092" y="345557"/>
                  </a:lnTo>
                  <a:lnTo>
                    <a:pt x="164340" y="347344"/>
                  </a:lnTo>
                  <a:lnTo>
                    <a:pt x="159261" y="347890"/>
                  </a:lnTo>
                  <a:lnTo>
                    <a:pt x="156739" y="348469"/>
                  </a:lnTo>
                  <a:lnTo>
                    <a:pt x="155131" y="349294"/>
                  </a:lnTo>
                  <a:lnTo>
                    <a:pt x="154800" y="347341"/>
                  </a:lnTo>
                  <a:lnTo>
                    <a:pt x="155495" y="344862"/>
                  </a:lnTo>
                  <a:lnTo>
                    <a:pt x="156614" y="343208"/>
                  </a:lnTo>
                  <a:lnTo>
                    <a:pt x="156718" y="342130"/>
                  </a:lnTo>
                  <a:lnTo>
                    <a:pt x="155897" y="342242"/>
                  </a:lnTo>
                  <a:lnTo>
                    <a:pt x="154271" y="344669"/>
                  </a:lnTo>
                  <a:lnTo>
                    <a:pt x="153401" y="347500"/>
                  </a:lnTo>
                  <a:lnTo>
                    <a:pt x="151660" y="348922"/>
                  </a:lnTo>
                  <a:lnTo>
                    <a:pt x="147834" y="349503"/>
                  </a:lnTo>
                  <a:lnTo>
                    <a:pt x="144105" y="347230"/>
                  </a:lnTo>
                  <a:lnTo>
                    <a:pt x="142334" y="347253"/>
                  </a:lnTo>
                  <a:lnTo>
                    <a:pt x="143446" y="348881"/>
                  </a:lnTo>
                  <a:lnTo>
                    <a:pt x="144198" y="350667"/>
                  </a:lnTo>
                  <a:lnTo>
                    <a:pt x="144100" y="351667"/>
                  </a:lnTo>
                  <a:lnTo>
                    <a:pt x="142112" y="351491"/>
                  </a:lnTo>
                  <a:lnTo>
                    <a:pt x="139898" y="352561"/>
                  </a:lnTo>
                  <a:lnTo>
                    <a:pt x="137957" y="354123"/>
                  </a:lnTo>
                  <a:lnTo>
                    <a:pt x="137015" y="354126"/>
                  </a:lnTo>
                  <a:lnTo>
                    <a:pt x="135711" y="351943"/>
                  </a:lnTo>
                  <a:lnTo>
                    <a:pt x="133318" y="352962"/>
                  </a:lnTo>
                  <a:lnTo>
                    <a:pt x="131274" y="354332"/>
                  </a:lnTo>
                  <a:lnTo>
                    <a:pt x="127119" y="354760"/>
                  </a:lnTo>
                  <a:lnTo>
                    <a:pt x="124642" y="356559"/>
                  </a:lnTo>
                  <a:lnTo>
                    <a:pt x="120259" y="357772"/>
                  </a:lnTo>
                  <a:lnTo>
                    <a:pt x="117851" y="357743"/>
                  </a:lnTo>
                  <a:lnTo>
                    <a:pt x="112362" y="359203"/>
                  </a:lnTo>
                  <a:lnTo>
                    <a:pt x="110537" y="361452"/>
                  </a:lnTo>
                  <a:lnTo>
                    <a:pt x="108937" y="362279"/>
                  </a:lnTo>
                  <a:lnTo>
                    <a:pt x="106659" y="361583"/>
                  </a:lnTo>
                  <a:lnTo>
                    <a:pt x="99641" y="362679"/>
                  </a:lnTo>
                  <a:lnTo>
                    <a:pt x="92932" y="364116"/>
                  </a:lnTo>
                  <a:lnTo>
                    <a:pt x="90077" y="364034"/>
                  </a:lnTo>
                  <a:lnTo>
                    <a:pt x="87222" y="363437"/>
                  </a:lnTo>
                  <a:lnTo>
                    <a:pt x="84197" y="365433"/>
                  </a:lnTo>
                  <a:lnTo>
                    <a:pt x="80984" y="368101"/>
                  </a:lnTo>
                  <a:lnTo>
                    <a:pt x="77442" y="369053"/>
                  </a:lnTo>
                  <a:lnTo>
                    <a:pt x="76173" y="368712"/>
                  </a:lnTo>
                  <a:lnTo>
                    <a:pt x="77187" y="367314"/>
                  </a:lnTo>
                  <a:lnTo>
                    <a:pt x="79531" y="365865"/>
                  </a:lnTo>
                  <a:lnTo>
                    <a:pt x="81139" y="363900"/>
                  </a:lnTo>
                  <a:lnTo>
                    <a:pt x="81360" y="362261"/>
                  </a:lnTo>
                  <a:lnTo>
                    <a:pt x="80254" y="361617"/>
                  </a:lnTo>
                  <a:lnTo>
                    <a:pt x="78744" y="361420"/>
                  </a:lnTo>
                  <a:lnTo>
                    <a:pt x="76842" y="359723"/>
                  </a:lnTo>
                  <a:lnTo>
                    <a:pt x="75019" y="356041"/>
                  </a:lnTo>
                  <a:lnTo>
                    <a:pt x="74032" y="355838"/>
                  </a:lnTo>
                  <a:lnTo>
                    <a:pt x="73532" y="356806"/>
                  </a:lnTo>
                  <a:lnTo>
                    <a:pt x="72972" y="359630"/>
                  </a:lnTo>
                  <a:lnTo>
                    <a:pt x="72404" y="360443"/>
                  </a:lnTo>
                  <a:lnTo>
                    <a:pt x="71439" y="361089"/>
                  </a:lnTo>
                  <a:lnTo>
                    <a:pt x="70280" y="361739"/>
                  </a:lnTo>
                  <a:lnTo>
                    <a:pt x="69148" y="362056"/>
                  </a:lnTo>
                  <a:lnTo>
                    <a:pt x="65091" y="362017"/>
                  </a:lnTo>
                  <a:lnTo>
                    <a:pt x="64557" y="360593"/>
                  </a:lnTo>
                  <a:lnTo>
                    <a:pt x="64557" y="359997"/>
                  </a:lnTo>
                  <a:lnTo>
                    <a:pt x="65276" y="358120"/>
                  </a:lnTo>
                  <a:lnTo>
                    <a:pt x="64648" y="357792"/>
                  </a:lnTo>
                  <a:lnTo>
                    <a:pt x="65246" y="356319"/>
                  </a:lnTo>
                  <a:lnTo>
                    <a:pt x="66203" y="356398"/>
                  </a:lnTo>
                  <a:lnTo>
                    <a:pt x="67336" y="356180"/>
                  </a:lnTo>
                  <a:lnTo>
                    <a:pt x="67904" y="355422"/>
                  </a:lnTo>
                  <a:lnTo>
                    <a:pt x="67861" y="354517"/>
                  </a:lnTo>
                  <a:lnTo>
                    <a:pt x="66285" y="354282"/>
                  </a:lnTo>
                  <a:lnTo>
                    <a:pt x="66188" y="353664"/>
                  </a:lnTo>
                  <a:lnTo>
                    <a:pt x="67593" y="351083"/>
                  </a:lnTo>
                  <a:lnTo>
                    <a:pt x="67794" y="350369"/>
                  </a:lnTo>
                  <a:lnTo>
                    <a:pt x="67250" y="350221"/>
                  </a:lnTo>
                  <a:lnTo>
                    <a:pt x="66369" y="350502"/>
                  </a:lnTo>
                  <a:lnTo>
                    <a:pt x="60562" y="349692"/>
                  </a:lnTo>
                  <a:lnTo>
                    <a:pt x="53400" y="346385"/>
                  </a:lnTo>
                  <a:lnTo>
                    <a:pt x="51638" y="346214"/>
                  </a:lnTo>
                  <a:lnTo>
                    <a:pt x="50554" y="343257"/>
                  </a:lnTo>
                  <a:lnTo>
                    <a:pt x="48826" y="343632"/>
                  </a:lnTo>
                  <a:lnTo>
                    <a:pt x="46308" y="345363"/>
                  </a:lnTo>
                  <a:lnTo>
                    <a:pt x="44419" y="344048"/>
                  </a:lnTo>
                  <a:lnTo>
                    <a:pt x="42389" y="343182"/>
                  </a:lnTo>
                  <a:lnTo>
                    <a:pt x="41827" y="341828"/>
                  </a:lnTo>
                  <a:lnTo>
                    <a:pt x="41856" y="339829"/>
                  </a:lnTo>
                  <a:lnTo>
                    <a:pt x="41681" y="337469"/>
                  </a:lnTo>
                  <a:lnTo>
                    <a:pt x="41126" y="334704"/>
                  </a:lnTo>
                  <a:lnTo>
                    <a:pt x="40720" y="330768"/>
                  </a:lnTo>
                  <a:lnTo>
                    <a:pt x="41100" y="327687"/>
                  </a:lnTo>
                  <a:lnTo>
                    <a:pt x="42719" y="325403"/>
                  </a:lnTo>
                  <a:lnTo>
                    <a:pt x="43341" y="323944"/>
                  </a:lnTo>
                  <a:lnTo>
                    <a:pt x="44101" y="320215"/>
                  </a:lnTo>
                  <a:lnTo>
                    <a:pt x="44272" y="315839"/>
                  </a:lnTo>
                  <a:lnTo>
                    <a:pt x="43842" y="314347"/>
                  </a:lnTo>
                  <a:lnTo>
                    <a:pt x="43950" y="313354"/>
                  </a:lnTo>
                  <a:lnTo>
                    <a:pt x="45242" y="313354"/>
                  </a:lnTo>
                  <a:lnTo>
                    <a:pt x="44961" y="312502"/>
                  </a:lnTo>
                  <a:lnTo>
                    <a:pt x="44393" y="312035"/>
                  </a:lnTo>
                  <a:lnTo>
                    <a:pt x="43765" y="311065"/>
                  </a:lnTo>
                  <a:lnTo>
                    <a:pt x="44300" y="310551"/>
                  </a:lnTo>
                  <a:lnTo>
                    <a:pt x="45846" y="310514"/>
                  </a:lnTo>
                  <a:lnTo>
                    <a:pt x="45971" y="310187"/>
                  </a:lnTo>
                  <a:lnTo>
                    <a:pt x="46146" y="309723"/>
                  </a:lnTo>
                  <a:lnTo>
                    <a:pt x="44950" y="307170"/>
                  </a:lnTo>
                  <a:lnTo>
                    <a:pt x="44812" y="305952"/>
                  </a:lnTo>
                  <a:lnTo>
                    <a:pt x="43151" y="302250"/>
                  </a:lnTo>
                  <a:lnTo>
                    <a:pt x="41257" y="298735"/>
                  </a:lnTo>
                  <a:lnTo>
                    <a:pt x="38407" y="296188"/>
                  </a:lnTo>
                  <a:lnTo>
                    <a:pt x="39418" y="291988"/>
                  </a:lnTo>
                  <a:lnTo>
                    <a:pt x="40569" y="288184"/>
                  </a:lnTo>
                  <a:lnTo>
                    <a:pt x="40340" y="286349"/>
                  </a:lnTo>
                  <a:lnTo>
                    <a:pt x="39899" y="284114"/>
                  </a:lnTo>
                  <a:lnTo>
                    <a:pt x="36410" y="281660"/>
                  </a:lnTo>
                  <a:lnTo>
                    <a:pt x="35891" y="278196"/>
                  </a:lnTo>
                  <a:lnTo>
                    <a:pt x="35038" y="274472"/>
                  </a:lnTo>
                  <a:lnTo>
                    <a:pt x="35360" y="272185"/>
                  </a:lnTo>
                  <a:lnTo>
                    <a:pt x="35928" y="270433"/>
                  </a:lnTo>
                  <a:lnTo>
                    <a:pt x="37075" y="268687"/>
                  </a:lnTo>
                  <a:lnTo>
                    <a:pt x="42864" y="263167"/>
                  </a:lnTo>
                  <a:lnTo>
                    <a:pt x="43218" y="260279"/>
                  </a:lnTo>
                  <a:lnTo>
                    <a:pt x="47142" y="260069"/>
                  </a:lnTo>
                  <a:lnTo>
                    <a:pt x="45321" y="257484"/>
                  </a:lnTo>
                  <a:lnTo>
                    <a:pt x="44892" y="256031"/>
                  </a:lnTo>
                  <a:lnTo>
                    <a:pt x="44801" y="254334"/>
                  </a:lnTo>
                  <a:lnTo>
                    <a:pt x="50446" y="253171"/>
                  </a:lnTo>
                  <a:lnTo>
                    <a:pt x="52553" y="254126"/>
                  </a:lnTo>
                  <a:lnTo>
                    <a:pt x="57520" y="252946"/>
                  </a:lnTo>
                  <a:lnTo>
                    <a:pt x="61929" y="250636"/>
                  </a:lnTo>
                  <a:lnTo>
                    <a:pt x="61851" y="249407"/>
                  </a:lnTo>
                  <a:lnTo>
                    <a:pt x="61174" y="248306"/>
                  </a:lnTo>
                  <a:lnTo>
                    <a:pt x="60238" y="246185"/>
                  </a:lnTo>
                  <a:lnTo>
                    <a:pt x="60901" y="245596"/>
                  </a:lnTo>
                  <a:lnTo>
                    <a:pt x="62510" y="246029"/>
                  </a:lnTo>
                  <a:lnTo>
                    <a:pt x="61772" y="244974"/>
                  </a:lnTo>
                  <a:lnTo>
                    <a:pt x="61906" y="243861"/>
                  </a:lnTo>
                  <a:lnTo>
                    <a:pt x="63661" y="244324"/>
                  </a:lnTo>
                  <a:lnTo>
                    <a:pt x="66527" y="241214"/>
                  </a:lnTo>
                  <a:lnTo>
                    <a:pt x="66630" y="238835"/>
                  </a:lnTo>
                  <a:lnTo>
                    <a:pt x="71582" y="237590"/>
                  </a:lnTo>
                  <a:lnTo>
                    <a:pt x="77291" y="232724"/>
                  </a:lnTo>
                  <a:lnTo>
                    <a:pt x="79926" y="231207"/>
                  </a:lnTo>
                  <a:lnTo>
                    <a:pt x="82471" y="230108"/>
                  </a:lnTo>
                  <a:lnTo>
                    <a:pt x="87894" y="225229"/>
                  </a:lnTo>
                  <a:lnTo>
                    <a:pt x="90215" y="225002"/>
                  </a:lnTo>
                  <a:lnTo>
                    <a:pt x="91409" y="221706"/>
                  </a:lnTo>
                  <a:lnTo>
                    <a:pt x="96020" y="217312"/>
                  </a:lnTo>
                  <a:lnTo>
                    <a:pt x="97421" y="216749"/>
                  </a:lnTo>
                  <a:lnTo>
                    <a:pt x="99576" y="212779"/>
                  </a:lnTo>
                  <a:lnTo>
                    <a:pt x="105238" y="208180"/>
                  </a:lnTo>
                  <a:lnTo>
                    <a:pt x="108827" y="202302"/>
                  </a:lnTo>
                  <a:lnTo>
                    <a:pt x="110807" y="200210"/>
                  </a:lnTo>
                  <a:lnTo>
                    <a:pt x="111420" y="197980"/>
                  </a:lnTo>
                  <a:lnTo>
                    <a:pt x="113625" y="197791"/>
                  </a:lnTo>
                  <a:lnTo>
                    <a:pt x="115614" y="196151"/>
                  </a:lnTo>
                  <a:lnTo>
                    <a:pt x="119917" y="195007"/>
                  </a:lnTo>
                  <a:lnTo>
                    <a:pt x="124165" y="195324"/>
                  </a:lnTo>
                  <a:lnTo>
                    <a:pt x="125934" y="196102"/>
                  </a:lnTo>
                  <a:lnTo>
                    <a:pt x="127568" y="195855"/>
                  </a:lnTo>
                  <a:lnTo>
                    <a:pt x="127404" y="193846"/>
                  </a:lnTo>
                  <a:lnTo>
                    <a:pt x="126238" y="192604"/>
                  </a:lnTo>
                  <a:lnTo>
                    <a:pt x="127190" y="191411"/>
                  </a:lnTo>
                  <a:lnTo>
                    <a:pt x="129436" y="190506"/>
                  </a:lnTo>
                  <a:lnTo>
                    <a:pt x="129207" y="188505"/>
                  </a:lnTo>
                  <a:lnTo>
                    <a:pt x="128719" y="187300"/>
                  </a:lnTo>
                  <a:lnTo>
                    <a:pt x="126853" y="185694"/>
                  </a:lnTo>
                  <a:lnTo>
                    <a:pt x="127782" y="182092"/>
                  </a:lnTo>
                  <a:lnTo>
                    <a:pt x="128004" y="178137"/>
                  </a:lnTo>
                  <a:lnTo>
                    <a:pt x="128888" y="173559"/>
                  </a:lnTo>
                  <a:lnTo>
                    <a:pt x="126542" y="171129"/>
                  </a:lnTo>
                  <a:lnTo>
                    <a:pt x="117644" y="166987"/>
                  </a:lnTo>
                  <a:lnTo>
                    <a:pt x="115983" y="167131"/>
                  </a:lnTo>
                  <a:lnTo>
                    <a:pt x="114007" y="166611"/>
                  </a:lnTo>
                  <a:lnTo>
                    <a:pt x="111943" y="163467"/>
                  </a:lnTo>
                  <a:lnTo>
                    <a:pt x="112865" y="160750"/>
                  </a:lnTo>
                  <a:lnTo>
                    <a:pt x="112971" y="159748"/>
                  </a:lnTo>
                  <a:lnTo>
                    <a:pt x="112165" y="159778"/>
                  </a:lnTo>
                  <a:lnTo>
                    <a:pt x="110861" y="161103"/>
                  </a:lnTo>
                  <a:lnTo>
                    <a:pt x="108023" y="162617"/>
                  </a:lnTo>
                  <a:lnTo>
                    <a:pt x="104335" y="161455"/>
                  </a:lnTo>
                  <a:lnTo>
                    <a:pt x="102521" y="161713"/>
                  </a:lnTo>
                  <a:lnTo>
                    <a:pt x="100168" y="154976"/>
                  </a:lnTo>
                  <a:lnTo>
                    <a:pt x="98965" y="152396"/>
                  </a:lnTo>
                  <a:lnTo>
                    <a:pt x="97035" y="149175"/>
                  </a:lnTo>
                  <a:lnTo>
                    <a:pt x="93588" y="147600"/>
                  </a:lnTo>
                  <a:lnTo>
                    <a:pt x="92914" y="146709"/>
                  </a:lnTo>
                  <a:lnTo>
                    <a:pt x="92457" y="145343"/>
                  </a:lnTo>
                  <a:lnTo>
                    <a:pt x="92307" y="143444"/>
                  </a:lnTo>
                  <a:lnTo>
                    <a:pt x="91871" y="140631"/>
                  </a:lnTo>
                  <a:lnTo>
                    <a:pt x="92053" y="138321"/>
                  </a:lnTo>
                  <a:lnTo>
                    <a:pt x="92476" y="136943"/>
                  </a:lnTo>
                  <a:lnTo>
                    <a:pt x="93961" y="136017"/>
                  </a:lnTo>
                  <a:lnTo>
                    <a:pt x="96110" y="133403"/>
                  </a:lnTo>
                  <a:lnTo>
                    <a:pt x="96559" y="131501"/>
                  </a:lnTo>
                  <a:lnTo>
                    <a:pt x="96743" y="128581"/>
                  </a:lnTo>
                  <a:lnTo>
                    <a:pt x="97732" y="126028"/>
                  </a:lnTo>
                  <a:lnTo>
                    <a:pt x="98831" y="124736"/>
                  </a:lnTo>
                  <a:lnTo>
                    <a:pt x="98555" y="123708"/>
                  </a:lnTo>
                  <a:lnTo>
                    <a:pt x="97797" y="122236"/>
                  </a:lnTo>
                  <a:lnTo>
                    <a:pt x="96194" y="120145"/>
                  </a:lnTo>
                  <a:lnTo>
                    <a:pt x="93754" y="117593"/>
                  </a:lnTo>
                  <a:lnTo>
                    <a:pt x="91949" y="115149"/>
                  </a:lnTo>
                  <a:lnTo>
                    <a:pt x="91157" y="112862"/>
                  </a:lnTo>
                  <a:lnTo>
                    <a:pt x="90749" y="110816"/>
                  </a:lnTo>
                  <a:lnTo>
                    <a:pt x="90815" y="108953"/>
                  </a:lnTo>
                  <a:lnTo>
                    <a:pt x="91491" y="107684"/>
                  </a:lnTo>
                  <a:lnTo>
                    <a:pt x="93798" y="106085"/>
                  </a:lnTo>
                  <a:lnTo>
                    <a:pt x="94106" y="105406"/>
                  </a:lnTo>
                  <a:lnTo>
                    <a:pt x="93193" y="101868"/>
                  </a:lnTo>
                  <a:lnTo>
                    <a:pt x="91584" y="101223"/>
                  </a:lnTo>
                  <a:lnTo>
                    <a:pt x="88848" y="100880"/>
                  </a:lnTo>
                  <a:lnTo>
                    <a:pt x="87322" y="100851"/>
                  </a:lnTo>
                  <a:lnTo>
                    <a:pt x="87030" y="100464"/>
                  </a:lnTo>
                  <a:lnTo>
                    <a:pt x="86955" y="99751"/>
                  </a:lnTo>
                  <a:lnTo>
                    <a:pt x="87263" y="98297"/>
                  </a:lnTo>
                  <a:lnTo>
                    <a:pt x="88127" y="96629"/>
                  </a:lnTo>
                  <a:lnTo>
                    <a:pt x="88846" y="95566"/>
                  </a:lnTo>
                  <a:lnTo>
                    <a:pt x="88941" y="94664"/>
                  </a:lnTo>
                  <a:lnTo>
                    <a:pt x="88032" y="91575"/>
                  </a:lnTo>
                  <a:lnTo>
                    <a:pt x="87758" y="87780"/>
                  </a:lnTo>
                  <a:lnTo>
                    <a:pt x="88069" y="84803"/>
                  </a:lnTo>
                  <a:lnTo>
                    <a:pt x="90967" y="82604"/>
                  </a:lnTo>
                  <a:lnTo>
                    <a:pt x="91098" y="81800"/>
                  </a:lnTo>
                  <a:lnTo>
                    <a:pt x="87458" y="79410"/>
                  </a:lnTo>
                  <a:lnTo>
                    <a:pt x="84832" y="76697"/>
                  </a:lnTo>
                  <a:lnTo>
                    <a:pt x="84016" y="75112"/>
                  </a:lnTo>
                  <a:lnTo>
                    <a:pt x="81007" y="74872"/>
                  </a:lnTo>
                  <a:lnTo>
                    <a:pt x="79135" y="70260"/>
                  </a:lnTo>
                  <a:lnTo>
                    <a:pt x="76427" y="68010"/>
                  </a:lnTo>
                  <a:lnTo>
                    <a:pt x="73745" y="66065"/>
                  </a:lnTo>
                  <a:lnTo>
                    <a:pt x="72160" y="65159"/>
                  </a:lnTo>
                  <a:lnTo>
                    <a:pt x="62866" y="62360"/>
                  </a:lnTo>
                  <a:lnTo>
                    <a:pt x="59174" y="61827"/>
                  </a:lnTo>
                  <a:lnTo>
                    <a:pt x="54803" y="60192"/>
                  </a:lnTo>
                  <a:lnTo>
                    <a:pt x="51547" y="58137"/>
                  </a:lnTo>
                  <a:lnTo>
                    <a:pt x="48757" y="56814"/>
                  </a:lnTo>
                  <a:lnTo>
                    <a:pt x="46369" y="55182"/>
                  </a:lnTo>
                  <a:lnTo>
                    <a:pt x="43039" y="53654"/>
                  </a:lnTo>
                  <a:lnTo>
                    <a:pt x="42087" y="52347"/>
                  </a:lnTo>
                  <a:lnTo>
                    <a:pt x="38491" y="49924"/>
                  </a:lnTo>
                  <a:lnTo>
                    <a:pt x="36803" y="48328"/>
                  </a:lnTo>
                  <a:lnTo>
                    <a:pt x="30946" y="45309"/>
                  </a:lnTo>
                  <a:lnTo>
                    <a:pt x="30735" y="44117"/>
                  </a:lnTo>
                  <a:lnTo>
                    <a:pt x="30692" y="42966"/>
                  </a:lnTo>
                  <a:lnTo>
                    <a:pt x="30428" y="42488"/>
                  </a:lnTo>
                  <a:lnTo>
                    <a:pt x="24392" y="40278"/>
                  </a:lnTo>
                  <a:lnTo>
                    <a:pt x="25580" y="39013"/>
                  </a:lnTo>
                  <a:lnTo>
                    <a:pt x="30299" y="38937"/>
                  </a:lnTo>
                  <a:lnTo>
                    <a:pt x="34201" y="40088"/>
                  </a:lnTo>
                  <a:lnTo>
                    <a:pt x="35058" y="39596"/>
                  </a:lnTo>
                  <a:lnTo>
                    <a:pt x="35574" y="38573"/>
                  </a:lnTo>
                  <a:lnTo>
                    <a:pt x="33911" y="34464"/>
                  </a:lnTo>
                  <a:lnTo>
                    <a:pt x="34209" y="33393"/>
                  </a:lnTo>
                  <a:lnTo>
                    <a:pt x="35926" y="32102"/>
                  </a:lnTo>
                  <a:lnTo>
                    <a:pt x="38647" y="31074"/>
                  </a:lnTo>
                  <a:lnTo>
                    <a:pt x="42946" y="30925"/>
                  </a:lnTo>
                  <a:lnTo>
                    <a:pt x="45876" y="31077"/>
                  </a:lnTo>
                  <a:lnTo>
                    <a:pt x="46496" y="31189"/>
                  </a:lnTo>
                  <a:lnTo>
                    <a:pt x="50873" y="35711"/>
                  </a:lnTo>
                  <a:lnTo>
                    <a:pt x="54626" y="40113"/>
                  </a:lnTo>
                  <a:lnTo>
                    <a:pt x="56622" y="41986"/>
                  </a:lnTo>
                  <a:lnTo>
                    <a:pt x="61502" y="47283"/>
                  </a:lnTo>
                  <a:lnTo>
                    <a:pt x="63327" y="50342"/>
                  </a:lnTo>
                  <a:lnTo>
                    <a:pt x="63946" y="52530"/>
                  </a:lnTo>
                  <a:lnTo>
                    <a:pt x="65931" y="52516"/>
                  </a:lnTo>
                  <a:lnTo>
                    <a:pt x="72793" y="53475"/>
                  </a:lnTo>
                  <a:lnTo>
                    <a:pt x="78557" y="54282"/>
                  </a:lnTo>
                  <a:lnTo>
                    <a:pt x="80163" y="55505"/>
                  </a:lnTo>
                  <a:lnTo>
                    <a:pt x="84137" y="55259"/>
                  </a:lnTo>
                  <a:lnTo>
                    <a:pt x="87198" y="54156"/>
                  </a:lnTo>
                  <a:lnTo>
                    <a:pt x="92605" y="52761"/>
                  </a:lnTo>
                  <a:lnTo>
                    <a:pt x="94055" y="51044"/>
                  </a:lnTo>
                  <a:lnTo>
                    <a:pt x="95855" y="49212"/>
                  </a:lnTo>
                  <a:lnTo>
                    <a:pt x="99026" y="49500"/>
                  </a:lnTo>
                  <a:lnTo>
                    <a:pt x="102491" y="50949"/>
                  </a:lnTo>
                  <a:lnTo>
                    <a:pt x="106425" y="52851"/>
                  </a:lnTo>
                  <a:lnTo>
                    <a:pt x="109930" y="53731"/>
                  </a:lnTo>
                  <a:lnTo>
                    <a:pt x="114633" y="55111"/>
                  </a:lnTo>
                  <a:lnTo>
                    <a:pt x="116827" y="56893"/>
                  </a:lnTo>
                  <a:lnTo>
                    <a:pt x="119900" y="57401"/>
                  </a:lnTo>
                  <a:lnTo>
                    <a:pt x="123117" y="55620"/>
                  </a:lnTo>
                  <a:lnTo>
                    <a:pt x="125018" y="50779"/>
                  </a:lnTo>
                  <a:lnTo>
                    <a:pt x="126704" y="48616"/>
                  </a:lnTo>
                  <a:lnTo>
                    <a:pt x="129093" y="47028"/>
                  </a:lnTo>
                  <a:lnTo>
                    <a:pt x="131829" y="46327"/>
                  </a:lnTo>
                  <a:lnTo>
                    <a:pt x="133917" y="46073"/>
                  </a:lnTo>
                  <a:lnTo>
                    <a:pt x="135495" y="44837"/>
                  </a:lnTo>
                  <a:lnTo>
                    <a:pt x="137743" y="42089"/>
                  </a:lnTo>
                  <a:lnTo>
                    <a:pt x="138182" y="38755"/>
                  </a:lnTo>
                  <a:lnTo>
                    <a:pt x="137750" y="32718"/>
                  </a:lnTo>
                  <a:lnTo>
                    <a:pt x="138160" y="30723"/>
                  </a:lnTo>
                  <a:lnTo>
                    <a:pt x="139996" y="27454"/>
                  </a:lnTo>
                  <a:lnTo>
                    <a:pt x="142457" y="18764"/>
                  </a:lnTo>
                  <a:lnTo>
                    <a:pt x="143563" y="16253"/>
                  </a:lnTo>
                  <a:lnTo>
                    <a:pt x="144910" y="14724"/>
                  </a:lnTo>
                  <a:lnTo>
                    <a:pt x="146761" y="13814"/>
                  </a:lnTo>
                  <a:lnTo>
                    <a:pt x="150123" y="11169"/>
                  </a:lnTo>
                  <a:lnTo>
                    <a:pt x="154925" y="5923"/>
                  </a:lnTo>
                  <a:lnTo>
                    <a:pt x="156227" y="5477"/>
                  </a:lnTo>
                  <a:lnTo>
                    <a:pt x="159676" y="5211"/>
                  </a:lnTo>
                  <a:lnTo>
                    <a:pt x="163967" y="5406"/>
                  </a:lnTo>
                  <a:lnTo>
                    <a:pt x="167823" y="6331"/>
                  </a:lnTo>
                  <a:lnTo>
                    <a:pt x="168240" y="6260"/>
                  </a:lnTo>
                  <a:lnTo>
                    <a:pt x="169968" y="5778"/>
                  </a:lnTo>
                  <a:lnTo>
                    <a:pt x="173116" y="4145"/>
                  </a:lnTo>
                  <a:lnTo>
                    <a:pt x="178504" y="895"/>
                  </a:lnTo>
                  <a:close/>
                </a:path>
              </a:pathLst>
            </a:custGeom>
            <a:solidFill>
              <a:srgbClr val="C7CDD0"/>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AT" sz="1600" err="1">
                <a:solidFill>
                  <a:schemeClr val="tx1"/>
                </a:solidFill>
                <a:latin typeface="Calibri" panose="020F0502020204030204" pitchFamily="34" charset="0"/>
                <a:cs typeface="Calibri" panose="020F0502020204030204" pitchFamily="34" charset="0"/>
              </a:endParaRPr>
            </a:p>
          </p:txBody>
        </p:sp>
        <p:sp>
          <p:nvSpPr>
            <p:cNvPr id="80" name="ee4p_FR_1_86241">
              <a:extLst>
                <a:ext uri="{FF2B5EF4-FFF2-40B4-BE49-F238E27FC236}">
                  <a16:creationId xmlns:a16="http://schemas.microsoft.com/office/drawing/2014/main" id="{749A3E07-E1AC-4F65-A8D4-BCA801E40D86}"/>
                </a:ext>
              </a:extLst>
            </p:cNvPr>
            <p:cNvSpPr>
              <a:spLocks noChangeAspect="1"/>
            </p:cNvSpPr>
            <p:nvPr>
              <p:custDataLst>
                <p:tags r:id="rId18"/>
              </p:custDataLst>
            </p:nvPr>
          </p:nvSpPr>
          <p:spPr>
            <a:xfrm>
              <a:off x="5792818" y="2941366"/>
              <a:ext cx="959560" cy="837747"/>
            </a:xfrm>
            <a:custGeom>
              <a:avLst/>
              <a:gdLst>
                <a:gd name="connsiteX0" fmla="*/ 313500 w 316622"/>
                <a:gd name="connsiteY0" fmla="*/ 225790 h 269321"/>
                <a:gd name="connsiteX1" fmla="*/ 314562 w 316622"/>
                <a:gd name="connsiteY1" fmla="*/ 226875 h 269321"/>
                <a:gd name="connsiteX2" fmla="*/ 314508 w 316622"/>
                <a:gd name="connsiteY2" fmla="*/ 227834 h 269321"/>
                <a:gd name="connsiteX3" fmla="*/ 314901 w 316622"/>
                <a:gd name="connsiteY3" fmla="*/ 230102 h 269321"/>
                <a:gd name="connsiteX4" fmla="*/ 314940 w 316622"/>
                <a:gd name="connsiteY4" fmla="*/ 231576 h 269321"/>
                <a:gd name="connsiteX5" fmla="*/ 314361 w 316622"/>
                <a:gd name="connsiteY5" fmla="*/ 235501 h 269321"/>
                <a:gd name="connsiteX6" fmla="*/ 314782 w 316622"/>
                <a:gd name="connsiteY6" fmla="*/ 236649 h 269321"/>
                <a:gd name="connsiteX7" fmla="*/ 315581 w 316622"/>
                <a:gd name="connsiteY7" fmla="*/ 237450 h 269321"/>
                <a:gd name="connsiteX8" fmla="*/ 315953 w 316622"/>
                <a:gd name="connsiteY8" fmla="*/ 238329 h 269321"/>
                <a:gd name="connsiteX9" fmla="*/ 316622 w 316622"/>
                <a:gd name="connsiteY9" fmla="*/ 248763 h 269321"/>
                <a:gd name="connsiteX10" fmla="*/ 316495 w 316622"/>
                <a:gd name="connsiteY10" fmla="*/ 249592 h 269321"/>
                <a:gd name="connsiteX11" fmla="*/ 313791 w 316622"/>
                <a:gd name="connsiteY11" fmla="*/ 253771 h 269321"/>
                <a:gd name="connsiteX12" fmla="*/ 313182 w 316622"/>
                <a:gd name="connsiteY12" fmla="*/ 254996 h 269321"/>
                <a:gd name="connsiteX13" fmla="*/ 313048 w 316622"/>
                <a:gd name="connsiteY13" fmla="*/ 260165 h 269321"/>
                <a:gd name="connsiteX14" fmla="*/ 312593 w 316622"/>
                <a:gd name="connsiteY14" fmla="*/ 261552 h 269321"/>
                <a:gd name="connsiteX15" fmla="*/ 311634 w 316622"/>
                <a:gd name="connsiteY15" fmla="*/ 262920 h 269321"/>
                <a:gd name="connsiteX16" fmla="*/ 309922 w 316622"/>
                <a:gd name="connsiteY16" fmla="*/ 267337 h 269321"/>
                <a:gd name="connsiteX17" fmla="*/ 308434 w 316622"/>
                <a:gd name="connsiteY17" fmla="*/ 269321 h 269321"/>
                <a:gd name="connsiteX18" fmla="*/ 304385 w 316622"/>
                <a:gd name="connsiteY18" fmla="*/ 266901 h 269321"/>
                <a:gd name="connsiteX19" fmla="*/ 301997 w 316622"/>
                <a:gd name="connsiteY19" fmla="*/ 265854 h 269321"/>
                <a:gd name="connsiteX20" fmla="*/ 300826 w 316622"/>
                <a:gd name="connsiteY20" fmla="*/ 264725 h 269321"/>
                <a:gd name="connsiteX21" fmla="*/ 300062 w 316622"/>
                <a:gd name="connsiteY21" fmla="*/ 263945 h 269321"/>
                <a:gd name="connsiteX22" fmla="*/ 300554 w 316622"/>
                <a:gd name="connsiteY22" fmla="*/ 262905 h 269321"/>
                <a:gd name="connsiteX23" fmla="*/ 301643 w 316622"/>
                <a:gd name="connsiteY23" fmla="*/ 261824 h 269321"/>
                <a:gd name="connsiteX24" fmla="*/ 301815 w 316622"/>
                <a:gd name="connsiteY24" fmla="*/ 260973 h 269321"/>
                <a:gd name="connsiteX25" fmla="*/ 299254 w 316622"/>
                <a:gd name="connsiteY25" fmla="*/ 260009 h 269321"/>
                <a:gd name="connsiteX26" fmla="*/ 298082 w 316622"/>
                <a:gd name="connsiteY26" fmla="*/ 259365 h 269321"/>
                <a:gd name="connsiteX27" fmla="*/ 298097 w 316622"/>
                <a:gd name="connsiteY27" fmla="*/ 258237 h 269321"/>
                <a:gd name="connsiteX28" fmla="*/ 298982 w 316622"/>
                <a:gd name="connsiteY28" fmla="*/ 256476 h 269321"/>
                <a:gd name="connsiteX29" fmla="*/ 298578 w 316622"/>
                <a:gd name="connsiteY29" fmla="*/ 255025 h 269321"/>
                <a:gd name="connsiteX30" fmla="*/ 297101 w 316622"/>
                <a:gd name="connsiteY30" fmla="*/ 255099 h 269321"/>
                <a:gd name="connsiteX31" fmla="*/ 295957 w 316622"/>
                <a:gd name="connsiteY31" fmla="*/ 254877 h 269321"/>
                <a:gd name="connsiteX32" fmla="*/ 295808 w 316622"/>
                <a:gd name="connsiteY32" fmla="*/ 254123 h 269321"/>
                <a:gd name="connsiteX33" fmla="*/ 296654 w 316622"/>
                <a:gd name="connsiteY33" fmla="*/ 253156 h 269321"/>
                <a:gd name="connsiteX34" fmla="*/ 297740 w 316622"/>
                <a:gd name="connsiteY34" fmla="*/ 251893 h 269321"/>
                <a:gd name="connsiteX35" fmla="*/ 297706 w 316622"/>
                <a:gd name="connsiteY35" fmla="*/ 250499 h 269321"/>
                <a:gd name="connsiteX36" fmla="*/ 296393 w 316622"/>
                <a:gd name="connsiteY36" fmla="*/ 249898 h 269321"/>
                <a:gd name="connsiteX37" fmla="*/ 295203 w 316622"/>
                <a:gd name="connsiteY37" fmla="*/ 248765 h 269321"/>
                <a:gd name="connsiteX38" fmla="*/ 294726 w 316622"/>
                <a:gd name="connsiteY38" fmla="*/ 247224 h 269321"/>
                <a:gd name="connsiteX39" fmla="*/ 295648 w 316622"/>
                <a:gd name="connsiteY39" fmla="*/ 246169 h 269321"/>
                <a:gd name="connsiteX40" fmla="*/ 297142 w 316622"/>
                <a:gd name="connsiteY40" fmla="*/ 245488 h 269321"/>
                <a:gd name="connsiteX41" fmla="*/ 296045 w 316622"/>
                <a:gd name="connsiteY41" fmla="*/ 243907 h 269321"/>
                <a:gd name="connsiteX42" fmla="*/ 295305 w 316622"/>
                <a:gd name="connsiteY42" fmla="*/ 243872 h 269321"/>
                <a:gd name="connsiteX43" fmla="*/ 294713 w 316622"/>
                <a:gd name="connsiteY43" fmla="*/ 243526 h 269321"/>
                <a:gd name="connsiteX44" fmla="*/ 295197 w 316622"/>
                <a:gd name="connsiteY44" fmla="*/ 242791 h 269321"/>
                <a:gd name="connsiteX45" fmla="*/ 296358 w 316622"/>
                <a:gd name="connsiteY45" fmla="*/ 241692 h 269321"/>
                <a:gd name="connsiteX46" fmla="*/ 297974 w 316622"/>
                <a:gd name="connsiteY46" fmla="*/ 238406 h 269321"/>
                <a:gd name="connsiteX47" fmla="*/ 300224 w 316622"/>
                <a:gd name="connsiteY47" fmla="*/ 236854 h 269321"/>
                <a:gd name="connsiteX48" fmla="*/ 304206 w 316622"/>
                <a:gd name="connsiteY48" fmla="*/ 235855 h 269321"/>
                <a:gd name="connsiteX49" fmla="*/ 305283 w 316622"/>
                <a:gd name="connsiteY49" fmla="*/ 235418 h 269321"/>
                <a:gd name="connsiteX50" fmla="*/ 306272 w 316622"/>
                <a:gd name="connsiteY50" fmla="*/ 234261 h 269321"/>
                <a:gd name="connsiteX51" fmla="*/ 307367 w 316622"/>
                <a:gd name="connsiteY51" fmla="*/ 233515 h 269321"/>
                <a:gd name="connsiteX52" fmla="*/ 308697 w 316622"/>
                <a:gd name="connsiteY52" fmla="*/ 233614 h 269321"/>
                <a:gd name="connsiteX53" fmla="*/ 309924 w 316622"/>
                <a:gd name="connsiteY53" fmla="*/ 234061 h 269321"/>
                <a:gd name="connsiteX54" fmla="*/ 310680 w 316622"/>
                <a:gd name="connsiteY54" fmla="*/ 234537 h 269321"/>
                <a:gd name="connsiteX55" fmla="*/ 311247 w 316622"/>
                <a:gd name="connsiteY55" fmla="*/ 234042 h 269321"/>
                <a:gd name="connsiteX56" fmla="*/ 311800 w 316622"/>
                <a:gd name="connsiteY56" fmla="*/ 232606 h 269321"/>
                <a:gd name="connsiteX57" fmla="*/ 311461 w 316622"/>
                <a:gd name="connsiteY57" fmla="*/ 231344 h 269321"/>
                <a:gd name="connsiteX58" fmla="*/ 311636 w 316622"/>
                <a:gd name="connsiteY58" fmla="*/ 227872 h 269321"/>
                <a:gd name="connsiteX59" fmla="*/ 312349 w 316622"/>
                <a:gd name="connsiteY59" fmla="*/ 225900 h 269321"/>
                <a:gd name="connsiteX60" fmla="*/ 74603 w 316622"/>
                <a:gd name="connsiteY60" fmla="*/ 143377 h 269321"/>
                <a:gd name="connsiteX61" fmla="*/ 76893 w 316622"/>
                <a:gd name="connsiteY61" fmla="*/ 144695 h 269321"/>
                <a:gd name="connsiteX62" fmla="*/ 79254 w 316622"/>
                <a:gd name="connsiteY62" fmla="*/ 147418 h 269321"/>
                <a:gd name="connsiteX63" fmla="*/ 78474 w 316622"/>
                <a:gd name="connsiteY63" fmla="*/ 149829 h 269321"/>
                <a:gd name="connsiteX64" fmla="*/ 76999 w 316622"/>
                <a:gd name="connsiteY64" fmla="*/ 147609 h 269321"/>
                <a:gd name="connsiteX65" fmla="*/ 75044 w 316622"/>
                <a:gd name="connsiteY65" fmla="*/ 145662 h 269321"/>
                <a:gd name="connsiteX66" fmla="*/ 74598 w 316622"/>
                <a:gd name="connsiteY66" fmla="*/ 143859 h 269321"/>
                <a:gd name="connsiteX67" fmla="*/ 161140 w 316622"/>
                <a:gd name="connsiteY67" fmla="*/ 0 h 269321"/>
                <a:gd name="connsiteX68" fmla="*/ 161386 w 316622"/>
                <a:gd name="connsiteY68" fmla="*/ 1392 h 269321"/>
                <a:gd name="connsiteX69" fmla="*/ 162243 w 316622"/>
                <a:gd name="connsiteY69" fmla="*/ 3172 h 269321"/>
                <a:gd name="connsiteX70" fmla="*/ 162833 w 316622"/>
                <a:gd name="connsiteY70" fmla="*/ 4145 h 269321"/>
                <a:gd name="connsiteX71" fmla="*/ 162343 w 316622"/>
                <a:gd name="connsiteY71" fmla="*/ 5415 h 269321"/>
                <a:gd name="connsiteX72" fmla="*/ 162729 w 316622"/>
                <a:gd name="connsiteY72" fmla="*/ 6460 h 269321"/>
                <a:gd name="connsiteX73" fmla="*/ 164329 w 316622"/>
                <a:gd name="connsiteY73" fmla="*/ 8341 h 269321"/>
                <a:gd name="connsiteX74" fmla="*/ 166324 w 316622"/>
                <a:gd name="connsiteY74" fmla="*/ 10112 h 269321"/>
                <a:gd name="connsiteX75" fmla="*/ 168102 w 316622"/>
                <a:gd name="connsiteY75" fmla="*/ 11243 h 269321"/>
                <a:gd name="connsiteX76" fmla="*/ 168603 w 316622"/>
                <a:gd name="connsiteY76" fmla="*/ 11120 h 269321"/>
                <a:gd name="connsiteX77" fmla="*/ 169920 w 316622"/>
                <a:gd name="connsiteY77" fmla="*/ 10798 h 269321"/>
                <a:gd name="connsiteX78" fmla="*/ 172150 w 316622"/>
                <a:gd name="connsiteY78" fmla="*/ 9638 h 269321"/>
                <a:gd name="connsiteX79" fmla="*/ 174008 w 316622"/>
                <a:gd name="connsiteY79" fmla="*/ 9273 h 269321"/>
                <a:gd name="connsiteX80" fmla="*/ 175070 w 316622"/>
                <a:gd name="connsiteY80" fmla="*/ 10162 h 269321"/>
                <a:gd name="connsiteX81" fmla="*/ 175670 w 316622"/>
                <a:gd name="connsiteY81" fmla="*/ 10663 h 269321"/>
                <a:gd name="connsiteX82" fmla="*/ 176841 w 316622"/>
                <a:gd name="connsiteY82" fmla="*/ 12664 h 269321"/>
                <a:gd name="connsiteX83" fmla="*/ 177169 w 316622"/>
                <a:gd name="connsiteY83" fmla="*/ 14752 h 269321"/>
                <a:gd name="connsiteX84" fmla="*/ 177689 w 316622"/>
                <a:gd name="connsiteY84" fmla="*/ 16484 h 269321"/>
                <a:gd name="connsiteX85" fmla="*/ 178637 w 316622"/>
                <a:gd name="connsiteY85" fmla="*/ 17186 h 269321"/>
                <a:gd name="connsiteX86" fmla="*/ 182192 w 316622"/>
                <a:gd name="connsiteY86" fmla="*/ 17416 h 269321"/>
                <a:gd name="connsiteX87" fmla="*/ 184811 w 316622"/>
                <a:gd name="connsiteY87" fmla="*/ 18058 h 269321"/>
                <a:gd name="connsiteX88" fmla="*/ 185504 w 316622"/>
                <a:gd name="connsiteY88" fmla="*/ 18639 h 269321"/>
                <a:gd name="connsiteX89" fmla="*/ 186400 w 316622"/>
                <a:gd name="connsiteY89" fmla="*/ 22482 h 269321"/>
                <a:gd name="connsiteX90" fmla="*/ 186888 w 316622"/>
                <a:gd name="connsiteY90" fmla="*/ 23025 h 269321"/>
                <a:gd name="connsiteX91" fmla="*/ 187541 w 316622"/>
                <a:gd name="connsiteY91" fmla="*/ 22572 h 269321"/>
                <a:gd name="connsiteX92" fmla="*/ 188186 w 316622"/>
                <a:gd name="connsiteY92" fmla="*/ 21940 h 269321"/>
                <a:gd name="connsiteX93" fmla="*/ 189082 w 316622"/>
                <a:gd name="connsiteY93" fmla="*/ 21839 h 269321"/>
                <a:gd name="connsiteX94" fmla="*/ 190620 w 316622"/>
                <a:gd name="connsiteY94" fmla="*/ 22083 h 269321"/>
                <a:gd name="connsiteX95" fmla="*/ 192645 w 316622"/>
                <a:gd name="connsiteY95" fmla="*/ 22159 h 269321"/>
                <a:gd name="connsiteX96" fmla="*/ 194734 w 316622"/>
                <a:gd name="connsiteY96" fmla="*/ 22582 h 269321"/>
                <a:gd name="connsiteX97" fmla="*/ 197618 w 316622"/>
                <a:gd name="connsiteY97" fmla="*/ 24750 h 269321"/>
                <a:gd name="connsiteX98" fmla="*/ 197508 w 316622"/>
                <a:gd name="connsiteY98" fmla="*/ 25465 h 269321"/>
                <a:gd name="connsiteX99" fmla="*/ 196945 w 316622"/>
                <a:gd name="connsiteY99" fmla="*/ 26720 h 269321"/>
                <a:gd name="connsiteX100" fmla="*/ 196748 w 316622"/>
                <a:gd name="connsiteY100" fmla="*/ 27721 h 269321"/>
                <a:gd name="connsiteX101" fmla="*/ 197245 w 316622"/>
                <a:gd name="connsiteY101" fmla="*/ 28123 h 269321"/>
                <a:gd name="connsiteX102" fmla="*/ 198007 w 316622"/>
                <a:gd name="connsiteY102" fmla="*/ 29156 h 269321"/>
                <a:gd name="connsiteX103" fmla="*/ 197824 w 316622"/>
                <a:gd name="connsiteY103" fmla="*/ 30350 h 269321"/>
                <a:gd name="connsiteX104" fmla="*/ 197081 w 316622"/>
                <a:gd name="connsiteY104" fmla="*/ 31186 h 269321"/>
                <a:gd name="connsiteX105" fmla="*/ 196783 w 316622"/>
                <a:gd name="connsiteY105" fmla="*/ 31875 h 269321"/>
                <a:gd name="connsiteX106" fmla="*/ 196787 w 316622"/>
                <a:gd name="connsiteY106" fmla="*/ 32323 h 269321"/>
                <a:gd name="connsiteX107" fmla="*/ 197059 w 316622"/>
                <a:gd name="connsiteY107" fmla="*/ 32695 h 269321"/>
                <a:gd name="connsiteX108" fmla="*/ 197651 w 316622"/>
                <a:gd name="connsiteY108" fmla="*/ 33022 h 269321"/>
                <a:gd name="connsiteX109" fmla="*/ 201911 w 316622"/>
                <a:gd name="connsiteY109" fmla="*/ 33463 h 269321"/>
                <a:gd name="connsiteX110" fmla="*/ 205809 w 316622"/>
                <a:gd name="connsiteY110" fmla="*/ 33022 h 269321"/>
                <a:gd name="connsiteX111" fmla="*/ 208266 w 316622"/>
                <a:gd name="connsiteY111" fmla="*/ 31805 h 269321"/>
                <a:gd name="connsiteX112" fmla="*/ 208685 w 316622"/>
                <a:gd name="connsiteY112" fmla="*/ 30522 h 269321"/>
                <a:gd name="connsiteX113" fmla="*/ 209383 w 316622"/>
                <a:gd name="connsiteY113" fmla="*/ 29072 h 269321"/>
                <a:gd name="connsiteX114" fmla="*/ 210847 w 316622"/>
                <a:gd name="connsiteY114" fmla="*/ 27858 h 269321"/>
                <a:gd name="connsiteX115" fmla="*/ 211860 w 316622"/>
                <a:gd name="connsiteY115" fmla="*/ 27450 h 269321"/>
                <a:gd name="connsiteX116" fmla="*/ 212786 w 316622"/>
                <a:gd name="connsiteY116" fmla="*/ 27950 h 269321"/>
                <a:gd name="connsiteX117" fmla="*/ 211227 w 316622"/>
                <a:gd name="connsiteY117" fmla="*/ 33042 h 269321"/>
                <a:gd name="connsiteX118" fmla="*/ 212365 w 316622"/>
                <a:gd name="connsiteY118" fmla="*/ 34342 h 269321"/>
                <a:gd name="connsiteX119" fmla="*/ 212533 w 316622"/>
                <a:gd name="connsiteY119" fmla="*/ 36284 h 269321"/>
                <a:gd name="connsiteX120" fmla="*/ 212941 w 316622"/>
                <a:gd name="connsiteY120" fmla="*/ 37983 h 269321"/>
                <a:gd name="connsiteX121" fmla="*/ 214334 w 316622"/>
                <a:gd name="connsiteY121" fmla="*/ 37951 h 269321"/>
                <a:gd name="connsiteX122" fmla="*/ 216023 w 316622"/>
                <a:gd name="connsiteY122" fmla="*/ 38265 h 269321"/>
                <a:gd name="connsiteX123" fmla="*/ 217219 w 316622"/>
                <a:gd name="connsiteY123" fmla="*/ 38893 h 269321"/>
                <a:gd name="connsiteX124" fmla="*/ 218614 w 316622"/>
                <a:gd name="connsiteY124" fmla="*/ 39902 h 269321"/>
                <a:gd name="connsiteX125" fmla="*/ 220625 w 316622"/>
                <a:gd name="connsiteY125" fmla="*/ 40829 h 269321"/>
                <a:gd name="connsiteX126" fmla="*/ 222035 w 316622"/>
                <a:gd name="connsiteY126" fmla="*/ 41155 h 269321"/>
                <a:gd name="connsiteX127" fmla="*/ 222546 w 316622"/>
                <a:gd name="connsiteY127" fmla="*/ 41929 h 269321"/>
                <a:gd name="connsiteX128" fmla="*/ 223686 w 316622"/>
                <a:gd name="connsiteY128" fmla="*/ 42825 h 269321"/>
                <a:gd name="connsiteX129" fmla="*/ 225481 w 316622"/>
                <a:gd name="connsiteY129" fmla="*/ 44702 h 269321"/>
                <a:gd name="connsiteX130" fmla="*/ 227087 w 316622"/>
                <a:gd name="connsiteY130" fmla="*/ 45954 h 269321"/>
                <a:gd name="connsiteX131" fmla="*/ 227863 w 316622"/>
                <a:gd name="connsiteY131" fmla="*/ 45949 h 269321"/>
                <a:gd name="connsiteX132" fmla="*/ 229359 w 316622"/>
                <a:gd name="connsiteY132" fmla="*/ 45456 h 269321"/>
                <a:gd name="connsiteX133" fmla="*/ 231579 w 316622"/>
                <a:gd name="connsiteY133" fmla="*/ 45140 h 269321"/>
                <a:gd name="connsiteX134" fmla="*/ 233332 w 316622"/>
                <a:gd name="connsiteY134" fmla="*/ 45167 h 269321"/>
                <a:gd name="connsiteX135" fmla="*/ 234078 w 316622"/>
                <a:gd name="connsiteY135" fmla="*/ 46120 h 269321"/>
                <a:gd name="connsiteX136" fmla="*/ 235801 w 316622"/>
                <a:gd name="connsiteY136" fmla="*/ 46560 h 269321"/>
                <a:gd name="connsiteX137" fmla="*/ 236410 w 316622"/>
                <a:gd name="connsiteY137" fmla="*/ 46910 h 269321"/>
                <a:gd name="connsiteX138" fmla="*/ 237086 w 316622"/>
                <a:gd name="connsiteY138" fmla="*/ 47567 h 269321"/>
                <a:gd name="connsiteX139" fmla="*/ 238234 w 316622"/>
                <a:gd name="connsiteY139" fmla="*/ 47831 h 269321"/>
                <a:gd name="connsiteX140" fmla="*/ 239621 w 316622"/>
                <a:gd name="connsiteY140" fmla="*/ 47567 h 269321"/>
                <a:gd name="connsiteX141" fmla="*/ 240633 w 316622"/>
                <a:gd name="connsiteY141" fmla="*/ 46690 h 269321"/>
                <a:gd name="connsiteX142" fmla="*/ 241985 w 316622"/>
                <a:gd name="connsiteY142" fmla="*/ 46297 h 269321"/>
                <a:gd name="connsiteX143" fmla="*/ 243337 w 316622"/>
                <a:gd name="connsiteY143" fmla="*/ 46428 h 269321"/>
                <a:gd name="connsiteX144" fmla="*/ 244114 w 316622"/>
                <a:gd name="connsiteY144" fmla="*/ 46910 h 269321"/>
                <a:gd name="connsiteX145" fmla="*/ 245596 w 316622"/>
                <a:gd name="connsiteY145" fmla="*/ 47622 h 269321"/>
                <a:gd name="connsiteX146" fmla="*/ 246434 w 316622"/>
                <a:gd name="connsiteY146" fmla="*/ 47467 h 269321"/>
                <a:gd name="connsiteX147" fmla="*/ 248111 w 316622"/>
                <a:gd name="connsiteY147" fmla="*/ 47905 h 269321"/>
                <a:gd name="connsiteX148" fmla="*/ 249796 w 316622"/>
                <a:gd name="connsiteY148" fmla="*/ 49287 h 269321"/>
                <a:gd name="connsiteX149" fmla="*/ 250504 w 316622"/>
                <a:gd name="connsiteY149" fmla="*/ 50676 h 269321"/>
                <a:gd name="connsiteX150" fmla="*/ 250689 w 316622"/>
                <a:gd name="connsiteY150" fmla="*/ 51435 h 269321"/>
                <a:gd name="connsiteX151" fmla="*/ 251417 w 316622"/>
                <a:gd name="connsiteY151" fmla="*/ 52260 h 269321"/>
                <a:gd name="connsiteX152" fmla="*/ 254244 w 316622"/>
                <a:gd name="connsiteY152" fmla="*/ 55987 h 269321"/>
                <a:gd name="connsiteX153" fmla="*/ 255147 w 316622"/>
                <a:gd name="connsiteY153" fmla="*/ 56171 h 269321"/>
                <a:gd name="connsiteX154" fmla="*/ 256129 w 316622"/>
                <a:gd name="connsiteY154" fmla="*/ 55606 h 269321"/>
                <a:gd name="connsiteX155" fmla="*/ 256766 w 316622"/>
                <a:gd name="connsiteY155" fmla="*/ 54805 h 269321"/>
                <a:gd name="connsiteX156" fmla="*/ 257688 w 316622"/>
                <a:gd name="connsiteY156" fmla="*/ 54645 h 269321"/>
                <a:gd name="connsiteX157" fmla="*/ 259172 w 316622"/>
                <a:gd name="connsiteY157" fmla="*/ 55014 h 269321"/>
                <a:gd name="connsiteX158" fmla="*/ 260126 w 316622"/>
                <a:gd name="connsiteY158" fmla="*/ 55436 h 269321"/>
                <a:gd name="connsiteX159" fmla="*/ 260584 w 316622"/>
                <a:gd name="connsiteY159" fmla="*/ 57049 h 269321"/>
                <a:gd name="connsiteX160" fmla="*/ 260906 w 316622"/>
                <a:gd name="connsiteY160" fmla="*/ 57356 h 269321"/>
                <a:gd name="connsiteX161" fmla="*/ 261547 w 316622"/>
                <a:gd name="connsiteY161" fmla="*/ 57009 h 269321"/>
                <a:gd name="connsiteX162" fmla="*/ 262690 w 316622"/>
                <a:gd name="connsiteY162" fmla="*/ 56932 h 269321"/>
                <a:gd name="connsiteX163" fmla="*/ 264514 w 316622"/>
                <a:gd name="connsiteY163" fmla="*/ 57330 h 269321"/>
                <a:gd name="connsiteX164" fmla="*/ 267023 w 316622"/>
                <a:gd name="connsiteY164" fmla="*/ 56875 h 269321"/>
                <a:gd name="connsiteX165" fmla="*/ 269031 w 316622"/>
                <a:gd name="connsiteY165" fmla="*/ 56202 h 269321"/>
                <a:gd name="connsiteX166" fmla="*/ 270057 w 316622"/>
                <a:gd name="connsiteY166" fmla="*/ 56227 h 269321"/>
                <a:gd name="connsiteX167" fmla="*/ 271713 w 316622"/>
                <a:gd name="connsiteY167" fmla="*/ 58108 h 269321"/>
                <a:gd name="connsiteX168" fmla="*/ 273603 w 316622"/>
                <a:gd name="connsiteY168" fmla="*/ 58811 h 269321"/>
                <a:gd name="connsiteX169" fmla="*/ 277766 w 316622"/>
                <a:gd name="connsiteY169" fmla="*/ 59378 h 269321"/>
                <a:gd name="connsiteX170" fmla="*/ 282234 w 316622"/>
                <a:gd name="connsiteY170" fmla="*/ 60262 h 269321"/>
                <a:gd name="connsiteX171" fmla="*/ 283989 w 316622"/>
                <a:gd name="connsiteY171" fmla="*/ 60976 h 269321"/>
                <a:gd name="connsiteX172" fmla="*/ 285188 w 316622"/>
                <a:gd name="connsiteY172" fmla="*/ 61327 h 269321"/>
                <a:gd name="connsiteX173" fmla="*/ 285309 w 316622"/>
                <a:gd name="connsiteY173" fmla="*/ 63812 h 269321"/>
                <a:gd name="connsiteX174" fmla="*/ 284948 w 316622"/>
                <a:gd name="connsiteY174" fmla="*/ 64187 h 269321"/>
                <a:gd name="connsiteX175" fmla="*/ 280498 w 316622"/>
                <a:gd name="connsiteY175" fmla="*/ 69161 h 269321"/>
                <a:gd name="connsiteX176" fmla="*/ 278623 w 316622"/>
                <a:gd name="connsiteY176" fmla="*/ 70938 h 269321"/>
                <a:gd name="connsiteX177" fmla="*/ 277669 w 316622"/>
                <a:gd name="connsiteY177" fmla="*/ 73471 h 269321"/>
                <a:gd name="connsiteX178" fmla="*/ 277013 w 316622"/>
                <a:gd name="connsiteY178" fmla="*/ 77352 h 269321"/>
                <a:gd name="connsiteX179" fmla="*/ 275698 w 316622"/>
                <a:gd name="connsiteY179" fmla="*/ 81034 h 269321"/>
                <a:gd name="connsiteX180" fmla="*/ 273728 w 316622"/>
                <a:gd name="connsiteY180" fmla="*/ 84519 h 269321"/>
                <a:gd name="connsiteX181" fmla="*/ 273011 w 316622"/>
                <a:gd name="connsiteY181" fmla="*/ 87132 h 269321"/>
                <a:gd name="connsiteX182" fmla="*/ 273549 w 316622"/>
                <a:gd name="connsiteY182" fmla="*/ 88874 h 269321"/>
                <a:gd name="connsiteX183" fmla="*/ 273212 w 316622"/>
                <a:gd name="connsiteY183" fmla="*/ 91607 h 269321"/>
                <a:gd name="connsiteX184" fmla="*/ 272003 w 316622"/>
                <a:gd name="connsiteY184" fmla="*/ 95326 h 269321"/>
                <a:gd name="connsiteX185" fmla="*/ 271800 w 316622"/>
                <a:gd name="connsiteY185" fmla="*/ 98132 h 269321"/>
                <a:gd name="connsiteX186" fmla="*/ 272597 w 316622"/>
                <a:gd name="connsiteY186" fmla="*/ 100025 h 269321"/>
                <a:gd name="connsiteX187" fmla="*/ 273707 w 316622"/>
                <a:gd name="connsiteY187" fmla="*/ 100413 h 269321"/>
                <a:gd name="connsiteX188" fmla="*/ 271037 w 316622"/>
                <a:gd name="connsiteY188" fmla="*/ 101687 h 269321"/>
                <a:gd name="connsiteX189" fmla="*/ 270429 w 316622"/>
                <a:gd name="connsiteY189" fmla="*/ 102801 h 269321"/>
                <a:gd name="connsiteX190" fmla="*/ 269381 w 316622"/>
                <a:gd name="connsiteY190" fmla="*/ 104274 h 269321"/>
                <a:gd name="connsiteX191" fmla="*/ 267682 w 316622"/>
                <a:gd name="connsiteY191" fmla="*/ 104893 h 269321"/>
                <a:gd name="connsiteX192" fmla="*/ 265970 w 316622"/>
                <a:gd name="connsiteY192" fmla="*/ 105098 h 269321"/>
                <a:gd name="connsiteX193" fmla="*/ 264585 w 316622"/>
                <a:gd name="connsiteY193" fmla="*/ 104903 h 269321"/>
                <a:gd name="connsiteX194" fmla="*/ 263797 w 316622"/>
                <a:gd name="connsiteY194" fmla="*/ 104315 h 269321"/>
                <a:gd name="connsiteX195" fmla="*/ 263836 w 316622"/>
                <a:gd name="connsiteY195" fmla="*/ 103767 h 269321"/>
                <a:gd name="connsiteX196" fmla="*/ 263102 w 316622"/>
                <a:gd name="connsiteY196" fmla="*/ 103301 h 269321"/>
                <a:gd name="connsiteX197" fmla="*/ 261275 w 316622"/>
                <a:gd name="connsiteY197" fmla="*/ 103315 h 269321"/>
                <a:gd name="connsiteX198" fmla="*/ 259394 w 316622"/>
                <a:gd name="connsiteY198" fmla="*/ 104328 h 269321"/>
                <a:gd name="connsiteX199" fmla="*/ 257891 w 316622"/>
                <a:gd name="connsiteY199" fmla="*/ 105982 h 269321"/>
                <a:gd name="connsiteX200" fmla="*/ 258358 w 316622"/>
                <a:gd name="connsiteY200" fmla="*/ 106907 h 269321"/>
                <a:gd name="connsiteX201" fmla="*/ 259742 w 316622"/>
                <a:gd name="connsiteY201" fmla="*/ 107151 h 269321"/>
                <a:gd name="connsiteX202" fmla="*/ 260107 w 316622"/>
                <a:gd name="connsiteY202" fmla="*/ 107517 h 269321"/>
                <a:gd name="connsiteX203" fmla="*/ 260107 w 316622"/>
                <a:gd name="connsiteY203" fmla="*/ 107992 h 269321"/>
                <a:gd name="connsiteX204" fmla="*/ 259619 w 316622"/>
                <a:gd name="connsiteY204" fmla="*/ 108564 h 269321"/>
                <a:gd name="connsiteX205" fmla="*/ 259034 w 316622"/>
                <a:gd name="connsiteY205" fmla="*/ 109541 h 269321"/>
                <a:gd name="connsiteX206" fmla="*/ 256129 w 316622"/>
                <a:gd name="connsiteY206" fmla="*/ 112450 h 269321"/>
                <a:gd name="connsiteX207" fmla="*/ 253197 w 316622"/>
                <a:gd name="connsiteY207" fmla="*/ 115382 h 269321"/>
                <a:gd name="connsiteX208" fmla="*/ 252728 w 316622"/>
                <a:gd name="connsiteY208" fmla="*/ 116268 h 269321"/>
                <a:gd name="connsiteX209" fmla="*/ 251798 w 316622"/>
                <a:gd name="connsiteY209" fmla="*/ 116887 h 269321"/>
                <a:gd name="connsiteX210" fmla="*/ 248070 w 316622"/>
                <a:gd name="connsiteY210" fmla="*/ 118450 h 269321"/>
                <a:gd name="connsiteX211" fmla="*/ 247680 w 316622"/>
                <a:gd name="connsiteY211" fmla="*/ 119076 h 269321"/>
                <a:gd name="connsiteX212" fmla="*/ 247468 w 316622"/>
                <a:gd name="connsiteY212" fmla="*/ 121685 h 269321"/>
                <a:gd name="connsiteX213" fmla="*/ 247051 w 316622"/>
                <a:gd name="connsiteY213" fmla="*/ 123826 h 269321"/>
                <a:gd name="connsiteX214" fmla="*/ 244287 w 316622"/>
                <a:gd name="connsiteY214" fmla="*/ 125839 h 269321"/>
                <a:gd name="connsiteX215" fmla="*/ 241536 w 316622"/>
                <a:gd name="connsiteY215" fmla="*/ 127842 h 269321"/>
                <a:gd name="connsiteX216" fmla="*/ 240849 w 316622"/>
                <a:gd name="connsiteY216" fmla="*/ 129065 h 269321"/>
                <a:gd name="connsiteX217" fmla="*/ 240348 w 316622"/>
                <a:gd name="connsiteY217" fmla="*/ 130480 h 269321"/>
                <a:gd name="connsiteX218" fmla="*/ 239485 w 316622"/>
                <a:gd name="connsiteY218" fmla="*/ 132076 h 269321"/>
                <a:gd name="connsiteX219" fmla="*/ 239314 w 316622"/>
                <a:gd name="connsiteY219" fmla="*/ 132919 h 269321"/>
                <a:gd name="connsiteX220" fmla="*/ 240707 w 316622"/>
                <a:gd name="connsiteY220" fmla="*/ 134293 h 269321"/>
                <a:gd name="connsiteX221" fmla="*/ 240545 w 316622"/>
                <a:gd name="connsiteY221" fmla="*/ 135429 h 269321"/>
                <a:gd name="connsiteX222" fmla="*/ 240102 w 316622"/>
                <a:gd name="connsiteY222" fmla="*/ 137043 h 269321"/>
                <a:gd name="connsiteX223" fmla="*/ 238780 w 316622"/>
                <a:gd name="connsiteY223" fmla="*/ 138186 h 269321"/>
                <a:gd name="connsiteX224" fmla="*/ 237319 w 316622"/>
                <a:gd name="connsiteY224" fmla="*/ 138834 h 269321"/>
                <a:gd name="connsiteX225" fmla="*/ 237351 w 316622"/>
                <a:gd name="connsiteY225" fmla="*/ 140590 h 269321"/>
                <a:gd name="connsiteX226" fmla="*/ 238129 w 316622"/>
                <a:gd name="connsiteY226" fmla="*/ 140836 h 269321"/>
                <a:gd name="connsiteX227" fmla="*/ 239897 w 316622"/>
                <a:gd name="connsiteY227" fmla="*/ 140706 h 269321"/>
                <a:gd name="connsiteX228" fmla="*/ 242391 w 316622"/>
                <a:gd name="connsiteY228" fmla="*/ 139432 h 269321"/>
                <a:gd name="connsiteX229" fmla="*/ 244017 w 316622"/>
                <a:gd name="connsiteY229" fmla="*/ 137794 h 269321"/>
                <a:gd name="connsiteX230" fmla="*/ 243059 w 316622"/>
                <a:gd name="connsiteY230" fmla="*/ 136238 h 269321"/>
                <a:gd name="connsiteX231" fmla="*/ 242940 w 316622"/>
                <a:gd name="connsiteY231" fmla="*/ 135933 h 269321"/>
                <a:gd name="connsiteX232" fmla="*/ 243171 w 316622"/>
                <a:gd name="connsiteY232" fmla="*/ 135568 h 269321"/>
                <a:gd name="connsiteX233" fmla="*/ 245099 w 316622"/>
                <a:gd name="connsiteY233" fmla="*/ 133875 h 269321"/>
                <a:gd name="connsiteX234" fmla="*/ 247466 w 316622"/>
                <a:gd name="connsiteY234" fmla="*/ 132854 h 269321"/>
                <a:gd name="connsiteX235" fmla="*/ 250767 w 316622"/>
                <a:gd name="connsiteY235" fmla="*/ 132664 h 269321"/>
                <a:gd name="connsiteX236" fmla="*/ 254745 w 316622"/>
                <a:gd name="connsiteY236" fmla="*/ 133263 h 269321"/>
                <a:gd name="connsiteX237" fmla="*/ 255142 w 316622"/>
                <a:gd name="connsiteY237" fmla="*/ 133516 h 269321"/>
                <a:gd name="connsiteX238" fmla="*/ 254950 w 316622"/>
                <a:gd name="connsiteY238" fmla="*/ 134554 h 269321"/>
                <a:gd name="connsiteX239" fmla="*/ 255321 w 316622"/>
                <a:gd name="connsiteY239" fmla="*/ 136085 h 269321"/>
                <a:gd name="connsiteX240" fmla="*/ 256043 w 316622"/>
                <a:gd name="connsiteY240" fmla="*/ 137159 h 269321"/>
                <a:gd name="connsiteX241" fmla="*/ 255054 w 316622"/>
                <a:gd name="connsiteY241" fmla="*/ 140205 h 269321"/>
                <a:gd name="connsiteX242" fmla="*/ 255797 w 316622"/>
                <a:gd name="connsiteY242" fmla="*/ 141159 h 269321"/>
                <a:gd name="connsiteX243" fmla="*/ 256954 w 316622"/>
                <a:gd name="connsiteY243" fmla="*/ 142299 h 269321"/>
                <a:gd name="connsiteX244" fmla="*/ 257822 w 316622"/>
                <a:gd name="connsiteY244" fmla="*/ 143340 h 269321"/>
                <a:gd name="connsiteX245" fmla="*/ 259070 w 316622"/>
                <a:gd name="connsiteY245" fmla="*/ 144296 h 269321"/>
                <a:gd name="connsiteX246" fmla="*/ 260180 w 316622"/>
                <a:gd name="connsiteY246" fmla="*/ 145906 h 269321"/>
                <a:gd name="connsiteX247" fmla="*/ 260560 w 316622"/>
                <a:gd name="connsiteY247" fmla="*/ 146818 h 269321"/>
                <a:gd name="connsiteX248" fmla="*/ 258785 w 316622"/>
                <a:gd name="connsiteY248" fmla="*/ 148402 h 269321"/>
                <a:gd name="connsiteX249" fmla="*/ 255771 w 316622"/>
                <a:gd name="connsiteY249" fmla="*/ 149886 h 269321"/>
                <a:gd name="connsiteX250" fmla="*/ 255432 w 316622"/>
                <a:gd name="connsiteY250" fmla="*/ 150836 h 269321"/>
                <a:gd name="connsiteX251" fmla="*/ 255471 w 316622"/>
                <a:gd name="connsiteY251" fmla="*/ 151916 h 269321"/>
                <a:gd name="connsiteX252" fmla="*/ 255810 w 316622"/>
                <a:gd name="connsiteY252" fmla="*/ 152765 h 269321"/>
                <a:gd name="connsiteX253" fmla="*/ 257472 w 316622"/>
                <a:gd name="connsiteY253" fmla="*/ 153857 h 269321"/>
                <a:gd name="connsiteX254" fmla="*/ 259263 w 316622"/>
                <a:gd name="connsiteY254" fmla="*/ 156327 h 269321"/>
                <a:gd name="connsiteX255" fmla="*/ 260396 w 316622"/>
                <a:gd name="connsiteY255" fmla="*/ 158528 h 269321"/>
                <a:gd name="connsiteX256" fmla="*/ 262881 w 316622"/>
                <a:gd name="connsiteY256" fmla="*/ 160637 h 269321"/>
                <a:gd name="connsiteX257" fmla="*/ 263486 w 316622"/>
                <a:gd name="connsiteY257" fmla="*/ 161261 h 269321"/>
                <a:gd name="connsiteX258" fmla="*/ 263331 w 316622"/>
                <a:gd name="connsiteY258" fmla="*/ 161788 h 269321"/>
                <a:gd name="connsiteX259" fmla="*/ 262676 w 316622"/>
                <a:gd name="connsiteY259" fmla="*/ 162686 h 269321"/>
                <a:gd name="connsiteX260" fmla="*/ 261826 w 316622"/>
                <a:gd name="connsiteY260" fmla="*/ 165676 h 269321"/>
                <a:gd name="connsiteX261" fmla="*/ 260811 w 316622"/>
                <a:gd name="connsiteY261" fmla="*/ 166151 h 269321"/>
                <a:gd name="connsiteX262" fmla="*/ 259679 w 316622"/>
                <a:gd name="connsiteY262" fmla="*/ 166344 h 269321"/>
                <a:gd name="connsiteX263" fmla="*/ 256607 w 316622"/>
                <a:gd name="connsiteY263" fmla="*/ 168532 h 269321"/>
                <a:gd name="connsiteX264" fmla="*/ 255237 w 316622"/>
                <a:gd name="connsiteY264" fmla="*/ 168267 h 269321"/>
                <a:gd name="connsiteX265" fmla="*/ 253290 w 316622"/>
                <a:gd name="connsiteY265" fmla="*/ 168295 h 269321"/>
                <a:gd name="connsiteX266" fmla="*/ 251862 w 316622"/>
                <a:gd name="connsiteY266" fmla="*/ 169016 h 269321"/>
                <a:gd name="connsiteX267" fmla="*/ 252018 w 316622"/>
                <a:gd name="connsiteY267" fmla="*/ 170378 h 269321"/>
                <a:gd name="connsiteX268" fmla="*/ 253270 w 316622"/>
                <a:gd name="connsiteY268" fmla="*/ 171624 h 269321"/>
                <a:gd name="connsiteX269" fmla="*/ 254006 w 316622"/>
                <a:gd name="connsiteY269" fmla="*/ 172980 h 269321"/>
                <a:gd name="connsiteX270" fmla="*/ 254304 w 316622"/>
                <a:gd name="connsiteY270" fmla="*/ 174390 h 269321"/>
                <a:gd name="connsiteX271" fmla="*/ 255695 w 316622"/>
                <a:gd name="connsiteY271" fmla="*/ 175434 h 269321"/>
                <a:gd name="connsiteX272" fmla="*/ 257647 w 316622"/>
                <a:gd name="connsiteY272" fmla="*/ 176058 h 269321"/>
                <a:gd name="connsiteX273" fmla="*/ 258764 w 316622"/>
                <a:gd name="connsiteY273" fmla="*/ 176100 h 269321"/>
                <a:gd name="connsiteX274" fmla="*/ 259494 w 316622"/>
                <a:gd name="connsiteY274" fmla="*/ 176475 h 269321"/>
                <a:gd name="connsiteX275" fmla="*/ 259932 w 316622"/>
                <a:gd name="connsiteY275" fmla="*/ 176958 h 269321"/>
                <a:gd name="connsiteX276" fmla="*/ 260772 w 316622"/>
                <a:gd name="connsiteY276" fmla="*/ 179974 h 269321"/>
                <a:gd name="connsiteX277" fmla="*/ 260269 w 316622"/>
                <a:gd name="connsiteY277" fmla="*/ 180730 h 269321"/>
                <a:gd name="connsiteX278" fmla="*/ 259217 w 316622"/>
                <a:gd name="connsiteY278" fmla="*/ 181052 h 269321"/>
                <a:gd name="connsiteX279" fmla="*/ 258589 w 316622"/>
                <a:gd name="connsiteY279" fmla="*/ 182291 h 269321"/>
                <a:gd name="connsiteX280" fmla="*/ 257334 w 316622"/>
                <a:gd name="connsiteY280" fmla="*/ 184118 h 269321"/>
                <a:gd name="connsiteX281" fmla="*/ 256622 w 316622"/>
                <a:gd name="connsiteY281" fmla="*/ 185583 h 269321"/>
                <a:gd name="connsiteX282" fmla="*/ 257410 w 316622"/>
                <a:gd name="connsiteY282" fmla="*/ 186872 h 269321"/>
                <a:gd name="connsiteX283" fmla="*/ 257746 w 316622"/>
                <a:gd name="connsiteY283" fmla="*/ 187826 h 269321"/>
                <a:gd name="connsiteX284" fmla="*/ 257325 w 316622"/>
                <a:gd name="connsiteY284" fmla="*/ 188808 h 269321"/>
                <a:gd name="connsiteX285" fmla="*/ 257887 w 316622"/>
                <a:gd name="connsiteY285" fmla="*/ 190337 h 269321"/>
                <a:gd name="connsiteX286" fmla="*/ 259370 w 316622"/>
                <a:gd name="connsiteY286" fmla="*/ 191849 h 269321"/>
                <a:gd name="connsiteX287" fmla="*/ 263398 w 316622"/>
                <a:gd name="connsiteY287" fmla="*/ 193974 h 269321"/>
                <a:gd name="connsiteX288" fmla="*/ 267138 w 316622"/>
                <a:gd name="connsiteY288" fmla="*/ 195701 h 269321"/>
                <a:gd name="connsiteX289" fmla="*/ 268295 w 316622"/>
                <a:gd name="connsiteY289" fmla="*/ 195988 h 269321"/>
                <a:gd name="connsiteX290" fmla="*/ 273348 w 316622"/>
                <a:gd name="connsiteY290" fmla="*/ 194877 h 269321"/>
                <a:gd name="connsiteX291" fmla="*/ 274184 w 316622"/>
                <a:gd name="connsiteY291" fmla="*/ 194973 h 269321"/>
                <a:gd name="connsiteX292" fmla="*/ 274799 w 316622"/>
                <a:gd name="connsiteY292" fmla="*/ 196296 h 269321"/>
                <a:gd name="connsiteX293" fmla="*/ 275067 w 316622"/>
                <a:gd name="connsiteY293" fmla="*/ 197186 h 269321"/>
                <a:gd name="connsiteX294" fmla="*/ 274499 w 316622"/>
                <a:gd name="connsiteY294" fmla="*/ 198527 h 269321"/>
                <a:gd name="connsiteX295" fmla="*/ 273132 w 316622"/>
                <a:gd name="connsiteY295" fmla="*/ 200372 h 269321"/>
                <a:gd name="connsiteX296" fmla="*/ 271651 w 316622"/>
                <a:gd name="connsiteY296" fmla="*/ 201842 h 269321"/>
                <a:gd name="connsiteX297" fmla="*/ 270753 w 316622"/>
                <a:gd name="connsiteY297" fmla="*/ 203091 h 269321"/>
                <a:gd name="connsiteX298" fmla="*/ 270940 w 316622"/>
                <a:gd name="connsiteY298" fmla="*/ 204224 h 269321"/>
                <a:gd name="connsiteX299" fmla="*/ 270999 w 316622"/>
                <a:gd name="connsiteY299" fmla="*/ 205731 h 269321"/>
                <a:gd name="connsiteX300" fmla="*/ 269794 w 316622"/>
                <a:gd name="connsiteY300" fmla="*/ 206182 h 269321"/>
                <a:gd name="connsiteX301" fmla="*/ 269755 w 316622"/>
                <a:gd name="connsiteY301" fmla="*/ 205884 h 269321"/>
                <a:gd name="connsiteX302" fmla="*/ 269258 w 316622"/>
                <a:gd name="connsiteY302" fmla="*/ 205630 h 269321"/>
                <a:gd name="connsiteX303" fmla="*/ 268829 w 316622"/>
                <a:gd name="connsiteY303" fmla="*/ 205780 h 269321"/>
                <a:gd name="connsiteX304" fmla="*/ 268498 w 316622"/>
                <a:gd name="connsiteY304" fmla="*/ 206107 h 269321"/>
                <a:gd name="connsiteX305" fmla="*/ 268446 w 316622"/>
                <a:gd name="connsiteY305" fmla="*/ 206687 h 269321"/>
                <a:gd name="connsiteX306" fmla="*/ 265877 w 316622"/>
                <a:gd name="connsiteY306" fmla="*/ 207649 h 269321"/>
                <a:gd name="connsiteX307" fmla="*/ 264106 w 316622"/>
                <a:gd name="connsiteY307" fmla="*/ 208646 h 269321"/>
                <a:gd name="connsiteX308" fmla="*/ 257103 w 316622"/>
                <a:gd name="connsiteY308" fmla="*/ 214594 h 269321"/>
                <a:gd name="connsiteX309" fmla="*/ 253827 w 316622"/>
                <a:gd name="connsiteY309" fmla="*/ 216336 h 269321"/>
                <a:gd name="connsiteX310" fmla="*/ 253182 w 316622"/>
                <a:gd name="connsiteY310" fmla="*/ 217385 h 269321"/>
                <a:gd name="connsiteX311" fmla="*/ 252514 w 316622"/>
                <a:gd name="connsiteY311" fmla="*/ 219345 h 269321"/>
                <a:gd name="connsiteX312" fmla="*/ 250590 w 316622"/>
                <a:gd name="connsiteY312" fmla="*/ 221026 h 269321"/>
                <a:gd name="connsiteX313" fmla="*/ 248906 w 316622"/>
                <a:gd name="connsiteY313" fmla="*/ 221825 h 269321"/>
                <a:gd name="connsiteX314" fmla="*/ 244734 w 316622"/>
                <a:gd name="connsiteY314" fmla="*/ 222646 h 269321"/>
                <a:gd name="connsiteX315" fmla="*/ 240545 w 316622"/>
                <a:gd name="connsiteY315" fmla="*/ 224426 h 269321"/>
                <a:gd name="connsiteX316" fmla="*/ 238658 w 316622"/>
                <a:gd name="connsiteY316" fmla="*/ 223659 h 269321"/>
                <a:gd name="connsiteX317" fmla="*/ 233769 w 316622"/>
                <a:gd name="connsiteY317" fmla="*/ 223741 h 269321"/>
                <a:gd name="connsiteX318" fmla="*/ 230720 w 316622"/>
                <a:gd name="connsiteY318" fmla="*/ 221596 h 269321"/>
                <a:gd name="connsiteX319" fmla="*/ 224859 w 316622"/>
                <a:gd name="connsiteY319" fmla="*/ 220235 h 269321"/>
                <a:gd name="connsiteX320" fmla="*/ 222950 w 316622"/>
                <a:gd name="connsiteY320" fmla="*/ 217107 h 269321"/>
                <a:gd name="connsiteX321" fmla="*/ 220281 w 316622"/>
                <a:gd name="connsiteY321" fmla="*/ 216904 h 269321"/>
                <a:gd name="connsiteX322" fmla="*/ 218532 w 316622"/>
                <a:gd name="connsiteY322" fmla="*/ 216998 h 269321"/>
                <a:gd name="connsiteX323" fmla="*/ 217487 w 316622"/>
                <a:gd name="connsiteY323" fmla="*/ 216524 h 269321"/>
                <a:gd name="connsiteX324" fmla="*/ 217215 w 316622"/>
                <a:gd name="connsiteY324" fmla="*/ 215456 h 269321"/>
                <a:gd name="connsiteX325" fmla="*/ 217191 w 316622"/>
                <a:gd name="connsiteY325" fmla="*/ 214427 h 269321"/>
                <a:gd name="connsiteX326" fmla="*/ 215339 w 316622"/>
                <a:gd name="connsiteY326" fmla="*/ 214901 h 269321"/>
                <a:gd name="connsiteX327" fmla="*/ 213922 w 316622"/>
                <a:gd name="connsiteY327" fmla="*/ 214901 h 269321"/>
                <a:gd name="connsiteX328" fmla="*/ 213077 w 316622"/>
                <a:gd name="connsiteY328" fmla="*/ 215313 h 269321"/>
                <a:gd name="connsiteX329" fmla="*/ 212410 w 316622"/>
                <a:gd name="connsiteY329" fmla="*/ 215789 h 269321"/>
                <a:gd name="connsiteX330" fmla="*/ 211622 w 316622"/>
                <a:gd name="connsiteY330" fmla="*/ 215485 h 269321"/>
                <a:gd name="connsiteX331" fmla="*/ 211164 w 316622"/>
                <a:gd name="connsiteY331" fmla="*/ 215587 h 269321"/>
                <a:gd name="connsiteX332" fmla="*/ 211205 w 316622"/>
                <a:gd name="connsiteY332" fmla="*/ 216193 h 269321"/>
                <a:gd name="connsiteX333" fmla="*/ 209504 w 316622"/>
                <a:gd name="connsiteY333" fmla="*/ 216344 h 269321"/>
                <a:gd name="connsiteX334" fmla="*/ 207660 w 316622"/>
                <a:gd name="connsiteY334" fmla="*/ 215973 h 269321"/>
                <a:gd name="connsiteX335" fmla="*/ 202818 w 316622"/>
                <a:gd name="connsiteY335" fmla="*/ 214355 h 269321"/>
                <a:gd name="connsiteX336" fmla="*/ 202075 w 316622"/>
                <a:gd name="connsiteY336" fmla="*/ 214108 h 269321"/>
                <a:gd name="connsiteX337" fmla="*/ 198715 w 316622"/>
                <a:gd name="connsiteY337" fmla="*/ 213482 h 269321"/>
                <a:gd name="connsiteX338" fmla="*/ 197357 w 316622"/>
                <a:gd name="connsiteY338" fmla="*/ 212836 h 269321"/>
                <a:gd name="connsiteX339" fmla="*/ 196258 w 316622"/>
                <a:gd name="connsiteY339" fmla="*/ 211236 h 269321"/>
                <a:gd name="connsiteX340" fmla="*/ 195418 w 316622"/>
                <a:gd name="connsiteY340" fmla="*/ 210730 h 269321"/>
                <a:gd name="connsiteX341" fmla="*/ 194921 w 316622"/>
                <a:gd name="connsiteY341" fmla="*/ 210427 h 269321"/>
                <a:gd name="connsiteX342" fmla="*/ 191786 w 316622"/>
                <a:gd name="connsiteY342" fmla="*/ 211235 h 269321"/>
                <a:gd name="connsiteX343" fmla="*/ 190698 w 316622"/>
                <a:gd name="connsiteY343" fmla="*/ 212494 h 269321"/>
                <a:gd name="connsiteX344" fmla="*/ 188998 w 316622"/>
                <a:gd name="connsiteY344" fmla="*/ 213967 h 269321"/>
                <a:gd name="connsiteX345" fmla="*/ 177370 w 316622"/>
                <a:gd name="connsiteY345" fmla="*/ 221183 h 269321"/>
                <a:gd name="connsiteX346" fmla="*/ 175247 w 316622"/>
                <a:gd name="connsiteY346" fmla="*/ 224201 h 269321"/>
                <a:gd name="connsiteX347" fmla="*/ 172790 w 316622"/>
                <a:gd name="connsiteY347" fmla="*/ 228639 h 269321"/>
                <a:gd name="connsiteX348" fmla="*/ 172598 w 316622"/>
                <a:gd name="connsiteY348" fmla="*/ 230707 h 269321"/>
                <a:gd name="connsiteX349" fmla="*/ 173656 w 316622"/>
                <a:gd name="connsiteY349" fmla="*/ 237309 h 269321"/>
                <a:gd name="connsiteX350" fmla="*/ 176020 w 316622"/>
                <a:gd name="connsiteY350" fmla="*/ 240769 h 269321"/>
                <a:gd name="connsiteX351" fmla="*/ 176320 w 316622"/>
                <a:gd name="connsiteY351" fmla="*/ 241569 h 269321"/>
                <a:gd name="connsiteX352" fmla="*/ 175010 w 316622"/>
                <a:gd name="connsiteY352" fmla="*/ 241573 h 269321"/>
                <a:gd name="connsiteX353" fmla="*/ 172809 w 316622"/>
                <a:gd name="connsiteY353" fmla="*/ 241141 h 269321"/>
                <a:gd name="connsiteX354" fmla="*/ 170982 w 316622"/>
                <a:gd name="connsiteY354" fmla="*/ 240607 h 269321"/>
                <a:gd name="connsiteX355" fmla="*/ 169244 w 316622"/>
                <a:gd name="connsiteY355" fmla="*/ 240905 h 269321"/>
                <a:gd name="connsiteX356" fmla="*/ 167569 w 316622"/>
                <a:gd name="connsiteY356" fmla="*/ 241620 h 269321"/>
                <a:gd name="connsiteX357" fmla="*/ 166104 w 316622"/>
                <a:gd name="connsiteY357" fmla="*/ 242052 h 269321"/>
                <a:gd name="connsiteX358" fmla="*/ 165053 w 316622"/>
                <a:gd name="connsiteY358" fmla="*/ 242173 h 269321"/>
                <a:gd name="connsiteX359" fmla="*/ 164349 w 316622"/>
                <a:gd name="connsiteY359" fmla="*/ 242585 h 269321"/>
                <a:gd name="connsiteX360" fmla="*/ 164012 w 316622"/>
                <a:gd name="connsiteY360" fmla="*/ 243409 h 269321"/>
                <a:gd name="connsiteX361" fmla="*/ 163943 w 316622"/>
                <a:gd name="connsiteY361" fmla="*/ 243985 h 269321"/>
                <a:gd name="connsiteX362" fmla="*/ 162092 w 316622"/>
                <a:gd name="connsiteY362" fmla="*/ 243843 h 269321"/>
                <a:gd name="connsiteX363" fmla="*/ 157812 w 316622"/>
                <a:gd name="connsiteY363" fmla="*/ 242658 h 269321"/>
                <a:gd name="connsiteX364" fmla="*/ 153964 w 316622"/>
                <a:gd name="connsiteY364" fmla="*/ 241841 h 269321"/>
                <a:gd name="connsiteX365" fmla="*/ 151708 w 316622"/>
                <a:gd name="connsiteY365" fmla="*/ 242770 h 269321"/>
                <a:gd name="connsiteX366" fmla="*/ 150256 w 316622"/>
                <a:gd name="connsiteY366" fmla="*/ 243638 h 269321"/>
                <a:gd name="connsiteX367" fmla="*/ 149235 w 316622"/>
                <a:gd name="connsiteY367" fmla="*/ 243505 h 269321"/>
                <a:gd name="connsiteX368" fmla="*/ 148460 w 316622"/>
                <a:gd name="connsiteY368" fmla="*/ 242592 h 269321"/>
                <a:gd name="connsiteX369" fmla="*/ 147940 w 316622"/>
                <a:gd name="connsiteY369" fmla="*/ 241698 h 269321"/>
                <a:gd name="connsiteX370" fmla="*/ 146432 w 316622"/>
                <a:gd name="connsiteY370" fmla="*/ 240878 h 269321"/>
                <a:gd name="connsiteX371" fmla="*/ 143034 w 316622"/>
                <a:gd name="connsiteY371" fmla="*/ 239645 h 269321"/>
                <a:gd name="connsiteX372" fmla="*/ 143208 w 316622"/>
                <a:gd name="connsiteY372" fmla="*/ 239050 h 269321"/>
                <a:gd name="connsiteX373" fmla="*/ 143789 w 316622"/>
                <a:gd name="connsiteY373" fmla="*/ 238220 h 269321"/>
                <a:gd name="connsiteX374" fmla="*/ 143772 w 316622"/>
                <a:gd name="connsiteY374" fmla="*/ 237708 h 269321"/>
                <a:gd name="connsiteX375" fmla="*/ 143118 w 316622"/>
                <a:gd name="connsiteY375" fmla="*/ 236947 h 269321"/>
                <a:gd name="connsiteX376" fmla="*/ 139985 w 316622"/>
                <a:gd name="connsiteY376" fmla="*/ 236130 h 269321"/>
                <a:gd name="connsiteX377" fmla="*/ 138508 w 316622"/>
                <a:gd name="connsiteY377" fmla="*/ 235924 h 269321"/>
                <a:gd name="connsiteX378" fmla="*/ 137568 w 316622"/>
                <a:gd name="connsiteY378" fmla="*/ 236486 h 269321"/>
                <a:gd name="connsiteX379" fmla="*/ 136892 w 316622"/>
                <a:gd name="connsiteY379" fmla="*/ 237174 h 269321"/>
                <a:gd name="connsiteX380" fmla="*/ 135147 w 316622"/>
                <a:gd name="connsiteY380" fmla="*/ 234643 h 269321"/>
                <a:gd name="connsiteX381" fmla="*/ 133906 w 316622"/>
                <a:gd name="connsiteY381" fmla="*/ 234128 h 269321"/>
                <a:gd name="connsiteX382" fmla="*/ 132027 w 316622"/>
                <a:gd name="connsiteY382" fmla="*/ 234043 h 269321"/>
                <a:gd name="connsiteX383" fmla="*/ 129879 w 316622"/>
                <a:gd name="connsiteY383" fmla="*/ 233270 h 269321"/>
                <a:gd name="connsiteX384" fmla="*/ 127643 w 316622"/>
                <a:gd name="connsiteY384" fmla="*/ 232283 h 269321"/>
                <a:gd name="connsiteX385" fmla="*/ 122213 w 316622"/>
                <a:gd name="connsiteY385" fmla="*/ 230703 h 269321"/>
                <a:gd name="connsiteX386" fmla="*/ 120718 w 316622"/>
                <a:gd name="connsiteY386" fmla="*/ 230514 h 269321"/>
                <a:gd name="connsiteX387" fmla="*/ 120120 w 316622"/>
                <a:gd name="connsiteY387" fmla="*/ 230764 h 269321"/>
                <a:gd name="connsiteX388" fmla="*/ 119721 w 316622"/>
                <a:gd name="connsiteY388" fmla="*/ 231709 h 269321"/>
                <a:gd name="connsiteX389" fmla="*/ 119505 w 316622"/>
                <a:gd name="connsiteY389" fmla="*/ 234377 h 269321"/>
                <a:gd name="connsiteX390" fmla="*/ 119276 w 316622"/>
                <a:gd name="connsiteY390" fmla="*/ 234672 h 269321"/>
                <a:gd name="connsiteX391" fmla="*/ 116756 w 316622"/>
                <a:gd name="connsiteY391" fmla="*/ 234761 h 269321"/>
                <a:gd name="connsiteX392" fmla="*/ 113651 w 316622"/>
                <a:gd name="connsiteY392" fmla="*/ 234390 h 269321"/>
                <a:gd name="connsiteX393" fmla="*/ 112228 w 316622"/>
                <a:gd name="connsiteY393" fmla="*/ 234574 h 269321"/>
                <a:gd name="connsiteX394" fmla="*/ 110958 w 316622"/>
                <a:gd name="connsiteY394" fmla="*/ 234583 h 269321"/>
                <a:gd name="connsiteX395" fmla="*/ 109762 w 316622"/>
                <a:gd name="connsiteY395" fmla="*/ 233877 h 269321"/>
                <a:gd name="connsiteX396" fmla="*/ 104399 w 316622"/>
                <a:gd name="connsiteY396" fmla="*/ 234685 h 269321"/>
                <a:gd name="connsiteX397" fmla="*/ 103507 w 316622"/>
                <a:gd name="connsiteY397" fmla="*/ 234291 h 269321"/>
                <a:gd name="connsiteX398" fmla="*/ 102212 w 316622"/>
                <a:gd name="connsiteY398" fmla="*/ 233086 h 269321"/>
                <a:gd name="connsiteX399" fmla="*/ 100769 w 316622"/>
                <a:gd name="connsiteY399" fmla="*/ 232114 h 269321"/>
                <a:gd name="connsiteX400" fmla="*/ 99647 w 316622"/>
                <a:gd name="connsiteY400" fmla="*/ 231615 h 269321"/>
                <a:gd name="connsiteX401" fmla="*/ 98691 w 316622"/>
                <a:gd name="connsiteY401" fmla="*/ 231043 h 269321"/>
                <a:gd name="connsiteX402" fmla="*/ 97822 w 316622"/>
                <a:gd name="connsiteY402" fmla="*/ 230950 h 269321"/>
                <a:gd name="connsiteX403" fmla="*/ 96499 w 316622"/>
                <a:gd name="connsiteY403" fmla="*/ 231504 h 269321"/>
                <a:gd name="connsiteX404" fmla="*/ 94670 w 316622"/>
                <a:gd name="connsiteY404" fmla="*/ 231739 h 269321"/>
                <a:gd name="connsiteX405" fmla="*/ 93152 w 316622"/>
                <a:gd name="connsiteY405" fmla="*/ 231667 h 269321"/>
                <a:gd name="connsiteX406" fmla="*/ 92342 w 316622"/>
                <a:gd name="connsiteY406" fmla="*/ 231748 h 269321"/>
                <a:gd name="connsiteX407" fmla="*/ 88942 w 316622"/>
                <a:gd name="connsiteY407" fmla="*/ 228789 h 269321"/>
                <a:gd name="connsiteX408" fmla="*/ 88445 w 316622"/>
                <a:gd name="connsiteY408" fmla="*/ 227979 h 269321"/>
                <a:gd name="connsiteX409" fmla="*/ 86752 w 316622"/>
                <a:gd name="connsiteY409" fmla="*/ 227754 h 269321"/>
                <a:gd name="connsiteX410" fmla="*/ 84660 w 316622"/>
                <a:gd name="connsiteY410" fmla="*/ 227718 h 269321"/>
                <a:gd name="connsiteX411" fmla="*/ 79317 w 316622"/>
                <a:gd name="connsiteY411" fmla="*/ 225799 h 269321"/>
                <a:gd name="connsiteX412" fmla="*/ 76885 w 316622"/>
                <a:gd name="connsiteY412" fmla="*/ 224768 h 269321"/>
                <a:gd name="connsiteX413" fmla="*/ 76529 w 316622"/>
                <a:gd name="connsiteY413" fmla="*/ 224155 h 269321"/>
                <a:gd name="connsiteX414" fmla="*/ 76562 w 316622"/>
                <a:gd name="connsiteY414" fmla="*/ 223659 h 269321"/>
                <a:gd name="connsiteX415" fmla="*/ 76147 w 316622"/>
                <a:gd name="connsiteY415" fmla="*/ 223766 h 269321"/>
                <a:gd name="connsiteX416" fmla="*/ 75397 w 316622"/>
                <a:gd name="connsiteY416" fmla="*/ 224643 h 269321"/>
                <a:gd name="connsiteX417" fmla="*/ 75004 w 316622"/>
                <a:gd name="connsiteY417" fmla="*/ 225358 h 269321"/>
                <a:gd name="connsiteX418" fmla="*/ 74484 w 316622"/>
                <a:gd name="connsiteY418" fmla="*/ 225492 h 269321"/>
                <a:gd name="connsiteX419" fmla="*/ 73716 w 316622"/>
                <a:gd name="connsiteY419" fmla="*/ 225381 h 269321"/>
                <a:gd name="connsiteX420" fmla="*/ 73007 w 316622"/>
                <a:gd name="connsiteY420" fmla="*/ 224978 h 269321"/>
                <a:gd name="connsiteX421" fmla="*/ 72573 w 316622"/>
                <a:gd name="connsiteY421" fmla="*/ 224459 h 269321"/>
                <a:gd name="connsiteX422" fmla="*/ 73038 w 316622"/>
                <a:gd name="connsiteY422" fmla="*/ 223551 h 269321"/>
                <a:gd name="connsiteX423" fmla="*/ 73852 w 316622"/>
                <a:gd name="connsiteY423" fmla="*/ 222367 h 269321"/>
                <a:gd name="connsiteX424" fmla="*/ 74190 w 316622"/>
                <a:gd name="connsiteY424" fmla="*/ 221078 h 269321"/>
                <a:gd name="connsiteX425" fmla="*/ 74116 w 316622"/>
                <a:gd name="connsiteY425" fmla="*/ 219924 h 269321"/>
                <a:gd name="connsiteX426" fmla="*/ 72766 w 316622"/>
                <a:gd name="connsiteY426" fmla="*/ 219183 h 269321"/>
                <a:gd name="connsiteX427" fmla="*/ 70781 w 316622"/>
                <a:gd name="connsiteY427" fmla="*/ 218874 h 269321"/>
                <a:gd name="connsiteX428" fmla="*/ 69329 w 316622"/>
                <a:gd name="connsiteY428" fmla="*/ 218786 h 269321"/>
                <a:gd name="connsiteX429" fmla="*/ 67434 w 316622"/>
                <a:gd name="connsiteY429" fmla="*/ 218126 h 269321"/>
                <a:gd name="connsiteX430" fmla="*/ 66541 w 316622"/>
                <a:gd name="connsiteY430" fmla="*/ 217650 h 269321"/>
                <a:gd name="connsiteX431" fmla="*/ 65668 w 316622"/>
                <a:gd name="connsiteY431" fmla="*/ 216364 h 269321"/>
                <a:gd name="connsiteX432" fmla="*/ 65639 w 316622"/>
                <a:gd name="connsiteY432" fmla="*/ 215428 h 269321"/>
                <a:gd name="connsiteX433" fmla="*/ 69234 w 316622"/>
                <a:gd name="connsiteY433" fmla="*/ 214602 h 269321"/>
                <a:gd name="connsiteX434" fmla="*/ 72476 w 316622"/>
                <a:gd name="connsiteY434" fmla="*/ 211216 h 269321"/>
                <a:gd name="connsiteX435" fmla="*/ 75546 w 316622"/>
                <a:gd name="connsiteY435" fmla="*/ 198890 h 269321"/>
                <a:gd name="connsiteX436" fmla="*/ 77768 w 316622"/>
                <a:gd name="connsiteY436" fmla="*/ 184245 h 269321"/>
                <a:gd name="connsiteX437" fmla="*/ 79420 w 316622"/>
                <a:gd name="connsiteY437" fmla="*/ 181469 h 269321"/>
                <a:gd name="connsiteX438" fmla="*/ 81495 w 316622"/>
                <a:gd name="connsiteY438" fmla="*/ 180706 h 269321"/>
                <a:gd name="connsiteX439" fmla="*/ 79817 w 316622"/>
                <a:gd name="connsiteY439" fmla="*/ 178684 h 269321"/>
                <a:gd name="connsiteX440" fmla="*/ 78766 w 316622"/>
                <a:gd name="connsiteY440" fmla="*/ 179708 h 269321"/>
                <a:gd name="connsiteX441" fmla="*/ 78325 w 316622"/>
                <a:gd name="connsiteY441" fmla="*/ 180794 h 269321"/>
                <a:gd name="connsiteX442" fmla="*/ 77775 w 316622"/>
                <a:gd name="connsiteY442" fmla="*/ 181336 h 269321"/>
                <a:gd name="connsiteX443" fmla="*/ 79016 w 316622"/>
                <a:gd name="connsiteY443" fmla="*/ 167825 h 269321"/>
                <a:gd name="connsiteX444" fmla="*/ 79901 w 316622"/>
                <a:gd name="connsiteY444" fmla="*/ 162861 h 269321"/>
                <a:gd name="connsiteX445" fmla="*/ 81406 w 316622"/>
                <a:gd name="connsiteY445" fmla="*/ 157650 h 269321"/>
                <a:gd name="connsiteX446" fmla="*/ 84485 w 316622"/>
                <a:gd name="connsiteY446" fmla="*/ 159720 h 269321"/>
                <a:gd name="connsiteX447" fmla="*/ 87037 w 316622"/>
                <a:gd name="connsiteY447" fmla="*/ 161817 h 269321"/>
                <a:gd name="connsiteX448" fmla="*/ 88357 w 316622"/>
                <a:gd name="connsiteY448" fmla="*/ 163636 h 269321"/>
                <a:gd name="connsiteX449" fmla="*/ 90027 w 316622"/>
                <a:gd name="connsiteY449" fmla="*/ 169686 h 269321"/>
                <a:gd name="connsiteX450" fmla="*/ 91290 w 316622"/>
                <a:gd name="connsiteY450" fmla="*/ 170954 h 269321"/>
                <a:gd name="connsiteX451" fmla="*/ 93181 w 316622"/>
                <a:gd name="connsiteY451" fmla="*/ 172226 h 269321"/>
                <a:gd name="connsiteX452" fmla="*/ 92434 w 316622"/>
                <a:gd name="connsiteY452" fmla="*/ 170837 h 269321"/>
                <a:gd name="connsiteX453" fmla="*/ 91133 w 316622"/>
                <a:gd name="connsiteY453" fmla="*/ 169776 h 269321"/>
                <a:gd name="connsiteX454" fmla="*/ 89099 w 316622"/>
                <a:gd name="connsiteY454" fmla="*/ 161709 h 269321"/>
                <a:gd name="connsiteX455" fmla="*/ 87823 w 316622"/>
                <a:gd name="connsiteY455" fmla="*/ 159420 h 269321"/>
                <a:gd name="connsiteX456" fmla="*/ 85836 w 316622"/>
                <a:gd name="connsiteY456" fmla="*/ 157492 h 269321"/>
                <a:gd name="connsiteX457" fmla="*/ 79438 w 316622"/>
                <a:gd name="connsiteY457" fmla="*/ 153428 h 269321"/>
                <a:gd name="connsiteX458" fmla="*/ 78863 w 316622"/>
                <a:gd name="connsiteY458" fmla="*/ 152643 h 269321"/>
                <a:gd name="connsiteX459" fmla="*/ 78554 w 316622"/>
                <a:gd name="connsiteY459" fmla="*/ 151089 h 269321"/>
                <a:gd name="connsiteX460" fmla="*/ 80668 w 316622"/>
                <a:gd name="connsiteY460" fmla="*/ 151155 h 269321"/>
                <a:gd name="connsiteX461" fmla="*/ 82495 w 316622"/>
                <a:gd name="connsiteY461" fmla="*/ 151910 h 269321"/>
                <a:gd name="connsiteX462" fmla="*/ 82279 w 316622"/>
                <a:gd name="connsiteY462" fmla="*/ 151040 h 269321"/>
                <a:gd name="connsiteX463" fmla="*/ 81737 w 316622"/>
                <a:gd name="connsiteY463" fmla="*/ 150131 h 269321"/>
                <a:gd name="connsiteX464" fmla="*/ 80889 w 316622"/>
                <a:gd name="connsiteY464" fmla="*/ 146830 h 269321"/>
                <a:gd name="connsiteX465" fmla="*/ 80181 w 316622"/>
                <a:gd name="connsiteY465" fmla="*/ 139107 h 269321"/>
                <a:gd name="connsiteX466" fmla="*/ 80277 w 316622"/>
                <a:gd name="connsiteY466" fmla="*/ 137782 h 269321"/>
                <a:gd name="connsiteX467" fmla="*/ 79962 w 316622"/>
                <a:gd name="connsiteY467" fmla="*/ 136157 h 269321"/>
                <a:gd name="connsiteX468" fmla="*/ 77916 w 316622"/>
                <a:gd name="connsiteY468" fmla="*/ 135793 h 269321"/>
                <a:gd name="connsiteX469" fmla="*/ 76280 w 316622"/>
                <a:gd name="connsiteY469" fmla="*/ 135726 h 269321"/>
                <a:gd name="connsiteX470" fmla="*/ 74518 w 316622"/>
                <a:gd name="connsiteY470" fmla="*/ 135084 h 269321"/>
                <a:gd name="connsiteX471" fmla="*/ 65805 w 316622"/>
                <a:gd name="connsiteY471" fmla="*/ 130514 h 269321"/>
                <a:gd name="connsiteX472" fmla="*/ 62822 w 316622"/>
                <a:gd name="connsiteY472" fmla="*/ 125790 h 269321"/>
                <a:gd name="connsiteX473" fmla="*/ 59772 w 316622"/>
                <a:gd name="connsiteY473" fmla="*/ 122297 h 269321"/>
                <a:gd name="connsiteX474" fmla="*/ 59040 w 316622"/>
                <a:gd name="connsiteY474" fmla="*/ 120772 h 269321"/>
                <a:gd name="connsiteX475" fmla="*/ 59088 w 316622"/>
                <a:gd name="connsiteY475" fmla="*/ 119226 h 269321"/>
                <a:gd name="connsiteX476" fmla="*/ 60667 w 316622"/>
                <a:gd name="connsiteY476" fmla="*/ 115957 h 269321"/>
                <a:gd name="connsiteX477" fmla="*/ 59273 w 316622"/>
                <a:gd name="connsiteY477" fmla="*/ 113891 h 269321"/>
                <a:gd name="connsiteX478" fmla="*/ 57911 w 316622"/>
                <a:gd name="connsiteY478" fmla="*/ 113480 h 269321"/>
                <a:gd name="connsiteX479" fmla="*/ 56727 w 316622"/>
                <a:gd name="connsiteY479" fmla="*/ 112457 h 269321"/>
                <a:gd name="connsiteX480" fmla="*/ 57799 w 316622"/>
                <a:gd name="connsiteY480" fmla="*/ 110751 h 269321"/>
                <a:gd name="connsiteX481" fmla="*/ 58690 w 316622"/>
                <a:gd name="connsiteY481" fmla="*/ 109659 h 269321"/>
                <a:gd name="connsiteX482" fmla="*/ 60475 w 316622"/>
                <a:gd name="connsiteY482" fmla="*/ 109362 h 269321"/>
                <a:gd name="connsiteX483" fmla="*/ 62816 w 316622"/>
                <a:gd name="connsiteY483" fmla="*/ 109724 h 269321"/>
                <a:gd name="connsiteX484" fmla="*/ 65036 w 316622"/>
                <a:gd name="connsiteY484" fmla="*/ 110712 h 269321"/>
                <a:gd name="connsiteX485" fmla="*/ 66778 w 316622"/>
                <a:gd name="connsiteY485" fmla="*/ 110974 h 269321"/>
                <a:gd name="connsiteX486" fmla="*/ 61629 w 316622"/>
                <a:gd name="connsiteY486" fmla="*/ 108323 h 269321"/>
                <a:gd name="connsiteX487" fmla="*/ 53279 w 316622"/>
                <a:gd name="connsiteY487" fmla="*/ 109217 h 269321"/>
                <a:gd name="connsiteX488" fmla="*/ 51479 w 316622"/>
                <a:gd name="connsiteY488" fmla="*/ 108875 h 269321"/>
                <a:gd name="connsiteX489" fmla="*/ 49959 w 316622"/>
                <a:gd name="connsiteY489" fmla="*/ 108284 h 269321"/>
                <a:gd name="connsiteX490" fmla="*/ 49365 w 316622"/>
                <a:gd name="connsiteY490" fmla="*/ 106336 h 269321"/>
                <a:gd name="connsiteX491" fmla="*/ 50552 w 316622"/>
                <a:gd name="connsiteY491" fmla="*/ 105458 h 269321"/>
                <a:gd name="connsiteX492" fmla="*/ 51628 w 316622"/>
                <a:gd name="connsiteY492" fmla="*/ 103833 h 269321"/>
                <a:gd name="connsiteX493" fmla="*/ 50411 w 316622"/>
                <a:gd name="connsiteY493" fmla="*/ 102690 h 269321"/>
                <a:gd name="connsiteX494" fmla="*/ 48834 w 316622"/>
                <a:gd name="connsiteY494" fmla="*/ 102257 h 269321"/>
                <a:gd name="connsiteX495" fmla="*/ 46360 w 316622"/>
                <a:gd name="connsiteY495" fmla="*/ 102282 h 269321"/>
                <a:gd name="connsiteX496" fmla="*/ 44052 w 316622"/>
                <a:gd name="connsiteY496" fmla="*/ 102627 h 269321"/>
                <a:gd name="connsiteX497" fmla="*/ 43466 w 316622"/>
                <a:gd name="connsiteY497" fmla="*/ 101970 h 269321"/>
                <a:gd name="connsiteX498" fmla="*/ 44874 w 316622"/>
                <a:gd name="connsiteY498" fmla="*/ 100158 h 269321"/>
                <a:gd name="connsiteX499" fmla="*/ 43678 w 316622"/>
                <a:gd name="connsiteY499" fmla="*/ 99491 h 269321"/>
                <a:gd name="connsiteX500" fmla="*/ 42082 w 316622"/>
                <a:gd name="connsiteY500" fmla="*/ 99802 h 269321"/>
                <a:gd name="connsiteX501" fmla="*/ 39767 w 316622"/>
                <a:gd name="connsiteY501" fmla="*/ 100178 h 269321"/>
                <a:gd name="connsiteX502" fmla="*/ 37553 w 316622"/>
                <a:gd name="connsiteY502" fmla="*/ 99609 h 269321"/>
                <a:gd name="connsiteX503" fmla="*/ 35460 w 316622"/>
                <a:gd name="connsiteY503" fmla="*/ 97547 h 269321"/>
                <a:gd name="connsiteX504" fmla="*/ 34073 w 316622"/>
                <a:gd name="connsiteY504" fmla="*/ 97562 h 269321"/>
                <a:gd name="connsiteX505" fmla="*/ 33120 w 316622"/>
                <a:gd name="connsiteY505" fmla="*/ 97817 h 269321"/>
                <a:gd name="connsiteX506" fmla="*/ 31706 w 316622"/>
                <a:gd name="connsiteY506" fmla="*/ 97023 h 269321"/>
                <a:gd name="connsiteX507" fmla="*/ 30218 w 316622"/>
                <a:gd name="connsiteY507" fmla="*/ 96824 h 269321"/>
                <a:gd name="connsiteX508" fmla="*/ 29156 w 316622"/>
                <a:gd name="connsiteY508" fmla="*/ 97087 h 269321"/>
                <a:gd name="connsiteX509" fmla="*/ 27744 w 316622"/>
                <a:gd name="connsiteY509" fmla="*/ 95903 h 269321"/>
                <a:gd name="connsiteX510" fmla="*/ 19051 w 316622"/>
                <a:gd name="connsiteY510" fmla="*/ 93527 h 269321"/>
                <a:gd name="connsiteX511" fmla="*/ 15297 w 316622"/>
                <a:gd name="connsiteY511" fmla="*/ 93236 h 269321"/>
                <a:gd name="connsiteX512" fmla="*/ 11854 w 316622"/>
                <a:gd name="connsiteY512" fmla="*/ 94313 h 269321"/>
                <a:gd name="connsiteX513" fmla="*/ 9959 w 316622"/>
                <a:gd name="connsiteY513" fmla="*/ 93939 h 269321"/>
                <a:gd name="connsiteX514" fmla="*/ 8566 w 316622"/>
                <a:gd name="connsiteY514" fmla="*/ 92403 h 269321"/>
                <a:gd name="connsiteX515" fmla="*/ 7397 w 316622"/>
                <a:gd name="connsiteY515" fmla="*/ 89823 h 269321"/>
                <a:gd name="connsiteX516" fmla="*/ 1851 w 316622"/>
                <a:gd name="connsiteY516" fmla="*/ 87832 h 269321"/>
                <a:gd name="connsiteX517" fmla="*/ 2948 w 316622"/>
                <a:gd name="connsiteY517" fmla="*/ 86526 h 269321"/>
                <a:gd name="connsiteX518" fmla="*/ 5530 w 316622"/>
                <a:gd name="connsiteY518" fmla="*/ 86217 h 269321"/>
                <a:gd name="connsiteX519" fmla="*/ 8506 w 316622"/>
                <a:gd name="connsiteY519" fmla="*/ 85310 h 269321"/>
                <a:gd name="connsiteX520" fmla="*/ 9576 w 316622"/>
                <a:gd name="connsiteY520" fmla="*/ 84147 h 269321"/>
                <a:gd name="connsiteX521" fmla="*/ 7250 w 316622"/>
                <a:gd name="connsiteY521" fmla="*/ 82790 h 269321"/>
                <a:gd name="connsiteX522" fmla="*/ 5535 w 316622"/>
                <a:gd name="connsiteY522" fmla="*/ 82457 h 269321"/>
                <a:gd name="connsiteX523" fmla="*/ 4824 w 316622"/>
                <a:gd name="connsiteY523" fmla="*/ 81969 h 269321"/>
                <a:gd name="connsiteX524" fmla="*/ 4099 w 316622"/>
                <a:gd name="connsiteY524" fmla="*/ 80751 h 269321"/>
                <a:gd name="connsiteX525" fmla="*/ 5127 w 316622"/>
                <a:gd name="connsiteY525" fmla="*/ 80193 h 269321"/>
                <a:gd name="connsiteX526" fmla="*/ 5851 w 316622"/>
                <a:gd name="connsiteY526" fmla="*/ 80489 h 269321"/>
                <a:gd name="connsiteX527" fmla="*/ 7942 w 316622"/>
                <a:gd name="connsiteY527" fmla="*/ 80665 h 269321"/>
                <a:gd name="connsiteX528" fmla="*/ 11523 w 316622"/>
                <a:gd name="connsiteY528" fmla="*/ 80365 h 269321"/>
                <a:gd name="connsiteX529" fmla="*/ 10188 w 316622"/>
                <a:gd name="connsiteY529" fmla="*/ 79136 h 269321"/>
                <a:gd name="connsiteX530" fmla="*/ 8803 w 316622"/>
                <a:gd name="connsiteY530" fmla="*/ 78862 h 269321"/>
                <a:gd name="connsiteX531" fmla="*/ 8167 w 316622"/>
                <a:gd name="connsiteY531" fmla="*/ 78554 h 269321"/>
                <a:gd name="connsiteX532" fmla="*/ 5256 w 316622"/>
                <a:gd name="connsiteY532" fmla="*/ 78421 h 269321"/>
                <a:gd name="connsiteX533" fmla="*/ 3931 w 316622"/>
                <a:gd name="connsiteY533" fmla="*/ 78840 h 269321"/>
                <a:gd name="connsiteX534" fmla="*/ 954 w 316622"/>
                <a:gd name="connsiteY534" fmla="*/ 78681 h 269321"/>
                <a:gd name="connsiteX535" fmla="*/ 309 w 316622"/>
                <a:gd name="connsiteY535" fmla="*/ 77352 h 269321"/>
                <a:gd name="connsiteX536" fmla="*/ 0 w 316622"/>
                <a:gd name="connsiteY536" fmla="*/ 76212 h 269321"/>
                <a:gd name="connsiteX537" fmla="*/ 923 w 316622"/>
                <a:gd name="connsiteY537" fmla="*/ 73668 h 269321"/>
                <a:gd name="connsiteX538" fmla="*/ 5115 w 316622"/>
                <a:gd name="connsiteY538" fmla="*/ 71394 h 269321"/>
                <a:gd name="connsiteX539" fmla="*/ 15558 w 316622"/>
                <a:gd name="connsiteY539" fmla="*/ 68905 h 269321"/>
                <a:gd name="connsiteX540" fmla="*/ 20052 w 316622"/>
                <a:gd name="connsiteY540" fmla="*/ 69269 h 269321"/>
                <a:gd name="connsiteX541" fmla="*/ 23167 w 316622"/>
                <a:gd name="connsiteY541" fmla="*/ 68821 h 269321"/>
                <a:gd name="connsiteX542" fmla="*/ 26900 w 316622"/>
                <a:gd name="connsiteY542" fmla="*/ 67251 h 269321"/>
                <a:gd name="connsiteX543" fmla="*/ 28547 w 316622"/>
                <a:gd name="connsiteY543" fmla="*/ 65905 h 269321"/>
                <a:gd name="connsiteX544" fmla="*/ 33855 w 316622"/>
                <a:gd name="connsiteY544" fmla="*/ 65112 h 269321"/>
                <a:gd name="connsiteX545" fmla="*/ 38901 w 316622"/>
                <a:gd name="connsiteY545" fmla="*/ 66540 h 269321"/>
                <a:gd name="connsiteX546" fmla="*/ 43553 w 316622"/>
                <a:gd name="connsiteY546" fmla="*/ 71931 h 269321"/>
                <a:gd name="connsiteX547" fmla="*/ 45776 w 316622"/>
                <a:gd name="connsiteY547" fmla="*/ 73755 h 269321"/>
                <a:gd name="connsiteX548" fmla="*/ 51219 w 316622"/>
                <a:gd name="connsiteY548" fmla="*/ 70589 h 269321"/>
                <a:gd name="connsiteX549" fmla="*/ 59328 w 316622"/>
                <a:gd name="connsiteY549" fmla="*/ 70682 h 269321"/>
                <a:gd name="connsiteX550" fmla="*/ 61003 w 316622"/>
                <a:gd name="connsiteY550" fmla="*/ 72470 h 269321"/>
                <a:gd name="connsiteX551" fmla="*/ 61679 w 316622"/>
                <a:gd name="connsiteY551" fmla="*/ 70964 h 269321"/>
                <a:gd name="connsiteX552" fmla="*/ 63170 w 316622"/>
                <a:gd name="connsiteY552" fmla="*/ 69201 h 269321"/>
                <a:gd name="connsiteX553" fmla="*/ 64359 w 316622"/>
                <a:gd name="connsiteY553" fmla="*/ 70005 h 269321"/>
                <a:gd name="connsiteX554" fmla="*/ 64961 w 316622"/>
                <a:gd name="connsiteY554" fmla="*/ 71094 h 269321"/>
                <a:gd name="connsiteX555" fmla="*/ 73520 w 316622"/>
                <a:gd name="connsiteY555" fmla="*/ 70785 h 269321"/>
                <a:gd name="connsiteX556" fmla="*/ 74872 w 316622"/>
                <a:gd name="connsiteY556" fmla="*/ 70467 h 269321"/>
                <a:gd name="connsiteX557" fmla="*/ 72573 w 316622"/>
                <a:gd name="connsiteY557" fmla="*/ 69187 h 269321"/>
                <a:gd name="connsiteX558" fmla="*/ 70693 w 316622"/>
                <a:gd name="connsiteY558" fmla="*/ 66117 h 269321"/>
                <a:gd name="connsiteX559" fmla="*/ 70303 w 316622"/>
                <a:gd name="connsiteY559" fmla="*/ 54792 h 269321"/>
                <a:gd name="connsiteX560" fmla="*/ 67932 w 316622"/>
                <a:gd name="connsiteY560" fmla="*/ 51621 h 269321"/>
                <a:gd name="connsiteX561" fmla="*/ 65210 w 316622"/>
                <a:gd name="connsiteY561" fmla="*/ 46549 h 269321"/>
                <a:gd name="connsiteX562" fmla="*/ 63958 w 316622"/>
                <a:gd name="connsiteY562" fmla="*/ 43535 h 269321"/>
                <a:gd name="connsiteX563" fmla="*/ 63840 w 316622"/>
                <a:gd name="connsiteY563" fmla="*/ 42492 h 269321"/>
                <a:gd name="connsiteX564" fmla="*/ 64259 w 316622"/>
                <a:gd name="connsiteY564" fmla="*/ 40986 h 269321"/>
                <a:gd name="connsiteX565" fmla="*/ 67605 w 316622"/>
                <a:gd name="connsiteY565" fmla="*/ 41067 h 269321"/>
                <a:gd name="connsiteX566" fmla="*/ 70190 w 316622"/>
                <a:gd name="connsiteY566" fmla="*/ 41449 h 269321"/>
                <a:gd name="connsiteX567" fmla="*/ 75110 w 316622"/>
                <a:gd name="connsiteY567" fmla="*/ 40310 h 269321"/>
                <a:gd name="connsiteX568" fmla="*/ 77478 w 316622"/>
                <a:gd name="connsiteY568" fmla="*/ 41090 h 269321"/>
                <a:gd name="connsiteX569" fmla="*/ 77338 w 316622"/>
                <a:gd name="connsiteY569" fmla="*/ 43445 h 269321"/>
                <a:gd name="connsiteX570" fmla="*/ 78061 w 316622"/>
                <a:gd name="connsiteY570" fmla="*/ 46413 h 269321"/>
                <a:gd name="connsiteX571" fmla="*/ 78886 w 316622"/>
                <a:gd name="connsiteY571" fmla="*/ 47849 h 269321"/>
                <a:gd name="connsiteX572" fmla="*/ 80134 w 316622"/>
                <a:gd name="connsiteY572" fmla="*/ 49481 h 269321"/>
                <a:gd name="connsiteX573" fmla="*/ 84100 w 316622"/>
                <a:gd name="connsiteY573" fmla="*/ 49330 h 269321"/>
                <a:gd name="connsiteX574" fmla="*/ 88382 w 316622"/>
                <a:gd name="connsiteY574" fmla="*/ 50289 h 269321"/>
                <a:gd name="connsiteX575" fmla="*/ 93791 w 316622"/>
                <a:gd name="connsiteY575" fmla="*/ 50437 h 269321"/>
                <a:gd name="connsiteX576" fmla="*/ 101694 w 316622"/>
                <a:gd name="connsiteY576" fmla="*/ 52091 h 269321"/>
                <a:gd name="connsiteX577" fmla="*/ 105062 w 316622"/>
                <a:gd name="connsiteY577" fmla="*/ 51133 h 269321"/>
                <a:gd name="connsiteX578" fmla="*/ 108319 w 316622"/>
                <a:gd name="connsiteY578" fmla="*/ 49091 h 269321"/>
                <a:gd name="connsiteX579" fmla="*/ 114527 w 316622"/>
                <a:gd name="connsiteY579" fmla="*/ 47747 h 269321"/>
                <a:gd name="connsiteX580" fmla="*/ 115022 w 316622"/>
                <a:gd name="connsiteY580" fmla="*/ 47035 h 269321"/>
                <a:gd name="connsiteX581" fmla="*/ 111448 w 316622"/>
                <a:gd name="connsiteY581" fmla="*/ 47319 h 269321"/>
                <a:gd name="connsiteX582" fmla="*/ 108170 w 316622"/>
                <a:gd name="connsiteY582" fmla="*/ 46023 h 269321"/>
                <a:gd name="connsiteX583" fmla="*/ 107728 w 316622"/>
                <a:gd name="connsiteY583" fmla="*/ 44615 h 269321"/>
                <a:gd name="connsiteX584" fmla="*/ 108107 w 316622"/>
                <a:gd name="connsiteY584" fmla="*/ 43349 h 269321"/>
                <a:gd name="connsiteX585" fmla="*/ 109438 w 316622"/>
                <a:gd name="connsiteY585" fmla="*/ 40433 h 269321"/>
                <a:gd name="connsiteX586" fmla="*/ 118935 w 316622"/>
                <a:gd name="connsiteY586" fmla="*/ 35828 h 269321"/>
                <a:gd name="connsiteX587" fmla="*/ 125743 w 316622"/>
                <a:gd name="connsiteY587" fmla="*/ 34466 h 269321"/>
                <a:gd name="connsiteX588" fmla="*/ 132850 w 316622"/>
                <a:gd name="connsiteY588" fmla="*/ 31926 h 269321"/>
                <a:gd name="connsiteX589" fmla="*/ 136426 w 316622"/>
                <a:gd name="connsiteY589" fmla="*/ 29319 h 269321"/>
                <a:gd name="connsiteX590" fmla="*/ 138788 w 316622"/>
                <a:gd name="connsiteY590" fmla="*/ 25948 h 269321"/>
                <a:gd name="connsiteX591" fmla="*/ 139548 w 316622"/>
                <a:gd name="connsiteY591" fmla="*/ 25207 h 269321"/>
                <a:gd name="connsiteX592" fmla="*/ 140529 w 316622"/>
                <a:gd name="connsiteY592" fmla="*/ 24585 h 269321"/>
                <a:gd name="connsiteX593" fmla="*/ 139617 w 316622"/>
                <a:gd name="connsiteY593" fmla="*/ 23376 h 269321"/>
                <a:gd name="connsiteX594" fmla="*/ 140235 w 316622"/>
                <a:gd name="connsiteY594" fmla="*/ 10443 h 269321"/>
                <a:gd name="connsiteX595" fmla="*/ 140900 w 316622"/>
                <a:gd name="connsiteY595" fmla="*/ 8106 h 269321"/>
                <a:gd name="connsiteX596" fmla="*/ 142286 w 316622"/>
                <a:gd name="connsiteY596" fmla="*/ 6195 h 269321"/>
                <a:gd name="connsiteX597" fmla="*/ 144396 w 316622"/>
                <a:gd name="connsiteY597" fmla="*/ 4716 h 269321"/>
                <a:gd name="connsiteX598" fmla="*/ 147598 w 316622"/>
                <a:gd name="connsiteY598" fmla="*/ 3112 h 269321"/>
                <a:gd name="connsiteX599" fmla="*/ 159389 w 316622"/>
                <a:gd name="connsiteY599" fmla="*/ 895 h 26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Lst>
              <a:rect l="l" t="t" r="r" b="b"/>
              <a:pathLst>
                <a:path w="316622" h="269321">
                  <a:moveTo>
                    <a:pt x="313500" y="225790"/>
                  </a:moveTo>
                  <a:lnTo>
                    <a:pt x="314562" y="226875"/>
                  </a:lnTo>
                  <a:lnTo>
                    <a:pt x="314508" y="227834"/>
                  </a:lnTo>
                  <a:lnTo>
                    <a:pt x="314901" y="230102"/>
                  </a:lnTo>
                  <a:lnTo>
                    <a:pt x="314940" y="231576"/>
                  </a:lnTo>
                  <a:lnTo>
                    <a:pt x="314361" y="235501"/>
                  </a:lnTo>
                  <a:lnTo>
                    <a:pt x="314782" y="236649"/>
                  </a:lnTo>
                  <a:lnTo>
                    <a:pt x="315581" y="237450"/>
                  </a:lnTo>
                  <a:lnTo>
                    <a:pt x="315953" y="238329"/>
                  </a:lnTo>
                  <a:lnTo>
                    <a:pt x="316622" y="248763"/>
                  </a:lnTo>
                  <a:lnTo>
                    <a:pt x="316495" y="249592"/>
                  </a:lnTo>
                  <a:lnTo>
                    <a:pt x="313791" y="253771"/>
                  </a:lnTo>
                  <a:lnTo>
                    <a:pt x="313182" y="254996"/>
                  </a:lnTo>
                  <a:lnTo>
                    <a:pt x="313048" y="260165"/>
                  </a:lnTo>
                  <a:lnTo>
                    <a:pt x="312593" y="261552"/>
                  </a:lnTo>
                  <a:lnTo>
                    <a:pt x="311634" y="262920"/>
                  </a:lnTo>
                  <a:lnTo>
                    <a:pt x="309922" y="267337"/>
                  </a:lnTo>
                  <a:lnTo>
                    <a:pt x="308434" y="269321"/>
                  </a:lnTo>
                  <a:lnTo>
                    <a:pt x="304385" y="266901"/>
                  </a:lnTo>
                  <a:lnTo>
                    <a:pt x="301997" y="265854"/>
                  </a:lnTo>
                  <a:lnTo>
                    <a:pt x="300826" y="264725"/>
                  </a:lnTo>
                  <a:lnTo>
                    <a:pt x="300062" y="263945"/>
                  </a:lnTo>
                  <a:lnTo>
                    <a:pt x="300554" y="262905"/>
                  </a:lnTo>
                  <a:lnTo>
                    <a:pt x="301643" y="261824"/>
                  </a:lnTo>
                  <a:lnTo>
                    <a:pt x="301815" y="260973"/>
                  </a:lnTo>
                  <a:lnTo>
                    <a:pt x="299254" y="260009"/>
                  </a:lnTo>
                  <a:lnTo>
                    <a:pt x="298082" y="259365"/>
                  </a:lnTo>
                  <a:lnTo>
                    <a:pt x="298097" y="258237"/>
                  </a:lnTo>
                  <a:lnTo>
                    <a:pt x="298982" y="256476"/>
                  </a:lnTo>
                  <a:lnTo>
                    <a:pt x="298578" y="255025"/>
                  </a:lnTo>
                  <a:lnTo>
                    <a:pt x="297101" y="255099"/>
                  </a:lnTo>
                  <a:lnTo>
                    <a:pt x="295957" y="254877"/>
                  </a:lnTo>
                  <a:lnTo>
                    <a:pt x="295808" y="254123"/>
                  </a:lnTo>
                  <a:lnTo>
                    <a:pt x="296654" y="253156"/>
                  </a:lnTo>
                  <a:lnTo>
                    <a:pt x="297740" y="251893"/>
                  </a:lnTo>
                  <a:lnTo>
                    <a:pt x="297706" y="250499"/>
                  </a:lnTo>
                  <a:lnTo>
                    <a:pt x="296393" y="249898"/>
                  </a:lnTo>
                  <a:lnTo>
                    <a:pt x="295203" y="248765"/>
                  </a:lnTo>
                  <a:lnTo>
                    <a:pt x="294726" y="247224"/>
                  </a:lnTo>
                  <a:lnTo>
                    <a:pt x="295648" y="246169"/>
                  </a:lnTo>
                  <a:lnTo>
                    <a:pt x="297142" y="245488"/>
                  </a:lnTo>
                  <a:lnTo>
                    <a:pt x="296045" y="243907"/>
                  </a:lnTo>
                  <a:lnTo>
                    <a:pt x="295305" y="243872"/>
                  </a:lnTo>
                  <a:lnTo>
                    <a:pt x="294713" y="243526"/>
                  </a:lnTo>
                  <a:lnTo>
                    <a:pt x="295197" y="242791"/>
                  </a:lnTo>
                  <a:lnTo>
                    <a:pt x="296358" y="241692"/>
                  </a:lnTo>
                  <a:lnTo>
                    <a:pt x="297974" y="238406"/>
                  </a:lnTo>
                  <a:lnTo>
                    <a:pt x="300224" y="236854"/>
                  </a:lnTo>
                  <a:lnTo>
                    <a:pt x="304206" y="235855"/>
                  </a:lnTo>
                  <a:lnTo>
                    <a:pt x="305283" y="235418"/>
                  </a:lnTo>
                  <a:lnTo>
                    <a:pt x="306272" y="234261"/>
                  </a:lnTo>
                  <a:lnTo>
                    <a:pt x="307367" y="233515"/>
                  </a:lnTo>
                  <a:lnTo>
                    <a:pt x="308697" y="233614"/>
                  </a:lnTo>
                  <a:lnTo>
                    <a:pt x="309924" y="234061"/>
                  </a:lnTo>
                  <a:lnTo>
                    <a:pt x="310680" y="234537"/>
                  </a:lnTo>
                  <a:lnTo>
                    <a:pt x="311247" y="234042"/>
                  </a:lnTo>
                  <a:lnTo>
                    <a:pt x="311800" y="232606"/>
                  </a:lnTo>
                  <a:lnTo>
                    <a:pt x="311461" y="231344"/>
                  </a:lnTo>
                  <a:lnTo>
                    <a:pt x="311636" y="227872"/>
                  </a:lnTo>
                  <a:lnTo>
                    <a:pt x="312349" y="225900"/>
                  </a:lnTo>
                  <a:close/>
                  <a:moveTo>
                    <a:pt x="74603" y="143377"/>
                  </a:moveTo>
                  <a:lnTo>
                    <a:pt x="76893" y="144695"/>
                  </a:lnTo>
                  <a:lnTo>
                    <a:pt x="79254" y="147418"/>
                  </a:lnTo>
                  <a:lnTo>
                    <a:pt x="78474" y="149829"/>
                  </a:lnTo>
                  <a:lnTo>
                    <a:pt x="76999" y="147609"/>
                  </a:lnTo>
                  <a:lnTo>
                    <a:pt x="75044" y="145662"/>
                  </a:lnTo>
                  <a:lnTo>
                    <a:pt x="74598" y="143859"/>
                  </a:lnTo>
                  <a:close/>
                  <a:moveTo>
                    <a:pt x="161140" y="0"/>
                  </a:moveTo>
                  <a:lnTo>
                    <a:pt x="161386" y="1392"/>
                  </a:lnTo>
                  <a:lnTo>
                    <a:pt x="162243" y="3172"/>
                  </a:lnTo>
                  <a:lnTo>
                    <a:pt x="162833" y="4145"/>
                  </a:lnTo>
                  <a:lnTo>
                    <a:pt x="162343" y="5415"/>
                  </a:lnTo>
                  <a:lnTo>
                    <a:pt x="162729" y="6460"/>
                  </a:lnTo>
                  <a:lnTo>
                    <a:pt x="164329" y="8341"/>
                  </a:lnTo>
                  <a:lnTo>
                    <a:pt x="166324" y="10112"/>
                  </a:lnTo>
                  <a:lnTo>
                    <a:pt x="168102" y="11243"/>
                  </a:lnTo>
                  <a:lnTo>
                    <a:pt x="168603" y="11120"/>
                  </a:lnTo>
                  <a:lnTo>
                    <a:pt x="169920" y="10798"/>
                  </a:lnTo>
                  <a:lnTo>
                    <a:pt x="172150" y="9638"/>
                  </a:lnTo>
                  <a:lnTo>
                    <a:pt x="174008" y="9273"/>
                  </a:lnTo>
                  <a:lnTo>
                    <a:pt x="175070" y="10162"/>
                  </a:lnTo>
                  <a:lnTo>
                    <a:pt x="175670" y="10663"/>
                  </a:lnTo>
                  <a:lnTo>
                    <a:pt x="176841" y="12664"/>
                  </a:lnTo>
                  <a:lnTo>
                    <a:pt x="177169" y="14752"/>
                  </a:lnTo>
                  <a:lnTo>
                    <a:pt x="177689" y="16484"/>
                  </a:lnTo>
                  <a:lnTo>
                    <a:pt x="178637" y="17186"/>
                  </a:lnTo>
                  <a:lnTo>
                    <a:pt x="182192" y="17416"/>
                  </a:lnTo>
                  <a:lnTo>
                    <a:pt x="184811" y="18058"/>
                  </a:lnTo>
                  <a:lnTo>
                    <a:pt x="185504" y="18639"/>
                  </a:lnTo>
                  <a:lnTo>
                    <a:pt x="186400" y="22482"/>
                  </a:lnTo>
                  <a:lnTo>
                    <a:pt x="186888" y="23025"/>
                  </a:lnTo>
                  <a:lnTo>
                    <a:pt x="187541" y="22572"/>
                  </a:lnTo>
                  <a:lnTo>
                    <a:pt x="188186" y="21940"/>
                  </a:lnTo>
                  <a:lnTo>
                    <a:pt x="189082" y="21839"/>
                  </a:lnTo>
                  <a:lnTo>
                    <a:pt x="190620" y="22083"/>
                  </a:lnTo>
                  <a:lnTo>
                    <a:pt x="192645" y="22159"/>
                  </a:lnTo>
                  <a:lnTo>
                    <a:pt x="194734" y="22582"/>
                  </a:lnTo>
                  <a:lnTo>
                    <a:pt x="197618" y="24750"/>
                  </a:lnTo>
                  <a:lnTo>
                    <a:pt x="197508" y="25465"/>
                  </a:lnTo>
                  <a:lnTo>
                    <a:pt x="196945" y="26720"/>
                  </a:lnTo>
                  <a:lnTo>
                    <a:pt x="196748" y="27721"/>
                  </a:lnTo>
                  <a:lnTo>
                    <a:pt x="197245" y="28123"/>
                  </a:lnTo>
                  <a:lnTo>
                    <a:pt x="198007" y="29156"/>
                  </a:lnTo>
                  <a:lnTo>
                    <a:pt x="197824" y="30350"/>
                  </a:lnTo>
                  <a:lnTo>
                    <a:pt x="197081" y="31186"/>
                  </a:lnTo>
                  <a:lnTo>
                    <a:pt x="196783" y="31875"/>
                  </a:lnTo>
                  <a:lnTo>
                    <a:pt x="196787" y="32323"/>
                  </a:lnTo>
                  <a:lnTo>
                    <a:pt x="197059" y="32695"/>
                  </a:lnTo>
                  <a:lnTo>
                    <a:pt x="197651" y="33022"/>
                  </a:lnTo>
                  <a:lnTo>
                    <a:pt x="201911" y="33463"/>
                  </a:lnTo>
                  <a:lnTo>
                    <a:pt x="205809" y="33022"/>
                  </a:lnTo>
                  <a:lnTo>
                    <a:pt x="208266" y="31805"/>
                  </a:lnTo>
                  <a:lnTo>
                    <a:pt x="208685" y="30522"/>
                  </a:lnTo>
                  <a:lnTo>
                    <a:pt x="209383" y="29072"/>
                  </a:lnTo>
                  <a:lnTo>
                    <a:pt x="210847" y="27858"/>
                  </a:lnTo>
                  <a:lnTo>
                    <a:pt x="211860" y="27450"/>
                  </a:lnTo>
                  <a:lnTo>
                    <a:pt x="212786" y="27950"/>
                  </a:lnTo>
                  <a:lnTo>
                    <a:pt x="211227" y="33042"/>
                  </a:lnTo>
                  <a:lnTo>
                    <a:pt x="212365" y="34342"/>
                  </a:lnTo>
                  <a:lnTo>
                    <a:pt x="212533" y="36284"/>
                  </a:lnTo>
                  <a:lnTo>
                    <a:pt x="212941" y="37983"/>
                  </a:lnTo>
                  <a:lnTo>
                    <a:pt x="214334" y="37951"/>
                  </a:lnTo>
                  <a:lnTo>
                    <a:pt x="216023" y="38265"/>
                  </a:lnTo>
                  <a:lnTo>
                    <a:pt x="217219" y="38893"/>
                  </a:lnTo>
                  <a:lnTo>
                    <a:pt x="218614" y="39902"/>
                  </a:lnTo>
                  <a:lnTo>
                    <a:pt x="220625" y="40829"/>
                  </a:lnTo>
                  <a:lnTo>
                    <a:pt x="222035" y="41155"/>
                  </a:lnTo>
                  <a:lnTo>
                    <a:pt x="222546" y="41929"/>
                  </a:lnTo>
                  <a:lnTo>
                    <a:pt x="223686" y="42825"/>
                  </a:lnTo>
                  <a:lnTo>
                    <a:pt x="225481" y="44702"/>
                  </a:lnTo>
                  <a:lnTo>
                    <a:pt x="227087" y="45954"/>
                  </a:lnTo>
                  <a:lnTo>
                    <a:pt x="227863" y="45949"/>
                  </a:lnTo>
                  <a:lnTo>
                    <a:pt x="229359" y="45456"/>
                  </a:lnTo>
                  <a:lnTo>
                    <a:pt x="231579" y="45140"/>
                  </a:lnTo>
                  <a:lnTo>
                    <a:pt x="233332" y="45167"/>
                  </a:lnTo>
                  <a:lnTo>
                    <a:pt x="234078" y="46120"/>
                  </a:lnTo>
                  <a:lnTo>
                    <a:pt x="235801" y="46560"/>
                  </a:lnTo>
                  <a:lnTo>
                    <a:pt x="236410" y="46910"/>
                  </a:lnTo>
                  <a:lnTo>
                    <a:pt x="237086" y="47567"/>
                  </a:lnTo>
                  <a:lnTo>
                    <a:pt x="238234" y="47831"/>
                  </a:lnTo>
                  <a:lnTo>
                    <a:pt x="239621" y="47567"/>
                  </a:lnTo>
                  <a:lnTo>
                    <a:pt x="240633" y="46690"/>
                  </a:lnTo>
                  <a:lnTo>
                    <a:pt x="241985" y="46297"/>
                  </a:lnTo>
                  <a:lnTo>
                    <a:pt x="243337" y="46428"/>
                  </a:lnTo>
                  <a:lnTo>
                    <a:pt x="244114" y="46910"/>
                  </a:lnTo>
                  <a:lnTo>
                    <a:pt x="245596" y="47622"/>
                  </a:lnTo>
                  <a:lnTo>
                    <a:pt x="246434" y="47467"/>
                  </a:lnTo>
                  <a:lnTo>
                    <a:pt x="248111" y="47905"/>
                  </a:lnTo>
                  <a:lnTo>
                    <a:pt x="249796" y="49287"/>
                  </a:lnTo>
                  <a:lnTo>
                    <a:pt x="250504" y="50676"/>
                  </a:lnTo>
                  <a:lnTo>
                    <a:pt x="250689" y="51435"/>
                  </a:lnTo>
                  <a:lnTo>
                    <a:pt x="251417" y="52260"/>
                  </a:lnTo>
                  <a:lnTo>
                    <a:pt x="254244" y="55987"/>
                  </a:lnTo>
                  <a:lnTo>
                    <a:pt x="255147" y="56171"/>
                  </a:lnTo>
                  <a:lnTo>
                    <a:pt x="256129" y="55606"/>
                  </a:lnTo>
                  <a:lnTo>
                    <a:pt x="256766" y="54805"/>
                  </a:lnTo>
                  <a:lnTo>
                    <a:pt x="257688" y="54645"/>
                  </a:lnTo>
                  <a:lnTo>
                    <a:pt x="259172" y="55014"/>
                  </a:lnTo>
                  <a:lnTo>
                    <a:pt x="260126" y="55436"/>
                  </a:lnTo>
                  <a:lnTo>
                    <a:pt x="260584" y="57049"/>
                  </a:lnTo>
                  <a:lnTo>
                    <a:pt x="260906" y="57356"/>
                  </a:lnTo>
                  <a:lnTo>
                    <a:pt x="261547" y="57009"/>
                  </a:lnTo>
                  <a:lnTo>
                    <a:pt x="262690" y="56932"/>
                  </a:lnTo>
                  <a:lnTo>
                    <a:pt x="264514" y="57330"/>
                  </a:lnTo>
                  <a:lnTo>
                    <a:pt x="267023" y="56875"/>
                  </a:lnTo>
                  <a:lnTo>
                    <a:pt x="269031" y="56202"/>
                  </a:lnTo>
                  <a:lnTo>
                    <a:pt x="270057" y="56227"/>
                  </a:lnTo>
                  <a:lnTo>
                    <a:pt x="271713" y="58108"/>
                  </a:lnTo>
                  <a:lnTo>
                    <a:pt x="273603" y="58811"/>
                  </a:lnTo>
                  <a:lnTo>
                    <a:pt x="277766" y="59378"/>
                  </a:lnTo>
                  <a:lnTo>
                    <a:pt x="282234" y="60262"/>
                  </a:lnTo>
                  <a:lnTo>
                    <a:pt x="283989" y="60976"/>
                  </a:lnTo>
                  <a:lnTo>
                    <a:pt x="285188" y="61327"/>
                  </a:lnTo>
                  <a:lnTo>
                    <a:pt x="285309" y="63812"/>
                  </a:lnTo>
                  <a:lnTo>
                    <a:pt x="284948" y="64187"/>
                  </a:lnTo>
                  <a:lnTo>
                    <a:pt x="280498" y="69161"/>
                  </a:lnTo>
                  <a:lnTo>
                    <a:pt x="278623" y="70938"/>
                  </a:lnTo>
                  <a:lnTo>
                    <a:pt x="277669" y="73471"/>
                  </a:lnTo>
                  <a:lnTo>
                    <a:pt x="277013" y="77352"/>
                  </a:lnTo>
                  <a:lnTo>
                    <a:pt x="275698" y="81034"/>
                  </a:lnTo>
                  <a:lnTo>
                    <a:pt x="273728" y="84519"/>
                  </a:lnTo>
                  <a:lnTo>
                    <a:pt x="273011" y="87132"/>
                  </a:lnTo>
                  <a:lnTo>
                    <a:pt x="273549" y="88874"/>
                  </a:lnTo>
                  <a:lnTo>
                    <a:pt x="273212" y="91607"/>
                  </a:lnTo>
                  <a:lnTo>
                    <a:pt x="272003" y="95326"/>
                  </a:lnTo>
                  <a:lnTo>
                    <a:pt x="271800" y="98132"/>
                  </a:lnTo>
                  <a:lnTo>
                    <a:pt x="272597" y="100025"/>
                  </a:lnTo>
                  <a:lnTo>
                    <a:pt x="273707" y="100413"/>
                  </a:lnTo>
                  <a:lnTo>
                    <a:pt x="271037" y="101687"/>
                  </a:lnTo>
                  <a:lnTo>
                    <a:pt x="270429" y="102801"/>
                  </a:lnTo>
                  <a:lnTo>
                    <a:pt x="269381" y="104274"/>
                  </a:lnTo>
                  <a:lnTo>
                    <a:pt x="267682" y="104893"/>
                  </a:lnTo>
                  <a:lnTo>
                    <a:pt x="265970" y="105098"/>
                  </a:lnTo>
                  <a:lnTo>
                    <a:pt x="264585" y="104903"/>
                  </a:lnTo>
                  <a:lnTo>
                    <a:pt x="263797" y="104315"/>
                  </a:lnTo>
                  <a:lnTo>
                    <a:pt x="263836" y="103767"/>
                  </a:lnTo>
                  <a:lnTo>
                    <a:pt x="263102" y="103301"/>
                  </a:lnTo>
                  <a:lnTo>
                    <a:pt x="261275" y="103315"/>
                  </a:lnTo>
                  <a:lnTo>
                    <a:pt x="259394" y="104328"/>
                  </a:lnTo>
                  <a:lnTo>
                    <a:pt x="257891" y="105982"/>
                  </a:lnTo>
                  <a:lnTo>
                    <a:pt x="258358" y="106907"/>
                  </a:lnTo>
                  <a:lnTo>
                    <a:pt x="259742" y="107151"/>
                  </a:lnTo>
                  <a:lnTo>
                    <a:pt x="260107" y="107517"/>
                  </a:lnTo>
                  <a:lnTo>
                    <a:pt x="260107" y="107992"/>
                  </a:lnTo>
                  <a:lnTo>
                    <a:pt x="259619" y="108564"/>
                  </a:lnTo>
                  <a:lnTo>
                    <a:pt x="259034" y="109541"/>
                  </a:lnTo>
                  <a:lnTo>
                    <a:pt x="256129" y="112450"/>
                  </a:lnTo>
                  <a:lnTo>
                    <a:pt x="253197" y="115382"/>
                  </a:lnTo>
                  <a:lnTo>
                    <a:pt x="252728" y="116268"/>
                  </a:lnTo>
                  <a:lnTo>
                    <a:pt x="251798" y="116887"/>
                  </a:lnTo>
                  <a:lnTo>
                    <a:pt x="248070" y="118450"/>
                  </a:lnTo>
                  <a:lnTo>
                    <a:pt x="247680" y="119076"/>
                  </a:lnTo>
                  <a:lnTo>
                    <a:pt x="247468" y="121685"/>
                  </a:lnTo>
                  <a:lnTo>
                    <a:pt x="247051" y="123826"/>
                  </a:lnTo>
                  <a:lnTo>
                    <a:pt x="244287" y="125839"/>
                  </a:lnTo>
                  <a:lnTo>
                    <a:pt x="241536" y="127842"/>
                  </a:lnTo>
                  <a:lnTo>
                    <a:pt x="240849" y="129065"/>
                  </a:lnTo>
                  <a:lnTo>
                    <a:pt x="240348" y="130480"/>
                  </a:lnTo>
                  <a:lnTo>
                    <a:pt x="239485" y="132076"/>
                  </a:lnTo>
                  <a:lnTo>
                    <a:pt x="239314" y="132919"/>
                  </a:lnTo>
                  <a:lnTo>
                    <a:pt x="240707" y="134293"/>
                  </a:lnTo>
                  <a:lnTo>
                    <a:pt x="240545" y="135429"/>
                  </a:lnTo>
                  <a:lnTo>
                    <a:pt x="240102" y="137043"/>
                  </a:lnTo>
                  <a:lnTo>
                    <a:pt x="238780" y="138186"/>
                  </a:lnTo>
                  <a:lnTo>
                    <a:pt x="237319" y="138834"/>
                  </a:lnTo>
                  <a:lnTo>
                    <a:pt x="237351" y="140590"/>
                  </a:lnTo>
                  <a:lnTo>
                    <a:pt x="238129" y="140836"/>
                  </a:lnTo>
                  <a:lnTo>
                    <a:pt x="239897" y="140706"/>
                  </a:lnTo>
                  <a:lnTo>
                    <a:pt x="242391" y="139432"/>
                  </a:lnTo>
                  <a:lnTo>
                    <a:pt x="244017" y="137794"/>
                  </a:lnTo>
                  <a:lnTo>
                    <a:pt x="243059" y="136238"/>
                  </a:lnTo>
                  <a:lnTo>
                    <a:pt x="242940" y="135933"/>
                  </a:lnTo>
                  <a:lnTo>
                    <a:pt x="243171" y="135568"/>
                  </a:lnTo>
                  <a:lnTo>
                    <a:pt x="245099" y="133875"/>
                  </a:lnTo>
                  <a:lnTo>
                    <a:pt x="247466" y="132854"/>
                  </a:lnTo>
                  <a:lnTo>
                    <a:pt x="250767" y="132664"/>
                  </a:lnTo>
                  <a:lnTo>
                    <a:pt x="254745" y="133263"/>
                  </a:lnTo>
                  <a:lnTo>
                    <a:pt x="255142" y="133516"/>
                  </a:lnTo>
                  <a:lnTo>
                    <a:pt x="254950" y="134554"/>
                  </a:lnTo>
                  <a:lnTo>
                    <a:pt x="255321" y="136085"/>
                  </a:lnTo>
                  <a:lnTo>
                    <a:pt x="256043" y="137159"/>
                  </a:lnTo>
                  <a:lnTo>
                    <a:pt x="255054" y="140205"/>
                  </a:lnTo>
                  <a:lnTo>
                    <a:pt x="255797" y="141159"/>
                  </a:lnTo>
                  <a:lnTo>
                    <a:pt x="256954" y="142299"/>
                  </a:lnTo>
                  <a:lnTo>
                    <a:pt x="257822" y="143340"/>
                  </a:lnTo>
                  <a:lnTo>
                    <a:pt x="259070" y="144296"/>
                  </a:lnTo>
                  <a:lnTo>
                    <a:pt x="260180" y="145906"/>
                  </a:lnTo>
                  <a:lnTo>
                    <a:pt x="260560" y="146818"/>
                  </a:lnTo>
                  <a:lnTo>
                    <a:pt x="258785" y="148402"/>
                  </a:lnTo>
                  <a:lnTo>
                    <a:pt x="255771" y="149886"/>
                  </a:lnTo>
                  <a:lnTo>
                    <a:pt x="255432" y="150836"/>
                  </a:lnTo>
                  <a:lnTo>
                    <a:pt x="255471" y="151916"/>
                  </a:lnTo>
                  <a:lnTo>
                    <a:pt x="255810" y="152765"/>
                  </a:lnTo>
                  <a:lnTo>
                    <a:pt x="257472" y="153857"/>
                  </a:lnTo>
                  <a:lnTo>
                    <a:pt x="259263" y="156327"/>
                  </a:lnTo>
                  <a:lnTo>
                    <a:pt x="260396" y="158528"/>
                  </a:lnTo>
                  <a:lnTo>
                    <a:pt x="262881" y="160637"/>
                  </a:lnTo>
                  <a:lnTo>
                    <a:pt x="263486" y="161261"/>
                  </a:lnTo>
                  <a:lnTo>
                    <a:pt x="263331" y="161788"/>
                  </a:lnTo>
                  <a:lnTo>
                    <a:pt x="262676" y="162686"/>
                  </a:lnTo>
                  <a:lnTo>
                    <a:pt x="261826" y="165676"/>
                  </a:lnTo>
                  <a:lnTo>
                    <a:pt x="260811" y="166151"/>
                  </a:lnTo>
                  <a:lnTo>
                    <a:pt x="259679" y="166344"/>
                  </a:lnTo>
                  <a:lnTo>
                    <a:pt x="256607" y="168532"/>
                  </a:lnTo>
                  <a:lnTo>
                    <a:pt x="255237" y="168267"/>
                  </a:lnTo>
                  <a:lnTo>
                    <a:pt x="253290" y="168295"/>
                  </a:lnTo>
                  <a:lnTo>
                    <a:pt x="251862" y="169016"/>
                  </a:lnTo>
                  <a:lnTo>
                    <a:pt x="252018" y="170378"/>
                  </a:lnTo>
                  <a:lnTo>
                    <a:pt x="253270" y="171624"/>
                  </a:lnTo>
                  <a:lnTo>
                    <a:pt x="254006" y="172980"/>
                  </a:lnTo>
                  <a:lnTo>
                    <a:pt x="254304" y="174390"/>
                  </a:lnTo>
                  <a:lnTo>
                    <a:pt x="255695" y="175434"/>
                  </a:lnTo>
                  <a:lnTo>
                    <a:pt x="257647" y="176058"/>
                  </a:lnTo>
                  <a:lnTo>
                    <a:pt x="258764" y="176100"/>
                  </a:lnTo>
                  <a:lnTo>
                    <a:pt x="259494" y="176475"/>
                  </a:lnTo>
                  <a:lnTo>
                    <a:pt x="259932" y="176958"/>
                  </a:lnTo>
                  <a:lnTo>
                    <a:pt x="260772" y="179974"/>
                  </a:lnTo>
                  <a:lnTo>
                    <a:pt x="260269" y="180730"/>
                  </a:lnTo>
                  <a:lnTo>
                    <a:pt x="259217" y="181052"/>
                  </a:lnTo>
                  <a:lnTo>
                    <a:pt x="258589" y="182291"/>
                  </a:lnTo>
                  <a:lnTo>
                    <a:pt x="257334" y="184118"/>
                  </a:lnTo>
                  <a:lnTo>
                    <a:pt x="256622" y="185583"/>
                  </a:lnTo>
                  <a:lnTo>
                    <a:pt x="257410" y="186872"/>
                  </a:lnTo>
                  <a:lnTo>
                    <a:pt x="257746" y="187826"/>
                  </a:lnTo>
                  <a:lnTo>
                    <a:pt x="257325" y="188808"/>
                  </a:lnTo>
                  <a:lnTo>
                    <a:pt x="257887" y="190337"/>
                  </a:lnTo>
                  <a:lnTo>
                    <a:pt x="259370" y="191849"/>
                  </a:lnTo>
                  <a:lnTo>
                    <a:pt x="263398" y="193974"/>
                  </a:lnTo>
                  <a:lnTo>
                    <a:pt x="267138" y="195701"/>
                  </a:lnTo>
                  <a:lnTo>
                    <a:pt x="268295" y="195988"/>
                  </a:lnTo>
                  <a:lnTo>
                    <a:pt x="273348" y="194877"/>
                  </a:lnTo>
                  <a:lnTo>
                    <a:pt x="274184" y="194973"/>
                  </a:lnTo>
                  <a:lnTo>
                    <a:pt x="274799" y="196296"/>
                  </a:lnTo>
                  <a:lnTo>
                    <a:pt x="275067" y="197186"/>
                  </a:lnTo>
                  <a:lnTo>
                    <a:pt x="274499" y="198527"/>
                  </a:lnTo>
                  <a:lnTo>
                    <a:pt x="273132" y="200372"/>
                  </a:lnTo>
                  <a:lnTo>
                    <a:pt x="271651" y="201842"/>
                  </a:lnTo>
                  <a:lnTo>
                    <a:pt x="270753" y="203091"/>
                  </a:lnTo>
                  <a:lnTo>
                    <a:pt x="270940" y="204224"/>
                  </a:lnTo>
                  <a:lnTo>
                    <a:pt x="270999" y="205731"/>
                  </a:lnTo>
                  <a:lnTo>
                    <a:pt x="269794" y="206182"/>
                  </a:lnTo>
                  <a:lnTo>
                    <a:pt x="269755" y="205884"/>
                  </a:lnTo>
                  <a:lnTo>
                    <a:pt x="269258" y="205630"/>
                  </a:lnTo>
                  <a:lnTo>
                    <a:pt x="268829" y="205780"/>
                  </a:lnTo>
                  <a:lnTo>
                    <a:pt x="268498" y="206107"/>
                  </a:lnTo>
                  <a:lnTo>
                    <a:pt x="268446" y="206687"/>
                  </a:lnTo>
                  <a:lnTo>
                    <a:pt x="265877" y="207649"/>
                  </a:lnTo>
                  <a:lnTo>
                    <a:pt x="264106" y="208646"/>
                  </a:lnTo>
                  <a:lnTo>
                    <a:pt x="257103" y="214594"/>
                  </a:lnTo>
                  <a:lnTo>
                    <a:pt x="253827" y="216336"/>
                  </a:lnTo>
                  <a:lnTo>
                    <a:pt x="253182" y="217385"/>
                  </a:lnTo>
                  <a:lnTo>
                    <a:pt x="252514" y="219345"/>
                  </a:lnTo>
                  <a:lnTo>
                    <a:pt x="250590" y="221026"/>
                  </a:lnTo>
                  <a:lnTo>
                    <a:pt x="248906" y="221825"/>
                  </a:lnTo>
                  <a:lnTo>
                    <a:pt x="244734" y="222646"/>
                  </a:lnTo>
                  <a:lnTo>
                    <a:pt x="240545" y="224426"/>
                  </a:lnTo>
                  <a:lnTo>
                    <a:pt x="238658" y="223659"/>
                  </a:lnTo>
                  <a:lnTo>
                    <a:pt x="233769" y="223741"/>
                  </a:lnTo>
                  <a:lnTo>
                    <a:pt x="230720" y="221596"/>
                  </a:lnTo>
                  <a:lnTo>
                    <a:pt x="224859" y="220235"/>
                  </a:lnTo>
                  <a:lnTo>
                    <a:pt x="222950" y="217107"/>
                  </a:lnTo>
                  <a:lnTo>
                    <a:pt x="220281" y="216904"/>
                  </a:lnTo>
                  <a:lnTo>
                    <a:pt x="218532" y="216998"/>
                  </a:lnTo>
                  <a:lnTo>
                    <a:pt x="217487" y="216524"/>
                  </a:lnTo>
                  <a:lnTo>
                    <a:pt x="217215" y="215456"/>
                  </a:lnTo>
                  <a:lnTo>
                    <a:pt x="217191" y="214427"/>
                  </a:lnTo>
                  <a:lnTo>
                    <a:pt x="215339" y="214901"/>
                  </a:lnTo>
                  <a:lnTo>
                    <a:pt x="213922" y="214901"/>
                  </a:lnTo>
                  <a:lnTo>
                    <a:pt x="213077" y="215313"/>
                  </a:lnTo>
                  <a:lnTo>
                    <a:pt x="212410" y="215789"/>
                  </a:lnTo>
                  <a:lnTo>
                    <a:pt x="211622" y="215485"/>
                  </a:lnTo>
                  <a:lnTo>
                    <a:pt x="211164" y="215587"/>
                  </a:lnTo>
                  <a:lnTo>
                    <a:pt x="211205" y="216193"/>
                  </a:lnTo>
                  <a:lnTo>
                    <a:pt x="209504" y="216344"/>
                  </a:lnTo>
                  <a:lnTo>
                    <a:pt x="207660" y="215973"/>
                  </a:lnTo>
                  <a:lnTo>
                    <a:pt x="202818" y="214355"/>
                  </a:lnTo>
                  <a:lnTo>
                    <a:pt x="202075" y="214108"/>
                  </a:lnTo>
                  <a:lnTo>
                    <a:pt x="198715" y="213482"/>
                  </a:lnTo>
                  <a:lnTo>
                    <a:pt x="197357" y="212836"/>
                  </a:lnTo>
                  <a:lnTo>
                    <a:pt x="196258" y="211236"/>
                  </a:lnTo>
                  <a:lnTo>
                    <a:pt x="195418" y="210730"/>
                  </a:lnTo>
                  <a:lnTo>
                    <a:pt x="194921" y="210427"/>
                  </a:lnTo>
                  <a:lnTo>
                    <a:pt x="191786" y="211235"/>
                  </a:lnTo>
                  <a:lnTo>
                    <a:pt x="190698" y="212494"/>
                  </a:lnTo>
                  <a:lnTo>
                    <a:pt x="188998" y="213967"/>
                  </a:lnTo>
                  <a:lnTo>
                    <a:pt x="177370" y="221183"/>
                  </a:lnTo>
                  <a:lnTo>
                    <a:pt x="175247" y="224201"/>
                  </a:lnTo>
                  <a:lnTo>
                    <a:pt x="172790" y="228639"/>
                  </a:lnTo>
                  <a:lnTo>
                    <a:pt x="172598" y="230707"/>
                  </a:lnTo>
                  <a:lnTo>
                    <a:pt x="173656" y="237309"/>
                  </a:lnTo>
                  <a:lnTo>
                    <a:pt x="176020" y="240769"/>
                  </a:lnTo>
                  <a:lnTo>
                    <a:pt x="176320" y="241569"/>
                  </a:lnTo>
                  <a:lnTo>
                    <a:pt x="175010" y="241573"/>
                  </a:lnTo>
                  <a:lnTo>
                    <a:pt x="172809" y="241141"/>
                  </a:lnTo>
                  <a:lnTo>
                    <a:pt x="170982" y="240607"/>
                  </a:lnTo>
                  <a:lnTo>
                    <a:pt x="169244" y="240905"/>
                  </a:lnTo>
                  <a:lnTo>
                    <a:pt x="167569" y="241620"/>
                  </a:lnTo>
                  <a:lnTo>
                    <a:pt x="166104" y="242052"/>
                  </a:lnTo>
                  <a:lnTo>
                    <a:pt x="165053" y="242173"/>
                  </a:lnTo>
                  <a:lnTo>
                    <a:pt x="164349" y="242585"/>
                  </a:lnTo>
                  <a:lnTo>
                    <a:pt x="164012" y="243409"/>
                  </a:lnTo>
                  <a:lnTo>
                    <a:pt x="163943" y="243985"/>
                  </a:lnTo>
                  <a:lnTo>
                    <a:pt x="162092" y="243843"/>
                  </a:lnTo>
                  <a:lnTo>
                    <a:pt x="157812" y="242658"/>
                  </a:lnTo>
                  <a:lnTo>
                    <a:pt x="153964" y="241841"/>
                  </a:lnTo>
                  <a:lnTo>
                    <a:pt x="151708" y="242770"/>
                  </a:lnTo>
                  <a:lnTo>
                    <a:pt x="150256" y="243638"/>
                  </a:lnTo>
                  <a:lnTo>
                    <a:pt x="149235" y="243505"/>
                  </a:lnTo>
                  <a:lnTo>
                    <a:pt x="148460" y="242592"/>
                  </a:lnTo>
                  <a:lnTo>
                    <a:pt x="147940" y="241698"/>
                  </a:lnTo>
                  <a:lnTo>
                    <a:pt x="146432" y="240878"/>
                  </a:lnTo>
                  <a:lnTo>
                    <a:pt x="143034" y="239645"/>
                  </a:lnTo>
                  <a:lnTo>
                    <a:pt x="143208" y="239050"/>
                  </a:lnTo>
                  <a:lnTo>
                    <a:pt x="143789" y="238220"/>
                  </a:lnTo>
                  <a:lnTo>
                    <a:pt x="143772" y="237708"/>
                  </a:lnTo>
                  <a:lnTo>
                    <a:pt x="143118" y="236947"/>
                  </a:lnTo>
                  <a:lnTo>
                    <a:pt x="139985" y="236130"/>
                  </a:lnTo>
                  <a:lnTo>
                    <a:pt x="138508" y="235924"/>
                  </a:lnTo>
                  <a:lnTo>
                    <a:pt x="137568" y="236486"/>
                  </a:lnTo>
                  <a:lnTo>
                    <a:pt x="136892" y="237174"/>
                  </a:lnTo>
                  <a:lnTo>
                    <a:pt x="135147" y="234643"/>
                  </a:lnTo>
                  <a:lnTo>
                    <a:pt x="133906" y="234128"/>
                  </a:lnTo>
                  <a:lnTo>
                    <a:pt x="132027" y="234043"/>
                  </a:lnTo>
                  <a:lnTo>
                    <a:pt x="129879" y="233270"/>
                  </a:lnTo>
                  <a:lnTo>
                    <a:pt x="127643" y="232283"/>
                  </a:lnTo>
                  <a:lnTo>
                    <a:pt x="122213" y="230703"/>
                  </a:lnTo>
                  <a:lnTo>
                    <a:pt x="120718" y="230514"/>
                  </a:lnTo>
                  <a:lnTo>
                    <a:pt x="120120" y="230764"/>
                  </a:lnTo>
                  <a:lnTo>
                    <a:pt x="119721" y="231709"/>
                  </a:lnTo>
                  <a:lnTo>
                    <a:pt x="119505" y="234377"/>
                  </a:lnTo>
                  <a:lnTo>
                    <a:pt x="119276" y="234672"/>
                  </a:lnTo>
                  <a:lnTo>
                    <a:pt x="116756" y="234761"/>
                  </a:lnTo>
                  <a:lnTo>
                    <a:pt x="113651" y="234390"/>
                  </a:lnTo>
                  <a:lnTo>
                    <a:pt x="112228" y="234574"/>
                  </a:lnTo>
                  <a:lnTo>
                    <a:pt x="110958" y="234583"/>
                  </a:lnTo>
                  <a:lnTo>
                    <a:pt x="109762" y="233877"/>
                  </a:lnTo>
                  <a:lnTo>
                    <a:pt x="104399" y="234685"/>
                  </a:lnTo>
                  <a:lnTo>
                    <a:pt x="103507" y="234291"/>
                  </a:lnTo>
                  <a:lnTo>
                    <a:pt x="102212" y="233086"/>
                  </a:lnTo>
                  <a:lnTo>
                    <a:pt x="100769" y="232114"/>
                  </a:lnTo>
                  <a:lnTo>
                    <a:pt x="99647" y="231615"/>
                  </a:lnTo>
                  <a:lnTo>
                    <a:pt x="98691" y="231043"/>
                  </a:lnTo>
                  <a:lnTo>
                    <a:pt x="97822" y="230950"/>
                  </a:lnTo>
                  <a:lnTo>
                    <a:pt x="96499" y="231504"/>
                  </a:lnTo>
                  <a:lnTo>
                    <a:pt x="94670" y="231739"/>
                  </a:lnTo>
                  <a:lnTo>
                    <a:pt x="93152" y="231667"/>
                  </a:lnTo>
                  <a:lnTo>
                    <a:pt x="92342" y="231748"/>
                  </a:lnTo>
                  <a:lnTo>
                    <a:pt x="88942" y="228789"/>
                  </a:lnTo>
                  <a:lnTo>
                    <a:pt x="88445" y="227979"/>
                  </a:lnTo>
                  <a:lnTo>
                    <a:pt x="86752" y="227754"/>
                  </a:lnTo>
                  <a:lnTo>
                    <a:pt x="84660" y="227718"/>
                  </a:lnTo>
                  <a:lnTo>
                    <a:pt x="79317" y="225799"/>
                  </a:lnTo>
                  <a:lnTo>
                    <a:pt x="76885" y="224768"/>
                  </a:lnTo>
                  <a:lnTo>
                    <a:pt x="76529" y="224155"/>
                  </a:lnTo>
                  <a:lnTo>
                    <a:pt x="76562" y="223659"/>
                  </a:lnTo>
                  <a:lnTo>
                    <a:pt x="76147" y="223766"/>
                  </a:lnTo>
                  <a:lnTo>
                    <a:pt x="75397" y="224643"/>
                  </a:lnTo>
                  <a:lnTo>
                    <a:pt x="75004" y="225358"/>
                  </a:lnTo>
                  <a:lnTo>
                    <a:pt x="74484" y="225492"/>
                  </a:lnTo>
                  <a:lnTo>
                    <a:pt x="73716" y="225381"/>
                  </a:lnTo>
                  <a:lnTo>
                    <a:pt x="73007" y="224978"/>
                  </a:lnTo>
                  <a:lnTo>
                    <a:pt x="72573" y="224459"/>
                  </a:lnTo>
                  <a:lnTo>
                    <a:pt x="73038" y="223551"/>
                  </a:lnTo>
                  <a:lnTo>
                    <a:pt x="73852" y="222367"/>
                  </a:lnTo>
                  <a:lnTo>
                    <a:pt x="74190" y="221078"/>
                  </a:lnTo>
                  <a:lnTo>
                    <a:pt x="74116" y="219924"/>
                  </a:lnTo>
                  <a:lnTo>
                    <a:pt x="72766" y="219183"/>
                  </a:lnTo>
                  <a:lnTo>
                    <a:pt x="70781" y="218874"/>
                  </a:lnTo>
                  <a:lnTo>
                    <a:pt x="69329" y="218786"/>
                  </a:lnTo>
                  <a:lnTo>
                    <a:pt x="67434" y="218126"/>
                  </a:lnTo>
                  <a:lnTo>
                    <a:pt x="66541" y="217650"/>
                  </a:lnTo>
                  <a:lnTo>
                    <a:pt x="65668" y="216364"/>
                  </a:lnTo>
                  <a:lnTo>
                    <a:pt x="65639" y="215428"/>
                  </a:lnTo>
                  <a:lnTo>
                    <a:pt x="69234" y="214602"/>
                  </a:lnTo>
                  <a:lnTo>
                    <a:pt x="72476" y="211216"/>
                  </a:lnTo>
                  <a:lnTo>
                    <a:pt x="75546" y="198890"/>
                  </a:lnTo>
                  <a:lnTo>
                    <a:pt x="77768" y="184245"/>
                  </a:lnTo>
                  <a:lnTo>
                    <a:pt x="79420" y="181469"/>
                  </a:lnTo>
                  <a:lnTo>
                    <a:pt x="81495" y="180706"/>
                  </a:lnTo>
                  <a:lnTo>
                    <a:pt x="79817" y="178684"/>
                  </a:lnTo>
                  <a:lnTo>
                    <a:pt x="78766" y="179708"/>
                  </a:lnTo>
                  <a:lnTo>
                    <a:pt x="78325" y="180794"/>
                  </a:lnTo>
                  <a:lnTo>
                    <a:pt x="77775" y="181336"/>
                  </a:lnTo>
                  <a:lnTo>
                    <a:pt x="79016" y="167825"/>
                  </a:lnTo>
                  <a:lnTo>
                    <a:pt x="79901" y="162861"/>
                  </a:lnTo>
                  <a:lnTo>
                    <a:pt x="81406" y="157650"/>
                  </a:lnTo>
                  <a:lnTo>
                    <a:pt x="84485" y="159720"/>
                  </a:lnTo>
                  <a:lnTo>
                    <a:pt x="87037" y="161817"/>
                  </a:lnTo>
                  <a:lnTo>
                    <a:pt x="88357" y="163636"/>
                  </a:lnTo>
                  <a:lnTo>
                    <a:pt x="90027" y="169686"/>
                  </a:lnTo>
                  <a:lnTo>
                    <a:pt x="91290" y="170954"/>
                  </a:lnTo>
                  <a:lnTo>
                    <a:pt x="93181" y="172226"/>
                  </a:lnTo>
                  <a:lnTo>
                    <a:pt x="92434" y="170837"/>
                  </a:lnTo>
                  <a:lnTo>
                    <a:pt x="91133" y="169776"/>
                  </a:lnTo>
                  <a:lnTo>
                    <a:pt x="89099" y="161709"/>
                  </a:lnTo>
                  <a:lnTo>
                    <a:pt x="87823" y="159420"/>
                  </a:lnTo>
                  <a:lnTo>
                    <a:pt x="85836" y="157492"/>
                  </a:lnTo>
                  <a:lnTo>
                    <a:pt x="79438" y="153428"/>
                  </a:lnTo>
                  <a:lnTo>
                    <a:pt x="78863" y="152643"/>
                  </a:lnTo>
                  <a:lnTo>
                    <a:pt x="78554" y="151089"/>
                  </a:lnTo>
                  <a:lnTo>
                    <a:pt x="80668" y="151155"/>
                  </a:lnTo>
                  <a:lnTo>
                    <a:pt x="82495" y="151910"/>
                  </a:lnTo>
                  <a:lnTo>
                    <a:pt x="82279" y="151040"/>
                  </a:lnTo>
                  <a:lnTo>
                    <a:pt x="81737" y="150131"/>
                  </a:lnTo>
                  <a:lnTo>
                    <a:pt x="80889" y="146830"/>
                  </a:lnTo>
                  <a:lnTo>
                    <a:pt x="80181" y="139107"/>
                  </a:lnTo>
                  <a:lnTo>
                    <a:pt x="80277" y="137782"/>
                  </a:lnTo>
                  <a:lnTo>
                    <a:pt x="79962" y="136157"/>
                  </a:lnTo>
                  <a:lnTo>
                    <a:pt x="77916" y="135793"/>
                  </a:lnTo>
                  <a:lnTo>
                    <a:pt x="76280" y="135726"/>
                  </a:lnTo>
                  <a:lnTo>
                    <a:pt x="74518" y="135084"/>
                  </a:lnTo>
                  <a:lnTo>
                    <a:pt x="65805" y="130514"/>
                  </a:lnTo>
                  <a:lnTo>
                    <a:pt x="62822" y="125790"/>
                  </a:lnTo>
                  <a:lnTo>
                    <a:pt x="59772" y="122297"/>
                  </a:lnTo>
                  <a:lnTo>
                    <a:pt x="59040" y="120772"/>
                  </a:lnTo>
                  <a:lnTo>
                    <a:pt x="59088" y="119226"/>
                  </a:lnTo>
                  <a:lnTo>
                    <a:pt x="60667" y="115957"/>
                  </a:lnTo>
                  <a:lnTo>
                    <a:pt x="59273" y="113891"/>
                  </a:lnTo>
                  <a:lnTo>
                    <a:pt x="57911" y="113480"/>
                  </a:lnTo>
                  <a:lnTo>
                    <a:pt x="56727" y="112457"/>
                  </a:lnTo>
                  <a:lnTo>
                    <a:pt x="57799" y="110751"/>
                  </a:lnTo>
                  <a:lnTo>
                    <a:pt x="58690" y="109659"/>
                  </a:lnTo>
                  <a:lnTo>
                    <a:pt x="60475" y="109362"/>
                  </a:lnTo>
                  <a:lnTo>
                    <a:pt x="62816" y="109724"/>
                  </a:lnTo>
                  <a:lnTo>
                    <a:pt x="65036" y="110712"/>
                  </a:lnTo>
                  <a:lnTo>
                    <a:pt x="66778" y="110974"/>
                  </a:lnTo>
                  <a:lnTo>
                    <a:pt x="61629" y="108323"/>
                  </a:lnTo>
                  <a:lnTo>
                    <a:pt x="53279" y="109217"/>
                  </a:lnTo>
                  <a:lnTo>
                    <a:pt x="51479" y="108875"/>
                  </a:lnTo>
                  <a:lnTo>
                    <a:pt x="49959" y="108284"/>
                  </a:lnTo>
                  <a:lnTo>
                    <a:pt x="49365" y="106336"/>
                  </a:lnTo>
                  <a:lnTo>
                    <a:pt x="50552" y="105458"/>
                  </a:lnTo>
                  <a:lnTo>
                    <a:pt x="51628" y="103833"/>
                  </a:lnTo>
                  <a:lnTo>
                    <a:pt x="50411" y="102690"/>
                  </a:lnTo>
                  <a:lnTo>
                    <a:pt x="48834" y="102257"/>
                  </a:lnTo>
                  <a:lnTo>
                    <a:pt x="46360" y="102282"/>
                  </a:lnTo>
                  <a:lnTo>
                    <a:pt x="44052" y="102627"/>
                  </a:lnTo>
                  <a:lnTo>
                    <a:pt x="43466" y="101970"/>
                  </a:lnTo>
                  <a:lnTo>
                    <a:pt x="44874" y="100158"/>
                  </a:lnTo>
                  <a:lnTo>
                    <a:pt x="43678" y="99491"/>
                  </a:lnTo>
                  <a:lnTo>
                    <a:pt x="42082" y="99802"/>
                  </a:lnTo>
                  <a:lnTo>
                    <a:pt x="39767" y="100178"/>
                  </a:lnTo>
                  <a:lnTo>
                    <a:pt x="37553" y="99609"/>
                  </a:lnTo>
                  <a:lnTo>
                    <a:pt x="35460" y="97547"/>
                  </a:lnTo>
                  <a:lnTo>
                    <a:pt x="34073" y="97562"/>
                  </a:lnTo>
                  <a:lnTo>
                    <a:pt x="33120" y="97817"/>
                  </a:lnTo>
                  <a:lnTo>
                    <a:pt x="31706" y="97023"/>
                  </a:lnTo>
                  <a:lnTo>
                    <a:pt x="30218" y="96824"/>
                  </a:lnTo>
                  <a:lnTo>
                    <a:pt x="29156" y="97087"/>
                  </a:lnTo>
                  <a:lnTo>
                    <a:pt x="27744" y="95903"/>
                  </a:lnTo>
                  <a:lnTo>
                    <a:pt x="19051" y="93527"/>
                  </a:lnTo>
                  <a:lnTo>
                    <a:pt x="15297" y="93236"/>
                  </a:lnTo>
                  <a:lnTo>
                    <a:pt x="11854" y="94313"/>
                  </a:lnTo>
                  <a:lnTo>
                    <a:pt x="9959" y="93939"/>
                  </a:lnTo>
                  <a:lnTo>
                    <a:pt x="8566" y="92403"/>
                  </a:lnTo>
                  <a:lnTo>
                    <a:pt x="7397" y="89823"/>
                  </a:lnTo>
                  <a:lnTo>
                    <a:pt x="1851" y="87832"/>
                  </a:lnTo>
                  <a:lnTo>
                    <a:pt x="2948" y="86526"/>
                  </a:lnTo>
                  <a:lnTo>
                    <a:pt x="5530" y="86217"/>
                  </a:lnTo>
                  <a:lnTo>
                    <a:pt x="8506" y="85310"/>
                  </a:lnTo>
                  <a:lnTo>
                    <a:pt x="9576" y="84147"/>
                  </a:lnTo>
                  <a:lnTo>
                    <a:pt x="7250" y="82790"/>
                  </a:lnTo>
                  <a:lnTo>
                    <a:pt x="5535" y="82457"/>
                  </a:lnTo>
                  <a:lnTo>
                    <a:pt x="4824" y="81969"/>
                  </a:lnTo>
                  <a:lnTo>
                    <a:pt x="4099" y="80751"/>
                  </a:lnTo>
                  <a:lnTo>
                    <a:pt x="5127" y="80193"/>
                  </a:lnTo>
                  <a:lnTo>
                    <a:pt x="5851" y="80489"/>
                  </a:lnTo>
                  <a:lnTo>
                    <a:pt x="7942" y="80665"/>
                  </a:lnTo>
                  <a:lnTo>
                    <a:pt x="11523" y="80365"/>
                  </a:lnTo>
                  <a:lnTo>
                    <a:pt x="10188" y="79136"/>
                  </a:lnTo>
                  <a:lnTo>
                    <a:pt x="8803" y="78862"/>
                  </a:lnTo>
                  <a:lnTo>
                    <a:pt x="8167" y="78554"/>
                  </a:lnTo>
                  <a:lnTo>
                    <a:pt x="5256" y="78421"/>
                  </a:lnTo>
                  <a:lnTo>
                    <a:pt x="3931" y="78840"/>
                  </a:lnTo>
                  <a:lnTo>
                    <a:pt x="954" y="78681"/>
                  </a:lnTo>
                  <a:lnTo>
                    <a:pt x="309" y="77352"/>
                  </a:lnTo>
                  <a:lnTo>
                    <a:pt x="0" y="76212"/>
                  </a:lnTo>
                  <a:lnTo>
                    <a:pt x="923" y="73668"/>
                  </a:lnTo>
                  <a:lnTo>
                    <a:pt x="5115" y="71394"/>
                  </a:lnTo>
                  <a:lnTo>
                    <a:pt x="15558" y="68905"/>
                  </a:lnTo>
                  <a:lnTo>
                    <a:pt x="20052" y="69269"/>
                  </a:lnTo>
                  <a:lnTo>
                    <a:pt x="23167" y="68821"/>
                  </a:lnTo>
                  <a:lnTo>
                    <a:pt x="26900" y="67251"/>
                  </a:lnTo>
                  <a:lnTo>
                    <a:pt x="28547" y="65905"/>
                  </a:lnTo>
                  <a:lnTo>
                    <a:pt x="33855" y="65112"/>
                  </a:lnTo>
                  <a:lnTo>
                    <a:pt x="38901" y="66540"/>
                  </a:lnTo>
                  <a:lnTo>
                    <a:pt x="43553" y="71931"/>
                  </a:lnTo>
                  <a:lnTo>
                    <a:pt x="45776" y="73755"/>
                  </a:lnTo>
                  <a:lnTo>
                    <a:pt x="51219" y="70589"/>
                  </a:lnTo>
                  <a:lnTo>
                    <a:pt x="59328" y="70682"/>
                  </a:lnTo>
                  <a:lnTo>
                    <a:pt x="61003" y="72470"/>
                  </a:lnTo>
                  <a:lnTo>
                    <a:pt x="61679" y="70964"/>
                  </a:lnTo>
                  <a:lnTo>
                    <a:pt x="63170" y="69201"/>
                  </a:lnTo>
                  <a:lnTo>
                    <a:pt x="64359" y="70005"/>
                  </a:lnTo>
                  <a:lnTo>
                    <a:pt x="64961" y="71094"/>
                  </a:lnTo>
                  <a:lnTo>
                    <a:pt x="73520" y="70785"/>
                  </a:lnTo>
                  <a:lnTo>
                    <a:pt x="74872" y="70467"/>
                  </a:lnTo>
                  <a:lnTo>
                    <a:pt x="72573" y="69187"/>
                  </a:lnTo>
                  <a:lnTo>
                    <a:pt x="70693" y="66117"/>
                  </a:lnTo>
                  <a:lnTo>
                    <a:pt x="70303" y="54792"/>
                  </a:lnTo>
                  <a:lnTo>
                    <a:pt x="67932" y="51621"/>
                  </a:lnTo>
                  <a:lnTo>
                    <a:pt x="65210" y="46549"/>
                  </a:lnTo>
                  <a:lnTo>
                    <a:pt x="63958" y="43535"/>
                  </a:lnTo>
                  <a:lnTo>
                    <a:pt x="63840" y="42492"/>
                  </a:lnTo>
                  <a:lnTo>
                    <a:pt x="64259" y="40986"/>
                  </a:lnTo>
                  <a:lnTo>
                    <a:pt x="67605" y="41067"/>
                  </a:lnTo>
                  <a:lnTo>
                    <a:pt x="70190" y="41449"/>
                  </a:lnTo>
                  <a:lnTo>
                    <a:pt x="75110" y="40310"/>
                  </a:lnTo>
                  <a:lnTo>
                    <a:pt x="77478" y="41090"/>
                  </a:lnTo>
                  <a:lnTo>
                    <a:pt x="77338" y="43445"/>
                  </a:lnTo>
                  <a:lnTo>
                    <a:pt x="78061" y="46413"/>
                  </a:lnTo>
                  <a:lnTo>
                    <a:pt x="78886" y="47849"/>
                  </a:lnTo>
                  <a:lnTo>
                    <a:pt x="80134" y="49481"/>
                  </a:lnTo>
                  <a:lnTo>
                    <a:pt x="84100" y="49330"/>
                  </a:lnTo>
                  <a:lnTo>
                    <a:pt x="88382" y="50289"/>
                  </a:lnTo>
                  <a:lnTo>
                    <a:pt x="93791" y="50437"/>
                  </a:lnTo>
                  <a:lnTo>
                    <a:pt x="101694" y="52091"/>
                  </a:lnTo>
                  <a:lnTo>
                    <a:pt x="105062" y="51133"/>
                  </a:lnTo>
                  <a:lnTo>
                    <a:pt x="108319" y="49091"/>
                  </a:lnTo>
                  <a:lnTo>
                    <a:pt x="114527" y="47747"/>
                  </a:lnTo>
                  <a:lnTo>
                    <a:pt x="115022" y="47035"/>
                  </a:lnTo>
                  <a:lnTo>
                    <a:pt x="111448" y="47319"/>
                  </a:lnTo>
                  <a:lnTo>
                    <a:pt x="108170" y="46023"/>
                  </a:lnTo>
                  <a:lnTo>
                    <a:pt x="107728" y="44615"/>
                  </a:lnTo>
                  <a:lnTo>
                    <a:pt x="108107" y="43349"/>
                  </a:lnTo>
                  <a:lnTo>
                    <a:pt x="109438" y="40433"/>
                  </a:lnTo>
                  <a:lnTo>
                    <a:pt x="118935" y="35828"/>
                  </a:lnTo>
                  <a:lnTo>
                    <a:pt x="125743" y="34466"/>
                  </a:lnTo>
                  <a:lnTo>
                    <a:pt x="132850" y="31926"/>
                  </a:lnTo>
                  <a:lnTo>
                    <a:pt x="136426" y="29319"/>
                  </a:lnTo>
                  <a:lnTo>
                    <a:pt x="138788" y="25948"/>
                  </a:lnTo>
                  <a:lnTo>
                    <a:pt x="139548" y="25207"/>
                  </a:lnTo>
                  <a:lnTo>
                    <a:pt x="140529" y="24585"/>
                  </a:lnTo>
                  <a:lnTo>
                    <a:pt x="139617" y="23376"/>
                  </a:lnTo>
                  <a:lnTo>
                    <a:pt x="140235" y="10443"/>
                  </a:lnTo>
                  <a:lnTo>
                    <a:pt x="140900" y="8106"/>
                  </a:lnTo>
                  <a:lnTo>
                    <a:pt x="142286" y="6195"/>
                  </a:lnTo>
                  <a:lnTo>
                    <a:pt x="144396" y="4716"/>
                  </a:lnTo>
                  <a:lnTo>
                    <a:pt x="147598" y="3112"/>
                  </a:lnTo>
                  <a:lnTo>
                    <a:pt x="159389" y="895"/>
                  </a:lnTo>
                  <a:close/>
                </a:path>
              </a:pathLst>
            </a:custGeom>
            <a:solidFill>
              <a:srgbClr val="C7CDD0"/>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AT" sz="1600" err="1">
                <a:solidFill>
                  <a:schemeClr val="tx1"/>
                </a:solidFill>
                <a:latin typeface="Calibri" panose="020F0502020204030204" pitchFamily="34" charset="0"/>
                <a:cs typeface="Calibri" panose="020F0502020204030204" pitchFamily="34" charset="0"/>
              </a:endParaRPr>
            </a:p>
          </p:txBody>
        </p:sp>
        <p:sp>
          <p:nvSpPr>
            <p:cNvPr id="81" name="ee4p_GB_1_86241">
              <a:extLst>
                <a:ext uri="{FF2B5EF4-FFF2-40B4-BE49-F238E27FC236}">
                  <a16:creationId xmlns:a16="http://schemas.microsoft.com/office/drawing/2014/main" id="{1771E0D5-FE9C-41FC-A3AF-59EA7F8427A5}"/>
                </a:ext>
              </a:extLst>
            </p:cNvPr>
            <p:cNvSpPr>
              <a:spLocks noChangeAspect="1"/>
            </p:cNvSpPr>
            <p:nvPr>
              <p:custDataLst>
                <p:tags r:id="rId19"/>
              </p:custDataLst>
            </p:nvPr>
          </p:nvSpPr>
          <p:spPr>
            <a:xfrm>
              <a:off x="5566155" y="1996029"/>
              <a:ext cx="662856" cy="1118668"/>
            </a:xfrm>
            <a:custGeom>
              <a:avLst/>
              <a:gdLst>
                <a:gd name="connsiteX0" fmla="*/ 130999 w 218720"/>
                <a:gd name="connsiteY0" fmla="*/ 356870 h 359632"/>
                <a:gd name="connsiteX1" fmla="*/ 134057 w 218720"/>
                <a:gd name="connsiteY1" fmla="*/ 357184 h 359632"/>
                <a:gd name="connsiteX2" fmla="*/ 135462 w 218720"/>
                <a:gd name="connsiteY2" fmla="*/ 357875 h 359632"/>
                <a:gd name="connsiteX3" fmla="*/ 135656 w 218720"/>
                <a:gd name="connsiteY3" fmla="*/ 359317 h 359632"/>
                <a:gd name="connsiteX4" fmla="*/ 134686 w 218720"/>
                <a:gd name="connsiteY4" fmla="*/ 359632 h 359632"/>
                <a:gd name="connsiteX5" fmla="*/ 133862 w 218720"/>
                <a:gd name="connsiteY5" fmla="*/ 359129 h 359632"/>
                <a:gd name="connsiteX6" fmla="*/ 132211 w 218720"/>
                <a:gd name="connsiteY6" fmla="*/ 359129 h 359632"/>
                <a:gd name="connsiteX7" fmla="*/ 130660 w 218720"/>
                <a:gd name="connsiteY7" fmla="*/ 359444 h 359632"/>
                <a:gd name="connsiteX8" fmla="*/ 123886 w 218720"/>
                <a:gd name="connsiteY8" fmla="*/ 349985 h 359632"/>
                <a:gd name="connsiteX9" fmla="*/ 124356 w 218720"/>
                <a:gd name="connsiteY9" fmla="*/ 349993 h 359632"/>
                <a:gd name="connsiteX10" fmla="*/ 124547 w 218720"/>
                <a:gd name="connsiteY10" fmla="*/ 350331 h 359632"/>
                <a:gd name="connsiteX11" fmla="*/ 123771 w 218720"/>
                <a:gd name="connsiteY11" fmla="*/ 352219 h 359632"/>
                <a:gd name="connsiteX12" fmla="*/ 121745 w 218720"/>
                <a:gd name="connsiteY12" fmla="*/ 351582 h 359632"/>
                <a:gd name="connsiteX13" fmla="*/ 121587 w 218720"/>
                <a:gd name="connsiteY13" fmla="*/ 351086 h 359632"/>
                <a:gd name="connsiteX14" fmla="*/ 151070 w 218720"/>
                <a:gd name="connsiteY14" fmla="*/ 313354 h 359632"/>
                <a:gd name="connsiteX15" fmla="*/ 154798 w 218720"/>
                <a:gd name="connsiteY15" fmla="*/ 314483 h 359632"/>
                <a:gd name="connsiteX16" fmla="*/ 156537 w 218720"/>
                <a:gd name="connsiteY16" fmla="*/ 315778 h 359632"/>
                <a:gd name="connsiteX17" fmla="*/ 154684 w 218720"/>
                <a:gd name="connsiteY17" fmla="*/ 316783 h 359632"/>
                <a:gd name="connsiteX18" fmla="*/ 154099 w 218720"/>
                <a:gd name="connsiteY18" fmla="*/ 317960 h 359632"/>
                <a:gd name="connsiteX19" fmla="*/ 153651 w 218720"/>
                <a:gd name="connsiteY19" fmla="*/ 318425 h 359632"/>
                <a:gd name="connsiteX20" fmla="*/ 152426 w 218720"/>
                <a:gd name="connsiteY20" fmla="*/ 318728 h 359632"/>
                <a:gd name="connsiteX21" fmla="*/ 151214 w 218720"/>
                <a:gd name="connsiteY21" fmla="*/ 318736 h 359632"/>
                <a:gd name="connsiteX22" fmla="*/ 146592 w 218720"/>
                <a:gd name="connsiteY22" fmla="*/ 316373 h 359632"/>
                <a:gd name="connsiteX23" fmla="*/ 145528 w 218720"/>
                <a:gd name="connsiteY23" fmla="*/ 316480 h 359632"/>
                <a:gd name="connsiteX24" fmla="*/ 146584 w 218720"/>
                <a:gd name="connsiteY24" fmla="*/ 315397 h 359632"/>
                <a:gd name="connsiteX25" fmla="*/ 149455 w 218720"/>
                <a:gd name="connsiteY25" fmla="*/ 314517 h 359632"/>
                <a:gd name="connsiteX26" fmla="*/ 81441 w 218720"/>
                <a:gd name="connsiteY26" fmla="*/ 235014 h 359632"/>
                <a:gd name="connsiteX27" fmla="*/ 84683 w 218720"/>
                <a:gd name="connsiteY27" fmla="*/ 235075 h 359632"/>
                <a:gd name="connsiteX28" fmla="*/ 87299 w 218720"/>
                <a:gd name="connsiteY28" fmla="*/ 237958 h 359632"/>
                <a:gd name="connsiteX29" fmla="*/ 88226 w 218720"/>
                <a:gd name="connsiteY29" fmla="*/ 238517 h 359632"/>
                <a:gd name="connsiteX30" fmla="*/ 90559 w 218720"/>
                <a:gd name="connsiteY30" fmla="*/ 238429 h 359632"/>
                <a:gd name="connsiteX31" fmla="*/ 89787 w 218720"/>
                <a:gd name="connsiteY31" fmla="*/ 239675 h 359632"/>
                <a:gd name="connsiteX32" fmla="*/ 87220 w 218720"/>
                <a:gd name="connsiteY32" fmla="*/ 241064 h 359632"/>
                <a:gd name="connsiteX33" fmla="*/ 85490 w 218720"/>
                <a:gd name="connsiteY33" fmla="*/ 242434 h 359632"/>
                <a:gd name="connsiteX34" fmla="*/ 83402 w 218720"/>
                <a:gd name="connsiteY34" fmla="*/ 243581 h 359632"/>
                <a:gd name="connsiteX35" fmla="*/ 82389 w 218720"/>
                <a:gd name="connsiteY35" fmla="*/ 242265 h 359632"/>
                <a:gd name="connsiteX36" fmla="*/ 81214 w 218720"/>
                <a:gd name="connsiteY36" fmla="*/ 242315 h 359632"/>
                <a:gd name="connsiteX37" fmla="*/ 79418 w 218720"/>
                <a:gd name="connsiteY37" fmla="*/ 239791 h 359632"/>
                <a:gd name="connsiteX38" fmla="*/ 79094 w 218720"/>
                <a:gd name="connsiteY38" fmla="*/ 236001 h 359632"/>
                <a:gd name="connsiteX39" fmla="*/ 82259 w 218720"/>
                <a:gd name="connsiteY39" fmla="*/ 205081 h 359632"/>
                <a:gd name="connsiteX40" fmla="*/ 82904 w 218720"/>
                <a:gd name="connsiteY40" fmla="*/ 205211 h 359632"/>
                <a:gd name="connsiteX41" fmla="*/ 83310 w 218720"/>
                <a:gd name="connsiteY41" fmla="*/ 205526 h 359632"/>
                <a:gd name="connsiteX42" fmla="*/ 84177 w 218720"/>
                <a:gd name="connsiteY42" fmla="*/ 209288 h 359632"/>
                <a:gd name="connsiteX43" fmla="*/ 82976 w 218720"/>
                <a:gd name="connsiteY43" fmla="*/ 210618 h 359632"/>
                <a:gd name="connsiteX44" fmla="*/ 82539 w 218720"/>
                <a:gd name="connsiteY44" fmla="*/ 211836 h 359632"/>
                <a:gd name="connsiteX45" fmla="*/ 78068 w 218720"/>
                <a:gd name="connsiteY45" fmla="*/ 215684 h 359632"/>
                <a:gd name="connsiteX46" fmla="*/ 76259 w 218720"/>
                <a:gd name="connsiteY46" fmla="*/ 214993 h 359632"/>
                <a:gd name="connsiteX47" fmla="*/ 74718 w 218720"/>
                <a:gd name="connsiteY47" fmla="*/ 215358 h 359632"/>
                <a:gd name="connsiteX48" fmla="*/ 74285 w 218720"/>
                <a:gd name="connsiteY48" fmla="*/ 215248 h 359632"/>
                <a:gd name="connsiteX49" fmla="*/ 75165 w 218720"/>
                <a:gd name="connsiteY49" fmla="*/ 213859 h 359632"/>
                <a:gd name="connsiteX50" fmla="*/ 76200 w 218720"/>
                <a:gd name="connsiteY50" fmla="*/ 210633 h 359632"/>
                <a:gd name="connsiteX51" fmla="*/ 78055 w 218720"/>
                <a:gd name="connsiteY51" fmla="*/ 209353 h 359632"/>
                <a:gd name="connsiteX52" fmla="*/ 80403 w 218720"/>
                <a:gd name="connsiteY52" fmla="*/ 206010 h 359632"/>
                <a:gd name="connsiteX53" fmla="*/ 39128 w 218720"/>
                <a:gd name="connsiteY53" fmla="*/ 179485 h 359632"/>
                <a:gd name="connsiteX54" fmla="*/ 42247 w 218720"/>
                <a:gd name="connsiteY54" fmla="*/ 180254 h 359632"/>
                <a:gd name="connsiteX55" fmla="*/ 44571 w 218720"/>
                <a:gd name="connsiteY55" fmla="*/ 180238 h 359632"/>
                <a:gd name="connsiteX56" fmla="*/ 46635 w 218720"/>
                <a:gd name="connsiteY56" fmla="*/ 182483 h 359632"/>
                <a:gd name="connsiteX57" fmla="*/ 47742 w 218720"/>
                <a:gd name="connsiteY57" fmla="*/ 186017 h 359632"/>
                <a:gd name="connsiteX58" fmla="*/ 50319 w 218720"/>
                <a:gd name="connsiteY58" fmla="*/ 189504 h 359632"/>
                <a:gd name="connsiteX59" fmla="*/ 53688 w 218720"/>
                <a:gd name="connsiteY59" fmla="*/ 192534 h 359632"/>
                <a:gd name="connsiteX60" fmla="*/ 53822 w 218720"/>
                <a:gd name="connsiteY60" fmla="*/ 194385 h 359632"/>
                <a:gd name="connsiteX61" fmla="*/ 52619 w 218720"/>
                <a:gd name="connsiteY61" fmla="*/ 195378 h 359632"/>
                <a:gd name="connsiteX62" fmla="*/ 50100 w 218720"/>
                <a:gd name="connsiteY62" fmla="*/ 196612 h 359632"/>
                <a:gd name="connsiteX63" fmla="*/ 50111 w 218720"/>
                <a:gd name="connsiteY63" fmla="*/ 197930 h 359632"/>
                <a:gd name="connsiteX64" fmla="*/ 51772 w 218720"/>
                <a:gd name="connsiteY64" fmla="*/ 197265 h 359632"/>
                <a:gd name="connsiteX65" fmla="*/ 53206 w 218720"/>
                <a:gd name="connsiteY65" fmla="*/ 196958 h 359632"/>
                <a:gd name="connsiteX66" fmla="*/ 56658 w 218720"/>
                <a:gd name="connsiteY66" fmla="*/ 197253 h 359632"/>
                <a:gd name="connsiteX67" fmla="*/ 57865 w 218720"/>
                <a:gd name="connsiteY67" fmla="*/ 198593 h 359632"/>
                <a:gd name="connsiteX68" fmla="*/ 58699 w 218720"/>
                <a:gd name="connsiteY68" fmla="*/ 200597 h 359632"/>
                <a:gd name="connsiteX69" fmla="*/ 59137 w 218720"/>
                <a:gd name="connsiteY69" fmla="*/ 202242 h 359632"/>
                <a:gd name="connsiteX70" fmla="*/ 58839 w 218720"/>
                <a:gd name="connsiteY70" fmla="*/ 204029 h 359632"/>
                <a:gd name="connsiteX71" fmla="*/ 57910 w 218720"/>
                <a:gd name="connsiteY71" fmla="*/ 203463 h 359632"/>
                <a:gd name="connsiteX72" fmla="*/ 56966 w 218720"/>
                <a:gd name="connsiteY72" fmla="*/ 201864 h 359632"/>
                <a:gd name="connsiteX73" fmla="*/ 55918 w 218720"/>
                <a:gd name="connsiteY73" fmla="*/ 201127 h 359632"/>
                <a:gd name="connsiteX74" fmla="*/ 54699 w 218720"/>
                <a:gd name="connsiteY74" fmla="*/ 200729 h 359632"/>
                <a:gd name="connsiteX75" fmla="*/ 55252 w 218720"/>
                <a:gd name="connsiteY75" fmla="*/ 202924 h 359632"/>
                <a:gd name="connsiteX76" fmla="*/ 55034 w 218720"/>
                <a:gd name="connsiteY76" fmla="*/ 205857 h 359632"/>
                <a:gd name="connsiteX77" fmla="*/ 55566 w 218720"/>
                <a:gd name="connsiteY77" fmla="*/ 206133 h 359632"/>
                <a:gd name="connsiteX78" fmla="*/ 57204 w 218720"/>
                <a:gd name="connsiteY78" fmla="*/ 206184 h 359632"/>
                <a:gd name="connsiteX79" fmla="*/ 56121 w 218720"/>
                <a:gd name="connsiteY79" fmla="*/ 209183 h 359632"/>
                <a:gd name="connsiteX80" fmla="*/ 53882 w 218720"/>
                <a:gd name="connsiteY80" fmla="*/ 209996 h 359632"/>
                <a:gd name="connsiteX81" fmla="*/ 51270 w 218720"/>
                <a:gd name="connsiteY81" fmla="*/ 210300 h 359632"/>
                <a:gd name="connsiteX82" fmla="*/ 50640 w 218720"/>
                <a:gd name="connsiteY82" fmla="*/ 211361 h 359632"/>
                <a:gd name="connsiteX83" fmla="*/ 50166 w 218720"/>
                <a:gd name="connsiteY83" fmla="*/ 212727 h 359632"/>
                <a:gd name="connsiteX84" fmla="*/ 48803 w 218720"/>
                <a:gd name="connsiteY84" fmla="*/ 214762 h 359632"/>
                <a:gd name="connsiteX85" fmla="*/ 47005 w 218720"/>
                <a:gd name="connsiteY85" fmla="*/ 215909 h 359632"/>
                <a:gd name="connsiteX86" fmla="*/ 44783 w 218720"/>
                <a:gd name="connsiteY86" fmla="*/ 215678 h 359632"/>
                <a:gd name="connsiteX87" fmla="*/ 42606 w 218720"/>
                <a:gd name="connsiteY87" fmla="*/ 214772 h 359632"/>
                <a:gd name="connsiteX88" fmla="*/ 40712 w 218720"/>
                <a:gd name="connsiteY88" fmla="*/ 214586 h 359632"/>
                <a:gd name="connsiteX89" fmla="*/ 39385 w 218720"/>
                <a:gd name="connsiteY89" fmla="*/ 215125 h 359632"/>
                <a:gd name="connsiteX90" fmla="*/ 38524 w 218720"/>
                <a:gd name="connsiteY90" fmla="*/ 215625 h 359632"/>
                <a:gd name="connsiteX91" fmla="*/ 37691 w 218720"/>
                <a:gd name="connsiteY91" fmla="*/ 215534 h 359632"/>
                <a:gd name="connsiteX92" fmla="*/ 35306 w 218720"/>
                <a:gd name="connsiteY92" fmla="*/ 215727 h 359632"/>
                <a:gd name="connsiteX93" fmla="*/ 33058 w 218720"/>
                <a:gd name="connsiteY93" fmla="*/ 215686 h 359632"/>
                <a:gd name="connsiteX94" fmla="*/ 32739 w 218720"/>
                <a:gd name="connsiteY94" fmla="*/ 214892 h 359632"/>
                <a:gd name="connsiteX95" fmla="*/ 33122 w 218720"/>
                <a:gd name="connsiteY95" fmla="*/ 212503 h 359632"/>
                <a:gd name="connsiteX96" fmla="*/ 32622 w 218720"/>
                <a:gd name="connsiteY96" fmla="*/ 211855 h 359632"/>
                <a:gd name="connsiteX97" fmla="*/ 30475 w 218720"/>
                <a:gd name="connsiteY97" fmla="*/ 211524 h 359632"/>
                <a:gd name="connsiteX98" fmla="*/ 29679 w 218720"/>
                <a:gd name="connsiteY98" fmla="*/ 210954 h 359632"/>
                <a:gd name="connsiteX99" fmla="*/ 28446 w 218720"/>
                <a:gd name="connsiteY99" fmla="*/ 209302 h 359632"/>
                <a:gd name="connsiteX100" fmla="*/ 28206 w 218720"/>
                <a:gd name="connsiteY100" fmla="*/ 208528 h 359632"/>
                <a:gd name="connsiteX101" fmla="*/ 28029 w 218720"/>
                <a:gd name="connsiteY101" fmla="*/ 207461 h 359632"/>
                <a:gd name="connsiteX102" fmla="*/ 26726 w 218720"/>
                <a:gd name="connsiteY102" fmla="*/ 206083 h 359632"/>
                <a:gd name="connsiteX103" fmla="*/ 25144 w 218720"/>
                <a:gd name="connsiteY103" fmla="*/ 205096 h 359632"/>
                <a:gd name="connsiteX104" fmla="*/ 24215 w 218720"/>
                <a:gd name="connsiteY104" fmla="*/ 205048 h 359632"/>
                <a:gd name="connsiteX105" fmla="*/ 22362 w 218720"/>
                <a:gd name="connsiteY105" fmla="*/ 206660 h 359632"/>
                <a:gd name="connsiteX106" fmla="*/ 20834 w 218720"/>
                <a:gd name="connsiteY106" fmla="*/ 208292 h 359632"/>
                <a:gd name="connsiteX107" fmla="*/ 21377 w 218720"/>
                <a:gd name="connsiteY107" fmla="*/ 209111 h 359632"/>
                <a:gd name="connsiteX108" fmla="*/ 21876 w 218720"/>
                <a:gd name="connsiteY108" fmla="*/ 210189 h 359632"/>
                <a:gd name="connsiteX109" fmla="*/ 21045 w 218720"/>
                <a:gd name="connsiteY109" fmla="*/ 210961 h 359632"/>
                <a:gd name="connsiteX110" fmla="*/ 18532 w 218720"/>
                <a:gd name="connsiteY110" fmla="*/ 212728 h 359632"/>
                <a:gd name="connsiteX111" fmla="*/ 18139 w 218720"/>
                <a:gd name="connsiteY111" fmla="*/ 213414 h 359632"/>
                <a:gd name="connsiteX112" fmla="*/ 17461 w 218720"/>
                <a:gd name="connsiteY112" fmla="*/ 213785 h 359632"/>
                <a:gd name="connsiteX113" fmla="*/ 16261 w 218720"/>
                <a:gd name="connsiteY113" fmla="*/ 213296 h 359632"/>
                <a:gd name="connsiteX114" fmla="*/ 13276 w 218720"/>
                <a:gd name="connsiteY114" fmla="*/ 213409 h 359632"/>
                <a:gd name="connsiteX115" fmla="*/ 11902 w 218720"/>
                <a:gd name="connsiteY115" fmla="*/ 213097 h 359632"/>
                <a:gd name="connsiteX116" fmla="*/ 10305 w 218720"/>
                <a:gd name="connsiteY116" fmla="*/ 211796 h 359632"/>
                <a:gd name="connsiteX117" fmla="*/ 6410 w 218720"/>
                <a:gd name="connsiteY117" fmla="*/ 210925 h 359632"/>
                <a:gd name="connsiteX118" fmla="*/ 5757 w 218720"/>
                <a:gd name="connsiteY118" fmla="*/ 208841 h 359632"/>
                <a:gd name="connsiteX119" fmla="*/ 5005 w 218720"/>
                <a:gd name="connsiteY119" fmla="*/ 208451 h 359632"/>
                <a:gd name="connsiteX120" fmla="*/ 587 w 218720"/>
                <a:gd name="connsiteY120" fmla="*/ 204865 h 359632"/>
                <a:gd name="connsiteX121" fmla="*/ 0 w 218720"/>
                <a:gd name="connsiteY121" fmla="*/ 203667 h 359632"/>
                <a:gd name="connsiteX122" fmla="*/ 572 w 218720"/>
                <a:gd name="connsiteY122" fmla="*/ 202952 h 359632"/>
                <a:gd name="connsiteX123" fmla="*/ 2222 w 218720"/>
                <a:gd name="connsiteY123" fmla="*/ 201868 h 359632"/>
                <a:gd name="connsiteX124" fmla="*/ 7762 w 218720"/>
                <a:gd name="connsiteY124" fmla="*/ 200072 h 359632"/>
                <a:gd name="connsiteX125" fmla="*/ 8633 w 218720"/>
                <a:gd name="connsiteY125" fmla="*/ 199348 h 359632"/>
                <a:gd name="connsiteX126" fmla="*/ 8812 w 218720"/>
                <a:gd name="connsiteY126" fmla="*/ 198709 h 359632"/>
                <a:gd name="connsiteX127" fmla="*/ 7186 w 218720"/>
                <a:gd name="connsiteY127" fmla="*/ 197979 h 359632"/>
                <a:gd name="connsiteX128" fmla="*/ 5720 w 218720"/>
                <a:gd name="connsiteY128" fmla="*/ 197172 h 359632"/>
                <a:gd name="connsiteX129" fmla="*/ 5220 w 218720"/>
                <a:gd name="connsiteY129" fmla="*/ 196643 h 359632"/>
                <a:gd name="connsiteX130" fmla="*/ 5179 w 218720"/>
                <a:gd name="connsiteY130" fmla="*/ 196184 h 359632"/>
                <a:gd name="connsiteX131" fmla="*/ 6011 w 218720"/>
                <a:gd name="connsiteY131" fmla="*/ 195586 h 359632"/>
                <a:gd name="connsiteX132" fmla="*/ 7685 w 218720"/>
                <a:gd name="connsiteY132" fmla="*/ 195543 h 359632"/>
                <a:gd name="connsiteX133" fmla="*/ 9007 w 218720"/>
                <a:gd name="connsiteY133" fmla="*/ 195813 h 359632"/>
                <a:gd name="connsiteX134" fmla="*/ 10057 w 218720"/>
                <a:gd name="connsiteY134" fmla="*/ 195275 h 359632"/>
                <a:gd name="connsiteX135" fmla="*/ 11904 w 218720"/>
                <a:gd name="connsiteY135" fmla="*/ 194734 h 359632"/>
                <a:gd name="connsiteX136" fmla="*/ 13144 w 218720"/>
                <a:gd name="connsiteY136" fmla="*/ 194052 h 359632"/>
                <a:gd name="connsiteX137" fmla="*/ 14210 w 218720"/>
                <a:gd name="connsiteY137" fmla="*/ 192290 h 359632"/>
                <a:gd name="connsiteX138" fmla="*/ 15336 w 218720"/>
                <a:gd name="connsiteY138" fmla="*/ 190705 h 359632"/>
                <a:gd name="connsiteX139" fmla="*/ 15452 w 218720"/>
                <a:gd name="connsiteY139" fmla="*/ 189845 h 359632"/>
                <a:gd name="connsiteX140" fmla="*/ 16438 w 218720"/>
                <a:gd name="connsiteY140" fmla="*/ 186828 h 359632"/>
                <a:gd name="connsiteX141" fmla="*/ 16980 w 218720"/>
                <a:gd name="connsiteY141" fmla="*/ 186079 h 359632"/>
                <a:gd name="connsiteX142" fmla="*/ 20479 w 218720"/>
                <a:gd name="connsiteY142" fmla="*/ 184101 h 359632"/>
                <a:gd name="connsiteX143" fmla="*/ 21365 w 218720"/>
                <a:gd name="connsiteY143" fmla="*/ 185181 h 359632"/>
                <a:gd name="connsiteX144" fmla="*/ 23089 w 218720"/>
                <a:gd name="connsiteY144" fmla="*/ 185445 h 359632"/>
                <a:gd name="connsiteX145" fmla="*/ 24634 w 218720"/>
                <a:gd name="connsiteY145" fmla="*/ 184451 h 359632"/>
                <a:gd name="connsiteX146" fmla="*/ 26483 w 218720"/>
                <a:gd name="connsiteY146" fmla="*/ 181313 h 359632"/>
                <a:gd name="connsiteX147" fmla="*/ 27769 w 218720"/>
                <a:gd name="connsiteY147" fmla="*/ 181116 h 359632"/>
                <a:gd name="connsiteX148" fmla="*/ 29187 w 218720"/>
                <a:gd name="connsiteY148" fmla="*/ 181370 h 359632"/>
                <a:gd name="connsiteX149" fmla="*/ 31974 w 218720"/>
                <a:gd name="connsiteY149" fmla="*/ 180975 h 359632"/>
                <a:gd name="connsiteX150" fmla="*/ 36922 w 218720"/>
                <a:gd name="connsiteY150" fmla="*/ 179509 h 359632"/>
                <a:gd name="connsiteX151" fmla="*/ 63975 w 218720"/>
                <a:gd name="connsiteY151" fmla="*/ 164784 h 359632"/>
                <a:gd name="connsiteX152" fmla="*/ 65438 w 218720"/>
                <a:gd name="connsiteY152" fmla="*/ 165590 h 359632"/>
                <a:gd name="connsiteX153" fmla="*/ 65992 w 218720"/>
                <a:gd name="connsiteY153" fmla="*/ 166340 h 359632"/>
                <a:gd name="connsiteX154" fmla="*/ 67217 w 218720"/>
                <a:gd name="connsiteY154" fmla="*/ 169218 h 359632"/>
                <a:gd name="connsiteX155" fmla="*/ 67444 w 218720"/>
                <a:gd name="connsiteY155" fmla="*/ 171683 h 359632"/>
                <a:gd name="connsiteX156" fmla="*/ 67207 w 218720"/>
                <a:gd name="connsiteY156" fmla="*/ 173091 h 359632"/>
                <a:gd name="connsiteX157" fmla="*/ 64420 w 218720"/>
                <a:gd name="connsiteY157" fmla="*/ 173114 h 359632"/>
                <a:gd name="connsiteX158" fmla="*/ 63412 w 218720"/>
                <a:gd name="connsiteY158" fmla="*/ 172847 h 359632"/>
                <a:gd name="connsiteX159" fmla="*/ 62208 w 218720"/>
                <a:gd name="connsiteY159" fmla="*/ 172095 h 359632"/>
                <a:gd name="connsiteX160" fmla="*/ 60856 w 218720"/>
                <a:gd name="connsiteY160" fmla="*/ 167842 h 359632"/>
                <a:gd name="connsiteX161" fmla="*/ 61339 w 218720"/>
                <a:gd name="connsiteY161" fmla="*/ 166336 h 359632"/>
                <a:gd name="connsiteX162" fmla="*/ 61894 w 218720"/>
                <a:gd name="connsiteY162" fmla="*/ 165598 h 359632"/>
                <a:gd name="connsiteX163" fmla="*/ 62504 w 218720"/>
                <a:gd name="connsiteY163" fmla="*/ 165025 h 359632"/>
                <a:gd name="connsiteX164" fmla="*/ 44576 w 218720"/>
                <a:gd name="connsiteY164" fmla="*/ 158143 h 359632"/>
                <a:gd name="connsiteX165" fmla="*/ 45374 w 218720"/>
                <a:gd name="connsiteY165" fmla="*/ 162138 h 359632"/>
                <a:gd name="connsiteX166" fmla="*/ 46152 w 218720"/>
                <a:gd name="connsiteY166" fmla="*/ 164611 h 359632"/>
                <a:gd name="connsiteX167" fmla="*/ 46203 w 218720"/>
                <a:gd name="connsiteY167" fmla="*/ 165455 h 359632"/>
                <a:gd name="connsiteX168" fmla="*/ 45472 w 218720"/>
                <a:gd name="connsiteY168" fmla="*/ 166628 h 359632"/>
                <a:gd name="connsiteX169" fmla="*/ 41828 w 218720"/>
                <a:gd name="connsiteY169" fmla="*/ 168187 h 359632"/>
                <a:gd name="connsiteX170" fmla="*/ 40681 w 218720"/>
                <a:gd name="connsiteY170" fmla="*/ 168196 h 359632"/>
                <a:gd name="connsiteX171" fmla="*/ 40633 w 218720"/>
                <a:gd name="connsiteY171" fmla="*/ 167818 h 359632"/>
                <a:gd name="connsiteX172" fmla="*/ 41456 w 218720"/>
                <a:gd name="connsiteY172" fmla="*/ 166231 h 359632"/>
                <a:gd name="connsiteX173" fmla="*/ 40747 w 218720"/>
                <a:gd name="connsiteY173" fmla="*/ 164429 h 359632"/>
                <a:gd name="connsiteX174" fmla="*/ 41093 w 218720"/>
                <a:gd name="connsiteY174" fmla="*/ 163059 h 359632"/>
                <a:gd name="connsiteX175" fmla="*/ 40754 w 218720"/>
                <a:gd name="connsiteY175" fmla="*/ 162807 h 359632"/>
                <a:gd name="connsiteX176" fmla="*/ 40043 w 218720"/>
                <a:gd name="connsiteY176" fmla="*/ 163001 h 359632"/>
                <a:gd name="connsiteX177" fmla="*/ 37433 w 218720"/>
                <a:gd name="connsiteY177" fmla="*/ 165178 h 359632"/>
                <a:gd name="connsiteX178" fmla="*/ 36561 w 218720"/>
                <a:gd name="connsiteY178" fmla="*/ 165393 h 359632"/>
                <a:gd name="connsiteX179" fmla="*/ 36466 w 218720"/>
                <a:gd name="connsiteY179" fmla="*/ 164951 h 359632"/>
                <a:gd name="connsiteX180" fmla="*/ 37112 w 218720"/>
                <a:gd name="connsiteY180" fmla="*/ 163168 h 359632"/>
                <a:gd name="connsiteX181" fmla="*/ 37192 w 218720"/>
                <a:gd name="connsiteY181" fmla="*/ 161948 h 359632"/>
                <a:gd name="connsiteX182" fmla="*/ 37581 w 218720"/>
                <a:gd name="connsiteY182" fmla="*/ 161198 h 359632"/>
                <a:gd name="connsiteX183" fmla="*/ 38290 w 218720"/>
                <a:gd name="connsiteY183" fmla="*/ 160506 h 359632"/>
                <a:gd name="connsiteX184" fmla="*/ 39135 w 218720"/>
                <a:gd name="connsiteY184" fmla="*/ 159986 h 359632"/>
                <a:gd name="connsiteX185" fmla="*/ 39817 w 218720"/>
                <a:gd name="connsiteY185" fmla="*/ 159912 h 359632"/>
                <a:gd name="connsiteX186" fmla="*/ 40543 w 218720"/>
                <a:gd name="connsiteY186" fmla="*/ 160448 h 359632"/>
                <a:gd name="connsiteX187" fmla="*/ 42657 w 218720"/>
                <a:gd name="connsiteY187" fmla="*/ 158952 h 359632"/>
                <a:gd name="connsiteX188" fmla="*/ 52683 w 218720"/>
                <a:gd name="connsiteY188" fmla="*/ 152228 h 359632"/>
                <a:gd name="connsiteX189" fmla="*/ 53504 w 218720"/>
                <a:gd name="connsiteY189" fmla="*/ 152283 h 359632"/>
                <a:gd name="connsiteX190" fmla="*/ 51910 w 218720"/>
                <a:gd name="connsiteY190" fmla="*/ 155806 h 359632"/>
                <a:gd name="connsiteX191" fmla="*/ 48088 w 218720"/>
                <a:gd name="connsiteY191" fmla="*/ 161752 h 359632"/>
                <a:gd name="connsiteX192" fmla="*/ 47627 w 218720"/>
                <a:gd name="connsiteY192" fmla="*/ 162086 h 359632"/>
                <a:gd name="connsiteX193" fmla="*/ 46507 w 218720"/>
                <a:gd name="connsiteY193" fmla="*/ 161994 h 359632"/>
                <a:gd name="connsiteX194" fmla="*/ 46092 w 218720"/>
                <a:gd name="connsiteY194" fmla="*/ 161493 h 359632"/>
                <a:gd name="connsiteX195" fmla="*/ 45863 w 218720"/>
                <a:gd name="connsiteY195" fmla="*/ 160723 h 359632"/>
                <a:gd name="connsiteX196" fmla="*/ 45835 w 218720"/>
                <a:gd name="connsiteY196" fmla="*/ 159309 h 359632"/>
                <a:gd name="connsiteX197" fmla="*/ 46513 w 218720"/>
                <a:gd name="connsiteY197" fmla="*/ 158297 h 359632"/>
                <a:gd name="connsiteX198" fmla="*/ 49377 w 218720"/>
                <a:gd name="connsiteY198" fmla="*/ 156767 h 359632"/>
                <a:gd name="connsiteX199" fmla="*/ 48083 w 218720"/>
                <a:gd name="connsiteY199" fmla="*/ 156224 h 359632"/>
                <a:gd name="connsiteX200" fmla="*/ 48031 w 218720"/>
                <a:gd name="connsiteY200" fmla="*/ 155842 h 359632"/>
                <a:gd name="connsiteX201" fmla="*/ 48774 w 218720"/>
                <a:gd name="connsiteY201" fmla="*/ 154570 h 359632"/>
                <a:gd name="connsiteX202" fmla="*/ 51857 w 218720"/>
                <a:gd name="connsiteY202" fmla="*/ 152588 h 359632"/>
                <a:gd name="connsiteX203" fmla="*/ 44369 w 218720"/>
                <a:gd name="connsiteY203" fmla="*/ 135637 h 359632"/>
                <a:gd name="connsiteX204" fmla="*/ 45155 w 218720"/>
                <a:gd name="connsiteY204" fmla="*/ 135769 h 359632"/>
                <a:gd name="connsiteX205" fmla="*/ 46772 w 218720"/>
                <a:gd name="connsiteY205" fmla="*/ 136896 h 359632"/>
                <a:gd name="connsiteX206" fmla="*/ 48605 w 218720"/>
                <a:gd name="connsiteY206" fmla="*/ 139261 h 359632"/>
                <a:gd name="connsiteX207" fmla="*/ 51052 w 218720"/>
                <a:gd name="connsiteY207" fmla="*/ 139637 h 359632"/>
                <a:gd name="connsiteX208" fmla="*/ 52715 w 218720"/>
                <a:gd name="connsiteY208" fmla="*/ 140638 h 359632"/>
                <a:gd name="connsiteX209" fmla="*/ 52338 w 218720"/>
                <a:gd name="connsiteY209" fmla="*/ 145224 h 359632"/>
                <a:gd name="connsiteX210" fmla="*/ 43531 w 218720"/>
                <a:gd name="connsiteY210" fmla="*/ 146965 h 359632"/>
                <a:gd name="connsiteX211" fmla="*/ 40496 w 218720"/>
                <a:gd name="connsiteY211" fmla="*/ 146811 h 359632"/>
                <a:gd name="connsiteX212" fmla="*/ 40222 w 218720"/>
                <a:gd name="connsiteY212" fmla="*/ 145957 h 359632"/>
                <a:gd name="connsiteX213" fmla="*/ 40826 w 218720"/>
                <a:gd name="connsiteY213" fmla="*/ 145386 h 359632"/>
                <a:gd name="connsiteX214" fmla="*/ 43339 w 218720"/>
                <a:gd name="connsiteY214" fmla="*/ 144831 h 359632"/>
                <a:gd name="connsiteX215" fmla="*/ 44356 w 218720"/>
                <a:gd name="connsiteY215" fmla="*/ 140639 h 359632"/>
                <a:gd name="connsiteX216" fmla="*/ 40557 w 218720"/>
                <a:gd name="connsiteY216" fmla="*/ 138708 h 359632"/>
                <a:gd name="connsiteX217" fmla="*/ 40358 w 218720"/>
                <a:gd name="connsiteY217" fmla="*/ 138165 h 359632"/>
                <a:gd name="connsiteX218" fmla="*/ 40655 w 218720"/>
                <a:gd name="connsiteY218" fmla="*/ 137243 h 359632"/>
                <a:gd name="connsiteX219" fmla="*/ 41095 w 218720"/>
                <a:gd name="connsiteY219" fmla="*/ 136832 h 359632"/>
                <a:gd name="connsiteX220" fmla="*/ 43400 w 218720"/>
                <a:gd name="connsiteY220" fmla="*/ 135854 h 359632"/>
                <a:gd name="connsiteX221" fmla="*/ 36236 w 218720"/>
                <a:gd name="connsiteY221" fmla="*/ 134929 h 359632"/>
                <a:gd name="connsiteX222" fmla="*/ 36731 w 218720"/>
                <a:gd name="connsiteY222" fmla="*/ 135137 h 359632"/>
                <a:gd name="connsiteX223" fmla="*/ 35705 w 218720"/>
                <a:gd name="connsiteY223" fmla="*/ 136368 h 359632"/>
                <a:gd name="connsiteX224" fmla="*/ 33991 w 218720"/>
                <a:gd name="connsiteY224" fmla="*/ 137675 h 359632"/>
                <a:gd name="connsiteX225" fmla="*/ 32734 w 218720"/>
                <a:gd name="connsiteY225" fmla="*/ 137850 h 359632"/>
                <a:gd name="connsiteX226" fmla="*/ 32643 w 218720"/>
                <a:gd name="connsiteY226" fmla="*/ 137405 h 359632"/>
                <a:gd name="connsiteX227" fmla="*/ 34824 w 218720"/>
                <a:gd name="connsiteY227" fmla="*/ 135279 h 359632"/>
                <a:gd name="connsiteX228" fmla="*/ 15243 w 218720"/>
                <a:gd name="connsiteY228" fmla="*/ 124000 h 359632"/>
                <a:gd name="connsiteX229" fmla="*/ 16322 w 218720"/>
                <a:gd name="connsiteY229" fmla="*/ 124589 h 359632"/>
                <a:gd name="connsiteX230" fmla="*/ 16493 w 218720"/>
                <a:gd name="connsiteY230" fmla="*/ 125125 h 359632"/>
                <a:gd name="connsiteX231" fmla="*/ 16096 w 218720"/>
                <a:gd name="connsiteY231" fmla="*/ 125691 h 359632"/>
                <a:gd name="connsiteX232" fmla="*/ 14152 w 218720"/>
                <a:gd name="connsiteY232" fmla="*/ 126126 h 359632"/>
                <a:gd name="connsiteX233" fmla="*/ 13431 w 218720"/>
                <a:gd name="connsiteY233" fmla="*/ 125871 h 359632"/>
                <a:gd name="connsiteX234" fmla="*/ 13308 w 218720"/>
                <a:gd name="connsiteY234" fmla="*/ 125472 h 359632"/>
                <a:gd name="connsiteX235" fmla="*/ 13751 w 218720"/>
                <a:gd name="connsiteY235" fmla="*/ 124384 h 359632"/>
                <a:gd name="connsiteX236" fmla="*/ 40298 w 218720"/>
                <a:gd name="connsiteY236" fmla="*/ 123001 h 359632"/>
                <a:gd name="connsiteX237" fmla="*/ 41274 w 218720"/>
                <a:gd name="connsiteY237" fmla="*/ 123606 h 359632"/>
                <a:gd name="connsiteX238" fmla="*/ 41649 w 218720"/>
                <a:gd name="connsiteY238" fmla="*/ 124298 h 359632"/>
                <a:gd name="connsiteX239" fmla="*/ 41665 w 218720"/>
                <a:gd name="connsiteY239" fmla="*/ 125065 h 359632"/>
                <a:gd name="connsiteX240" fmla="*/ 41256 w 218720"/>
                <a:gd name="connsiteY240" fmla="*/ 125714 h 359632"/>
                <a:gd name="connsiteX241" fmla="*/ 40600 w 218720"/>
                <a:gd name="connsiteY241" fmla="*/ 126121 h 359632"/>
                <a:gd name="connsiteX242" fmla="*/ 39770 w 218720"/>
                <a:gd name="connsiteY242" fmla="*/ 126043 h 359632"/>
                <a:gd name="connsiteX243" fmla="*/ 38948 w 218720"/>
                <a:gd name="connsiteY243" fmla="*/ 125518 h 359632"/>
                <a:gd name="connsiteX244" fmla="*/ 37860 w 218720"/>
                <a:gd name="connsiteY244" fmla="*/ 124032 h 359632"/>
                <a:gd name="connsiteX245" fmla="*/ 18761 w 218720"/>
                <a:gd name="connsiteY245" fmla="*/ 112439 h 359632"/>
                <a:gd name="connsiteX246" fmla="*/ 19407 w 218720"/>
                <a:gd name="connsiteY246" fmla="*/ 112818 h 359632"/>
                <a:gd name="connsiteX247" fmla="*/ 19840 w 218720"/>
                <a:gd name="connsiteY247" fmla="*/ 120602 h 359632"/>
                <a:gd name="connsiteX248" fmla="*/ 19790 w 218720"/>
                <a:gd name="connsiteY248" fmla="*/ 120951 h 359632"/>
                <a:gd name="connsiteX249" fmla="*/ 18857 w 218720"/>
                <a:gd name="connsiteY249" fmla="*/ 121127 h 359632"/>
                <a:gd name="connsiteX250" fmla="*/ 17632 w 218720"/>
                <a:gd name="connsiteY250" fmla="*/ 120957 h 359632"/>
                <a:gd name="connsiteX251" fmla="*/ 16879 w 218720"/>
                <a:gd name="connsiteY251" fmla="*/ 120465 h 359632"/>
                <a:gd name="connsiteX252" fmla="*/ 16117 w 218720"/>
                <a:gd name="connsiteY252" fmla="*/ 118518 h 359632"/>
                <a:gd name="connsiteX253" fmla="*/ 15975 w 218720"/>
                <a:gd name="connsiteY253" fmla="*/ 117339 h 359632"/>
                <a:gd name="connsiteX254" fmla="*/ 16314 w 218720"/>
                <a:gd name="connsiteY254" fmla="*/ 115145 h 359632"/>
                <a:gd name="connsiteX255" fmla="*/ 16236 w 218720"/>
                <a:gd name="connsiteY255" fmla="*/ 112521 h 359632"/>
                <a:gd name="connsiteX256" fmla="*/ 40661 w 218720"/>
                <a:gd name="connsiteY256" fmla="*/ 103259 h 359632"/>
                <a:gd name="connsiteX257" fmla="*/ 41966 w 218720"/>
                <a:gd name="connsiteY257" fmla="*/ 103921 h 359632"/>
                <a:gd name="connsiteX258" fmla="*/ 43754 w 218720"/>
                <a:gd name="connsiteY258" fmla="*/ 106023 h 359632"/>
                <a:gd name="connsiteX259" fmla="*/ 44226 w 218720"/>
                <a:gd name="connsiteY259" fmla="*/ 108582 h 359632"/>
                <a:gd name="connsiteX260" fmla="*/ 44195 w 218720"/>
                <a:gd name="connsiteY260" fmla="*/ 109988 h 359632"/>
                <a:gd name="connsiteX261" fmla="*/ 43805 w 218720"/>
                <a:gd name="connsiteY261" fmla="*/ 111640 h 359632"/>
                <a:gd name="connsiteX262" fmla="*/ 44313 w 218720"/>
                <a:gd name="connsiteY262" fmla="*/ 113393 h 359632"/>
                <a:gd name="connsiteX263" fmla="*/ 44429 w 218720"/>
                <a:gd name="connsiteY263" fmla="*/ 114645 h 359632"/>
                <a:gd name="connsiteX264" fmla="*/ 45361 w 218720"/>
                <a:gd name="connsiteY264" fmla="*/ 115043 h 359632"/>
                <a:gd name="connsiteX265" fmla="*/ 45931 w 218720"/>
                <a:gd name="connsiteY265" fmla="*/ 115619 h 359632"/>
                <a:gd name="connsiteX266" fmla="*/ 50074 w 218720"/>
                <a:gd name="connsiteY266" fmla="*/ 116264 h 359632"/>
                <a:gd name="connsiteX267" fmla="*/ 53927 w 218720"/>
                <a:gd name="connsiteY267" fmla="*/ 116083 h 359632"/>
                <a:gd name="connsiteX268" fmla="*/ 54669 w 218720"/>
                <a:gd name="connsiteY268" fmla="*/ 116598 h 359632"/>
                <a:gd name="connsiteX269" fmla="*/ 54753 w 218720"/>
                <a:gd name="connsiteY269" fmla="*/ 117416 h 359632"/>
                <a:gd name="connsiteX270" fmla="*/ 54144 w 218720"/>
                <a:gd name="connsiteY270" fmla="*/ 118318 h 359632"/>
                <a:gd name="connsiteX271" fmla="*/ 51950 w 218720"/>
                <a:gd name="connsiteY271" fmla="*/ 119963 h 359632"/>
                <a:gd name="connsiteX272" fmla="*/ 49333 w 218720"/>
                <a:gd name="connsiteY272" fmla="*/ 122618 h 359632"/>
                <a:gd name="connsiteX273" fmla="*/ 48553 w 218720"/>
                <a:gd name="connsiteY273" fmla="*/ 123171 h 359632"/>
                <a:gd name="connsiteX274" fmla="*/ 47707 w 218720"/>
                <a:gd name="connsiteY274" fmla="*/ 123194 h 359632"/>
                <a:gd name="connsiteX275" fmla="*/ 47100 w 218720"/>
                <a:gd name="connsiteY275" fmla="*/ 122956 h 359632"/>
                <a:gd name="connsiteX276" fmla="*/ 46666 w 218720"/>
                <a:gd name="connsiteY276" fmla="*/ 118230 h 359632"/>
                <a:gd name="connsiteX277" fmla="*/ 43828 w 218720"/>
                <a:gd name="connsiteY277" fmla="*/ 118835 h 359632"/>
                <a:gd name="connsiteX278" fmla="*/ 41542 w 218720"/>
                <a:gd name="connsiteY278" fmla="*/ 118766 h 359632"/>
                <a:gd name="connsiteX279" fmla="*/ 40291 w 218720"/>
                <a:gd name="connsiteY279" fmla="*/ 118190 h 359632"/>
                <a:gd name="connsiteX280" fmla="*/ 39413 w 218720"/>
                <a:gd name="connsiteY280" fmla="*/ 117080 h 359632"/>
                <a:gd name="connsiteX281" fmla="*/ 37643 w 218720"/>
                <a:gd name="connsiteY281" fmla="*/ 114224 h 359632"/>
                <a:gd name="connsiteX282" fmla="*/ 32491 w 218720"/>
                <a:gd name="connsiteY282" fmla="*/ 113100 h 359632"/>
                <a:gd name="connsiteX283" fmla="*/ 31034 w 218720"/>
                <a:gd name="connsiteY283" fmla="*/ 111525 h 359632"/>
                <a:gd name="connsiteX284" fmla="*/ 30596 w 218720"/>
                <a:gd name="connsiteY284" fmla="*/ 110573 h 359632"/>
                <a:gd name="connsiteX285" fmla="*/ 30782 w 218720"/>
                <a:gd name="connsiteY285" fmla="*/ 110047 h 359632"/>
                <a:gd name="connsiteX286" fmla="*/ 31855 w 218720"/>
                <a:gd name="connsiteY286" fmla="*/ 108875 h 359632"/>
                <a:gd name="connsiteX287" fmla="*/ 33198 w 218720"/>
                <a:gd name="connsiteY287" fmla="*/ 109293 h 359632"/>
                <a:gd name="connsiteX288" fmla="*/ 34029 w 218720"/>
                <a:gd name="connsiteY288" fmla="*/ 109037 h 359632"/>
                <a:gd name="connsiteX289" fmla="*/ 34535 w 218720"/>
                <a:gd name="connsiteY289" fmla="*/ 108513 h 359632"/>
                <a:gd name="connsiteX290" fmla="*/ 34524 w 218720"/>
                <a:gd name="connsiteY290" fmla="*/ 108083 h 359632"/>
                <a:gd name="connsiteX291" fmla="*/ 33821 w 218720"/>
                <a:gd name="connsiteY291" fmla="*/ 107061 h 359632"/>
                <a:gd name="connsiteX292" fmla="*/ 33788 w 218720"/>
                <a:gd name="connsiteY292" fmla="*/ 106743 h 359632"/>
                <a:gd name="connsiteX293" fmla="*/ 39057 w 218720"/>
                <a:gd name="connsiteY293" fmla="*/ 105449 h 359632"/>
                <a:gd name="connsiteX294" fmla="*/ 39517 w 218720"/>
                <a:gd name="connsiteY294" fmla="*/ 103424 h 359632"/>
                <a:gd name="connsiteX295" fmla="*/ 20769 w 218720"/>
                <a:gd name="connsiteY295" fmla="*/ 102908 h 359632"/>
                <a:gd name="connsiteX296" fmla="*/ 23263 w 218720"/>
                <a:gd name="connsiteY296" fmla="*/ 104705 h 359632"/>
                <a:gd name="connsiteX297" fmla="*/ 21276 w 218720"/>
                <a:gd name="connsiteY297" fmla="*/ 107680 h 359632"/>
                <a:gd name="connsiteX298" fmla="*/ 18226 w 218720"/>
                <a:gd name="connsiteY298" fmla="*/ 107666 h 359632"/>
                <a:gd name="connsiteX299" fmla="*/ 13932 w 218720"/>
                <a:gd name="connsiteY299" fmla="*/ 105492 h 359632"/>
                <a:gd name="connsiteX300" fmla="*/ 13913 w 218720"/>
                <a:gd name="connsiteY300" fmla="*/ 105049 h 359632"/>
                <a:gd name="connsiteX301" fmla="*/ 14271 w 218720"/>
                <a:gd name="connsiteY301" fmla="*/ 104396 h 359632"/>
                <a:gd name="connsiteX302" fmla="*/ 14915 w 218720"/>
                <a:gd name="connsiteY302" fmla="*/ 103879 h 359632"/>
                <a:gd name="connsiteX303" fmla="*/ 15584 w 218720"/>
                <a:gd name="connsiteY303" fmla="*/ 103756 h 359632"/>
                <a:gd name="connsiteX304" fmla="*/ 16649 w 218720"/>
                <a:gd name="connsiteY304" fmla="*/ 104113 h 359632"/>
                <a:gd name="connsiteX305" fmla="*/ 18131 w 218720"/>
                <a:gd name="connsiteY305" fmla="*/ 103541 h 359632"/>
                <a:gd name="connsiteX306" fmla="*/ 19318 w 218720"/>
                <a:gd name="connsiteY306" fmla="*/ 103722 h 359632"/>
                <a:gd name="connsiteX307" fmla="*/ 42176 w 218720"/>
                <a:gd name="connsiteY307" fmla="*/ 76583 h 359632"/>
                <a:gd name="connsiteX308" fmla="*/ 42574 w 218720"/>
                <a:gd name="connsiteY308" fmla="*/ 77039 h 359632"/>
                <a:gd name="connsiteX309" fmla="*/ 43131 w 218720"/>
                <a:gd name="connsiteY309" fmla="*/ 78770 h 359632"/>
                <a:gd name="connsiteX310" fmla="*/ 43033 w 218720"/>
                <a:gd name="connsiteY310" fmla="*/ 81087 h 359632"/>
                <a:gd name="connsiteX311" fmla="*/ 40222 w 218720"/>
                <a:gd name="connsiteY311" fmla="*/ 86702 h 359632"/>
                <a:gd name="connsiteX312" fmla="*/ 39121 w 218720"/>
                <a:gd name="connsiteY312" fmla="*/ 86840 h 359632"/>
                <a:gd name="connsiteX313" fmla="*/ 38155 w 218720"/>
                <a:gd name="connsiteY313" fmla="*/ 88241 h 359632"/>
                <a:gd name="connsiteX314" fmla="*/ 35163 w 218720"/>
                <a:gd name="connsiteY314" fmla="*/ 89786 h 359632"/>
                <a:gd name="connsiteX315" fmla="*/ 37774 w 218720"/>
                <a:gd name="connsiteY315" fmla="*/ 89818 h 359632"/>
                <a:gd name="connsiteX316" fmla="*/ 38507 w 218720"/>
                <a:gd name="connsiteY316" fmla="*/ 90332 h 359632"/>
                <a:gd name="connsiteX317" fmla="*/ 38528 w 218720"/>
                <a:gd name="connsiteY317" fmla="*/ 91440 h 359632"/>
                <a:gd name="connsiteX318" fmla="*/ 38025 w 218720"/>
                <a:gd name="connsiteY318" fmla="*/ 92084 h 359632"/>
                <a:gd name="connsiteX319" fmla="*/ 34643 w 218720"/>
                <a:gd name="connsiteY319" fmla="*/ 94646 h 359632"/>
                <a:gd name="connsiteX320" fmla="*/ 32317 w 218720"/>
                <a:gd name="connsiteY320" fmla="*/ 95617 h 359632"/>
                <a:gd name="connsiteX321" fmla="*/ 29812 w 218720"/>
                <a:gd name="connsiteY321" fmla="*/ 98289 h 359632"/>
                <a:gd name="connsiteX322" fmla="*/ 28548 w 218720"/>
                <a:gd name="connsiteY322" fmla="*/ 98322 h 359632"/>
                <a:gd name="connsiteX323" fmla="*/ 27296 w 218720"/>
                <a:gd name="connsiteY323" fmla="*/ 100020 h 359632"/>
                <a:gd name="connsiteX324" fmla="*/ 26266 w 218720"/>
                <a:gd name="connsiteY324" fmla="*/ 100766 h 359632"/>
                <a:gd name="connsiteX325" fmla="*/ 25688 w 218720"/>
                <a:gd name="connsiteY325" fmla="*/ 100768 h 359632"/>
                <a:gd name="connsiteX326" fmla="*/ 25023 w 218720"/>
                <a:gd name="connsiteY326" fmla="*/ 100392 h 359632"/>
                <a:gd name="connsiteX327" fmla="*/ 23469 w 218720"/>
                <a:gd name="connsiteY327" fmla="*/ 98730 h 359632"/>
                <a:gd name="connsiteX328" fmla="*/ 26288 w 218720"/>
                <a:gd name="connsiteY328" fmla="*/ 97094 h 359632"/>
                <a:gd name="connsiteX329" fmla="*/ 26549 w 218720"/>
                <a:gd name="connsiteY329" fmla="*/ 96174 h 359632"/>
                <a:gd name="connsiteX330" fmla="*/ 28480 w 218720"/>
                <a:gd name="connsiteY330" fmla="*/ 95217 h 359632"/>
                <a:gd name="connsiteX331" fmla="*/ 28318 w 218720"/>
                <a:gd name="connsiteY331" fmla="*/ 94918 h 359632"/>
                <a:gd name="connsiteX332" fmla="*/ 25258 w 218720"/>
                <a:gd name="connsiteY332" fmla="*/ 93571 h 359632"/>
                <a:gd name="connsiteX333" fmla="*/ 24052 w 218720"/>
                <a:gd name="connsiteY333" fmla="*/ 92664 h 359632"/>
                <a:gd name="connsiteX334" fmla="*/ 24166 w 218720"/>
                <a:gd name="connsiteY334" fmla="*/ 92190 h 359632"/>
                <a:gd name="connsiteX335" fmla="*/ 25639 w 218720"/>
                <a:gd name="connsiteY335" fmla="*/ 91147 h 359632"/>
                <a:gd name="connsiteX336" fmla="*/ 24941 w 218720"/>
                <a:gd name="connsiteY336" fmla="*/ 91009 h 359632"/>
                <a:gd name="connsiteX337" fmla="*/ 24469 w 218720"/>
                <a:gd name="connsiteY337" fmla="*/ 90446 h 359632"/>
                <a:gd name="connsiteX338" fmla="*/ 23614 w 218720"/>
                <a:gd name="connsiteY338" fmla="*/ 90232 h 359632"/>
                <a:gd name="connsiteX339" fmla="*/ 23358 w 218720"/>
                <a:gd name="connsiteY339" fmla="*/ 89707 h 359632"/>
                <a:gd name="connsiteX340" fmla="*/ 23200 w 218720"/>
                <a:gd name="connsiteY340" fmla="*/ 88328 h 359632"/>
                <a:gd name="connsiteX341" fmla="*/ 23429 w 218720"/>
                <a:gd name="connsiteY341" fmla="*/ 86917 h 359632"/>
                <a:gd name="connsiteX342" fmla="*/ 24321 w 218720"/>
                <a:gd name="connsiteY342" fmla="*/ 86294 h 359632"/>
                <a:gd name="connsiteX343" fmla="*/ 24686 w 218720"/>
                <a:gd name="connsiteY343" fmla="*/ 85626 h 359632"/>
                <a:gd name="connsiteX344" fmla="*/ 25047 w 218720"/>
                <a:gd name="connsiteY344" fmla="*/ 85421 h 359632"/>
                <a:gd name="connsiteX345" fmla="*/ 26429 w 218720"/>
                <a:gd name="connsiteY345" fmla="*/ 85776 h 359632"/>
                <a:gd name="connsiteX346" fmla="*/ 27830 w 218720"/>
                <a:gd name="connsiteY346" fmla="*/ 86905 h 359632"/>
                <a:gd name="connsiteX347" fmla="*/ 29465 w 218720"/>
                <a:gd name="connsiteY347" fmla="*/ 86470 h 359632"/>
                <a:gd name="connsiteX348" fmla="*/ 31363 w 218720"/>
                <a:gd name="connsiteY348" fmla="*/ 86685 h 359632"/>
                <a:gd name="connsiteX349" fmla="*/ 31402 w 218720"/>
                <a:gd name="connsiteY349" fmla="*/ 86423 h 359632"/>
                <a:gd name="connsiteX350" fmla="*/ 30008 w 218720"/>
                <a:gd name="connsiteY350" fmla="*/ 83645 h 359632"/>
                <a:gd name="connsiteX351" fmla="*/ 30257 w 218720"/>
                <a:gd name="connsiteY351" fmla="*/ 83077 h 359632"/>
                <a:gd name="connsiteX352" fmla="*/ 31013 w 218720"/>
                <a:gd name="connsiteY352" fmla="*/ 82429 h 359632"/>
                <a:gd name="connsiteX353" fmla="*/ 35393 w 218720"/>
                <a:gd name="connsiteY353" fmla="*/ 80446 h 359632"/>
                <a:gd name="connsiteX354" fmla="*/ 40855 w 218720"/>
                <a:gd name="connsiteY354" fmla="*/ 77107 h 359632"/>
                <a:gd name="connsiteX355" fmla="*/ 108033 w 218720"/>
                <a:gd name="connsiteY355" fmla="*/ 71824 h 359632"/>
                <a:gd name="connsiteX356" fmla="*/ 112589 w 218720"/>
                <a:gd name="connsiteY356" fmla="*/ 72316 h 359632"/>
                <a:gd name="connsiteX357" fmla="*/ 112741 w 218720"/>
                <a:gd name="connsiteY357" fmla="*/ 72940 h 359632"/>
                <a:gd name="connsiteX358" fmla="*/ 112503 w 218720"/>
                <a:gd name="connsiteY358" fmla="*/ 73806 h 359632"/>
                <a:gd name="connsiteX359" fmla="*/ 111337 w 218720"/>
                <a:gd name="connsiteY359" fmla="*/ 76175 h 359632"/>
                <a:gd name="connsiteX360" fmla="*/ 111527 w 218720"/>
                <a:gd name="connsiteY360" fmla="*/ 78816 h 359632"/>
                <a:gd name="connsiteX361" fmla="*/ 111267 w 218720"/>
                <a:gd name="connsiteY361" fmla="*/ 79616 h 359632"/>
                <a:gd name="connsiteX362" fmla="*/ 110738 w 218720"/>
                <a:gd name="connsiteY362" fmla="*/ 80602 h 359632"/>
                <a:gd name="connsiteX363" fmla="*/ 109067 w 218720"/>
                <a:gd name="connsiteY363" fmla="*/ 82442 h 359632"/>
                <a:gd name="connsiteX364" fmla="*/ 104675 w 218720"/>
                <a:gd name="connsiteY364" fmla="*/ 85069 h 359632"/>
                <a:gd name="connsiteX365" fmla="*/ 96626 w 218720"/>
                <a:gd name="connsiteY365" fmla="*/ 91095 h 359632"/>
                <a:gd name="connsiteX366" fmla="*/ 91871 w 218720"/>
                <a:gd name="connsiteY366" fmla="*/ 94080 h 359632"/>
                <a:gd name="connsiteX367" fmla="*/ 91217 w 218720"/>
                <a:gd name="connsiteY367" fmla="*/ 95514 h 359632"/>
                <a:gd name="connsiteX368" fmla="*/ 90864 w 218720"/>
                <a:gd name="connsiteY368" fmla="*/ 97507 h 359632"/>
                <a:gd name="connsiteX369" fmla="*/ 93711 w 218720"/>
                <a:gd name="connsiteY369" fmla="*/ 97902 h 359632"/>
                <a:gd name="connsiteX370" fmla="*/ 94810 w 218720"/>
                <a:gd name="connsiteY370" fmla="*/ 98577 h 359632"/>
                <a:gd name="connsiteX371" fmla="*/ 94128 w 218720"/>
                <a:gd name="connsiteY371" fmla="*/ 99588 h 359632"/>
                <a:gd name="connsiteX372" fmla="*/ 89917 w 218720"/>
                <a:gd name="connsiteY372" fmla="*/ 103097 h 359632"/>
                <a:gd name="connsiteX373" fmla="*/ 88676 w 218720"/>
                <a:gd name="connsiteY373" fmla="*/ 106264 h 359632"/>
                <a:gd name="connsiteX374" fmla="*/ 91905 w 218720"/>
                <a:gd name="connsiteY374" fmla="*/ 106152 h 359632"/>
                <a:gd name="connsiteX375" fmla="*/ 94566 w 218720"/>
                <a:gd name="connsiteY375" fmla="*/ 105544 h 359632"/>
                <a:gd name="connsiteX376" fmla="*/ 99872 w 218720"/>
                <a:gd name="connsiteY376" fmla="*/ 103569 h 359632"/>
                <a:gd name="connsiteX377" fmla="*/ 104856 w 218720"/>
                <a:gd name="connsiteY377" fmla="*/ 102101 h 359632"/>
                <a:gd name="connsiteX378" fmla="*/ 107250 w 218720"/>
                <a:gd name="connsiteY378" fmla="*/ 102040 h 359632"/>
                <a:gd name="connsiteX379" fmla="*/ 111907 w 218720"/>
                <a:gd name="connsiteY379" fmla="*/ 103211 h 359632"/>
                <a:gd name="connsiteX380" fmla="*/ 112966 w 218720"/>
                <a:gd name="connsiteY380" fmla="*/ 103248 h 359632"/>
                <a:gd name="connsiteX381" fmla="*/ 114942 w 218720"/>
                <a:gd name="connsiteY381" fmla="*/ 102707 h 359632"/>
                <a:gd name="connsiteX382" fmla="*/ 116940 w 218720"/>
                <a:gd name="connsiteY382" fmla="*/ 102611 h 359632"/>
                <a:gd name="connsiteX383" fmla="*/ 130476 w 218720"/>
                <a:gd name="connsiteY383" fmla="*/ 102975 h 359632"/>
                <a:gd name="connsiteX384" fmla="*/ 134237 w 218720"/>
                <a:gd name="connsiteY384" fmla="*/ 102288 h 359632"/>
                <a:gd name="connsiteX385" fmla="*/ 136725 w 218720"/>
                <a:gd name="connsiteY385" fmla="*/ 103110 h 359632"/>
                <a:gd name="connsiteX386" fmla="*/ 138807 w 218720"/>
                <a:gd name="connsiteY386" fmla="*/ 105161 h 359632"/>
                <a:gd name="connsiteX387" fmla="*/ 140785 w 218720"/>
                <a:gd name="connsiteY387" fmla="*/ 108939 h 359632"/>
                <a:gd name="connsiteX388" fmla="*/ 140725 w 218720"/>
                <a:gd name="connsiteY388" fmla="*/ 109567 h 359632"/>
                <a:gd name="connsiteX389" fmla="*/ 139530 w 218720"/>
                <a:gd name="connsiteY389" fmla="*/ 111286 h 359632"/>
                <a:gd name="connsiteX390" fmla="*/ 137324 w 218720"/>
                <a:gd name="connsiteY390" fmla="*/ 113440 h 359632"/>
                <a:gd name="connsiteX391" fmla="*/ 135426 w 218720"/>
                <a:gd name="connsiteY391" fmla="*/ 116402 h 359632"/>
                <a:gd name="connsiteX392" fmla="*/ 134869 w 218720"/>
                <a:gd name="connsiteY392" fmla="*/ 117998 h 359632"/>
                <a:gd name="connsiteX393" fmla="*/ 134496 w 218720"/>
                <a:gd name="connsiteY393" fmla="*/ 119743 h 359632"/>
                <a:gd name="connsiteX394" fmla="*/ 133895 w 218720"/>
                <a:gd name="connsiteY394" fmla="*/ 121356 h 359632"/>
                <a:gd name="connsiteX395" fmla="*/ 130120 w 218720"/>
                <a:gd name="connsiteY395" fmla="*/ 128914 h 359632"/>
                <a:gd name="connsiteX396" fmla="*/ 126440 w 218720"/>
                <a:gd name="connsiteY396" fmla="*/ 133093 h 359632"/>
                <a:gd name="connsiteX397" fmla="*/ 124797 w 218720"/>
                <a:gd name="connsiteY397" fmla="*/ 136055 h 359632"/>
                <a:gd name="connsiteX398" fmla="*/ 122769 w 218720"/>
                <a:gd name="connsiteY398" fmla="*/ 138412 h 359632"/>
                <a:gd name="connsiteX399" fmla="*/ 120818 w 218720"/>
                <a:gd name="connsiteY399" fmla="*/ 139893 h 359632"/>
                <a:gd name="connsiteX400" fmla="*/ 118734 w 218720"/>
                <a:gd name="connsiteY400" fmla="*/ 140879 h 359632"/>
                <a:gd name="connsiteX401" fmla="*/ 112714 w 218720"/>
                <a:gd name="connsiteY401" fmla="*/ 141933 h 359632"/>
                <a:gd name="connsiteX402" fmla="*/ 111030 w 218720"/>
                <a:gd name="connsiteY402" fmla="*/ 142688 h 359632"/>
                <a:gd name="connsiteX403" fmla="*/ 109021 w 218720"/>
                <a:gd name="connsiteY403" fmla="*/ 143984 h 359632"/>
                <a:gd name="connsiteX404" fmla="*/ 106909 w 218720"/>
                <a:gd name="connsiteY404" fmla="*/ 144625 h 359632"/>
                <a:gd name="connsiteX405" fmla="*/ 109385 w 218720"/>
                <a:gd name="connsiteY405" fmla="*/ 144544 h 359632"/>
                <a:gd name="connsiteX406" fmla="*/ 111839 w 218720"/>
                <a:gd name="connsiteY406" fmla="*/ 143823 h 359632"/>
                <a:gd name="connsiteX407" fmla="*/ 116302 w 218720"/>
                <a:gd name="connsiteY407" fmla="*/ 143559 h 359632"/>
                <a:gd name="connsiteX408" fmla="*/ 121442 w 218720"/>
                <a:gd name="connsiteY408" fmla="*/ 146041 h 359632"/>
                <a:gd name="connsiteX409" fmla="*/ 120965 w 218720"/>
                <a:gd name="connsiteY409" fmla="*/ 148069 h 359632"/>
                <a:gd name="connsiteX410" fmla="*/ 118902 w 218720"/>
                <a:gd name="connsiteY410" fmla="*/ 149672 h 359632"/>
                <a:gd name="connsiteX411" fmla="*/ 114210 w 218720"/>
                <a:gd name="connsiteY411" fmla="*/ 149924 h 359632"/>
                <a:gd name="connsiteX412" fmla="*/ 109822 w 218720"/>
                <a:gd name="connsiteY412" fmla="*/ 153482 h 359632"/>
                <a:gd name="connsiteX413" fmla="*/ 107842 w 218720"/>
                <a:gd name="connsiteY413" fmla="*/ 154576 h 359632"/>
                <a:gd name="connsiteX414" fmla="*/ 105753 w 218720"/>
                <a:gd name="connsiteY414" fmla="*/ 155119 h 359632"/>
                <a:gd name="connsiteX415" fmla="*/ 103140 w 218720"/>
                <a:gd name="connsiteY415" fmla="*/ 154958 h 359632"/>
                <a:gd name="connsiteX416" fmla="*/ 98392 w 218720"/>
                <a:gd name="connsiteY416" fmla="*/ 154006 h 359632"/>
                <a:gd name="connsiteX417" fmla="*/ 96315 w 218720"/>
                <a:gd name="connsiteY417" fmla="*/ 153011 h 359632"/>
                <a:gd name="connsiteX418" fmla="*/ 98193 w 218720"/>
                <a:gd name="connsiteY418" fmla="*/ 154635 h 359632"/>
                <a:gd name="connsiteX419" fmla="*/ 100323 w 218720"/>
                <a:gd name="connsiteY419" fmla="*/ 155481 h 359632"/>
                <a:gd name="connsiteX420" fmla="*/ 112685 w 218720"/>
                <a:gd name="connsiteY420" fmla="*/ 157477 h 359632"/>
                <a:gd name="connsiteX421" fmla="*/ 113429 w 218720"/>
                <a:gd name="connsiteY421" fmla="*/ 157270 h 359632"/>
                <a:gd name="connsiteX422" fmla="*/ 117370 w 218720"/>
                <a:gd name="connsiteY422" fmla="*/ 155162 h 359632"/>
                <a:gd name="connsiteX423" fmla="*/ 122622 w 218720"/>
                <a:gd name="connsiteY423" fmla="*/ 155130 h 359632"/>
                <a:gd name="connsiteX424" fmla="*/ 132623 w 218720"/>
                <a:gd name="connsiteY424" fmla="*/ 159002 h 359632"/>
                <a:gd name="connsiteX425" fmla="*/ 135502 w 218720"/>
                <a:gd name="connsiteY425" fmla="*/ 161957 h 359632"/>
                <a:gd name="connsiteX426" fmla="*/ 139628 w 218720"/>
                <a:gd name="connsiteY426" fmla="*/ 166187 h 359632"/>
                <a:gd name="connsiteX427" fmla="*/ 141872 w 218720"/>
                <a:gd name="connsiteY427" fmla="*/ 167836 h 359632"/>
                <a:gd name="connsiteX428" fmla="*/ 143495 w 218720"/>
                <a:gd name="connsiteY428" fmla="*/ 169330 h 359632"/>
                <a:gd name="connsiteX429" fmla="*/ 144495 w 218720"/>
                <a:gd name="connsiteY429" fmla="*/ 171567 h 359632"/>
                <a:gd name="connsiteX430" fmla="*/ 146432 w 218720"/>
                <a:gd name="connsiteY430" fmla="*/ 178938 h 359632"/>
                <a:gd name="connsiteX431" fmla="*/ 148641 w 218720"/>
                <a:gd name="connsiteY431" fmla="*/ 186118 h 359632"/>
                <a:gd name="connsiteX432" fmla="*/ 151536 w 218720"/>
                <a:gd name="connsiteY432" fmla="*/ 193871 h 359632"/>
                <a:gd name="connsiteX433" fmla="*/ 152847 w 218720"/>
                <a:gd name="connsiteY433" fmla="*/ 196020 h 359632"/>
                <a:gd name="connsiteX434" fmla="*/ 154573 w 218720"/>
                <a:gd name="connsiteY434" fmla="*/ 197526 h 359632"/>
                <a:gd name="connsiteX435" fmla="*/ 163309 w 218720"/>
                <a:gd name="connsiteY435" fmla="*/ 200984 h 359632"/>
                <a:gd name="connsiteX436" fmla="*/ 165253 w 218720"/>
                <a:gd name="connsiteY436" fmla="*/ 202129 h 359632"/>
                <a:gd name="connsiteX437" fmla="*/ 168643 w 218720"/>
                <a:gd name="connsiteY437" fmla="*/ 205449 h 359632"/>
                <a:gd name="connsiteX438" fmla="*/ 171909 w 218720"/>
                <a:gd name="connsiteY438" fmla="*/ 208981 h 359632"/>
                <a:gd name="connsiteX439" fmla="*/ 174950 w 218720"/>
                <a:gd name="connsiteY439" fmla="*/ 211690 h 359632"/>
                <a:gd name="connsiteX440" fmla="*/ 178233 w 218720"/>
                <a:gd name="connsiteY440" fmla="*/ 213881 h 359632"/>
                <a:gd name="connsiteX441" fmla="*/ 176643 w 218720"/>
                <a:gd name="connsiteY441" fmla="*/ 215018 h 359632"/>
                <a:gd name="connsiteX442" fmla="*/ 175553 w 218720"/>
                <a:gd name="connsiteY442" fmla="*/ 216806 h 359632"/>
                <a:gd name="connsiteX443" fmla="*/ 176368 w 218720"/>
                <a:gd name="connsiteY443" fmla="*/ 219234 h 359632"/>
                <a:gd name="connsiteX444" fmla="*/ 177705 w 218720"/>
                <a:gd name="connsiteY444" fmla="*/ 221551 h 359632"/>
                <a:gd name="connsiteX445" fmla="*/ 180332 w 218720"/>
                <a:gd name="connsiteY445" fmla="*/ 225253 h 359632"/>
                <a:gd name="connsiteX446" fmla="*/ 182649 w 218720"/>
                <a:gd name="connsiteY446" fmla="*/ 229287 h 359632"/>
                <a:gd name="connsiteX447" fmla="*/ 181795 w 218720"/>
                <a:gd name="connsiteY447" fmla="*/ 228678 h 359632"/>
                <a:gd name="connsiteX448" fmla="*/ 180897 w 218720"/>
                <a:gd name="connsiteY448" fmla="*/ 228344 h 359632"/>
                <a:gd name="connsiteX449" fmla="*/ 179669 w 218720"/>
                <a:gd name="connsiteY449" fmla="*/ 228444 h 359632"/>
                <a:gd name="connsiteX450" fmla="*/ 178469 w 218720"/>
                <a:gd name="connsiteY450" fmla="*/ 228249 h 359632"/>
                <a:gd name="connsiteX451" fmla="*/ 176255 w 218720"/>
                <a:gd name="connsiteY451" fmla="*/ 226987 h 359632"/>
                <a:gd name="connsiteX452" fmla="*/ 174128 w 218720"/>
                <a:gd name="connsiteY452" fmla="*/ 225436 h 359632"/>
                <a:gd name="connsiteX453" fmla="*/ 169897 w 218720"/>
                <a:gd name="connsiteY453" fmla="*/ 226059 h 359632"/>
                <a:gd name="connsiteX454" fmla="*/ 167546 w 218720"/>
                <a:gd name="connsiteY454" fmla="*/ 225780 h 359632"/>
                <a:gd name="connsiteX455" fmla="*/ 165507 w 218720"/>
                <a:gd name="connsiteY455" fmla="*/ 225821 h 359632"/>
                <a:gd name="connsiteX456" fmla="*/ 169373 w 218720"/>
                <a:gd name="connsiteY456" fmla="*/ 226717 h 359632"/>
                <a:gd name="connsiteX457" fmla="*/ 173605 w 218720"/>
                <a:gd name="connsiteY457" fmla="*/ 226779 h 359632"/>
                <a:gd name="connsiteX458" fmla="*/ 182937 w 218720"/>
                <a:gd name="connsiteY458" fmla="*/ 233539 h 359632"/>
                <a:gd name="connsiteX459" fmla="*/ 186091 w 218720"/>
                <a:gd name="connsiteY459" fmla="*/ 237535 h 359632"/>
                <a:gd name="connsiteX460" fmla="*/ 187966 w 218720"/>
                <a:gd name="connsiteY460" fmla="*/ 242808 h 359632"/>
                <a:gd name="connsiteX461" fmla="*/ 186689 w 218720"/>
                <a:gd name="connsiteY461" fmla="*/ 245172 h 359632"/>
                <a:gd name="connsiteX462" fmla="*/ 184703 w 218720"/>
                <a:gd name="connsiteY462" fmla="*/ 246703 h 359632"/>
                <a:gd name="connsiteX463" fmla="*/ 182850 w 218720"/>
                <a:gd name="connsiteY463" fmla="*/ 248453 h 359632"/>
                <a:gd name="connsiteX464" fmla="*/ 181114 w 218720"/>
                <a:gd name="connsiteY464" fmla="*/ 250427 h 359632"/>
                <a:gd name="connsiteX465" fmla="*/ 186286 w 218720"/>
                <a:gd name="connsiteY465" fmla="*/ 253324 h 359632"/>
                <a:gd name="connsiteX466" fmla="*/ 187400 w 218720"/>
                <a:gd name="connsiteY466" fmla="*/ 253236 h 359632"/>
                <a:gd name="connsiteX467" fmla="*/ 188544 w 218720"/>
                <a:gd name="connsiteY467" fmla="*/ 252831 h 359632"/>
                <a:gd name="connsiteX468" fmla="*/ 189644 w 218720"/>
                <a:gd name="connsiteY468" fmla="*/ 251846 h 359632"/>
                <a:gd name="connsiteX469" fmla="*/ 191498 w 218720"/>
                <a:gd name="connsiteY469" fmla="*/ 249447 h 359632"/>
                <a:gd name="connsiteX470" fmla="*/ 192455 w 218720"/>
                <a:gd name="connsiteY470" fmla="*/ 248592 h 359632"/>
                <a:gd name="connsiteX471" fmla="*/ 195677 w 218720"/>
                <a:gd name="connsiteY471" fmla="*/ 248284 h 359632"/>
                <a:gd name="connsiteX472" fmla="*/ 198380 w 218720"/>
                <a:gd name="connsiteY472" fmla="*/ 248468 h 359632"/>
                <a:gd name="connsiteX473" fmla="*/ 201073 w 218720"/>
                <a:gd name="connsiteY473" fmla="*/ 248998 h 359632"/>
                <a:gd name="connsiteX474" fmla="*/ 203440 w 218720"/>
                <a:gd name="connsiteY474" fmla="*/ 248830 h 359632"/>
                <a:gd name="connsiteX475" fmla="*/ 208210 w 218720"/>
                <a:gd name="connsiteY475" fmla="*/ 249860 h 359632"/>
                <a:gd name="connsiteX476" fmla="*/ 210661 w 218720"/>
                <a:gd name="connsiteY476" fmla="*/ 250789 h 359632"/>
                <a:gd name="connsiteX477" fmla="*/ 216733 w 218720"/>
                <a:gd name="connsiteY477" fmla="*/ 254966 h 359632"/>
                <a:gd name="connsiteX478" fmla="*/ 218046 w 218720"/>
                <a:gd name="connsiteY478" fmla="*/ 257247 h 359632"/>
                <a:gd name="connsiteX479" fmla="*/ 218648 w 218720"/>
                <a:gd name="connsiteY479" fmla="*/ 260190 h 359632"/>
                <a:gd name="connsiteX480" fmla="*/ 218720 w 218720"/>
                <a:gd name="connsiteY480" fmla="*/ 263449 h 359632"/>
                <a:gd name="connsiteX481" fmla="*/ 217698 w 218720"/>
                <a:gd name="connsiteY481" fmla="*/ 266425 h 359632"/>
                <a:gd name="connsiteX482" fmla="*/ 216526 w 218720"/>
                <a:gd name="connsiteY482" fmla="*/ 269108 h 359632"/>
                <a:gd name="connsiteX483" fmla="*/ 215802 w 218720"/>
                <a:gd name="connsiteY483" fmla="*/ 272568 h 359632"/>
                <a:gd name="connsiteX484" fmla="*/ 215289 w 218720"/>
                <a:gd name="connsiteY484" fmla="*/ 273813 h 359632"/>
                <a:gd name="connsiteX485" fmla="*/ 214571 w 218720"/>
                <a:gd name="connsiteY485" fmla="*/ 274788 h 359632"/>
                <a:gd name="connsiteX486" fmla="*/ 211354 w 218720"/>
                <a:gd name="connsiteY486" fmla="*/ 277512 h 359632"/>
                <a:gd name="connsiteX487" fmla="*/ 209216 w 218720"/>
                <a:gd name="connsiteY487" fmla="*/ 278631 h 359632"/>
                <a:gd name="connsiteX488" fmla="*/ 208313 w 218720"/>
                <a:gd name="connsiteY488" fmla="*/ 278140 h 359632"/>
                <a:gd name="connsiteX489" fmla="*/ 207351 w 218720"/>
                <a:gd name="connsiteY489" fmla="*/ 278208 h 359632"/>
                <a:gd name="connsiteX490" fmla="*/ 207249 w 218720"/>
                <a:gd name="connsiteY490" fmla="*/ 278862 h 359632"/>
                <a:gd name="connsiteX491" fmla="*/ 208266 w 218720"/>
                <a:gd name="connsiteY491" fmla="*/ 280251 h 359632"/>
                <a:gd name="connsiteX492" fmla="*/ 208279 w 218720"/>
                <a:gd name="connsiteY492" fmla="*/ 281926 h 359632"/>
                <a:gd name="connsiteX493" fmla="*/ 206379 w 218720"/>
                <a:gd name="connsiteY493" fmla="*/ 283165 h 359632"/>
                <a:gd name="connsiteX494" fmla="*/ 204448 w 218720"/>
                <a:gd name="connsiteY494" fmla="*/ 283694 h 359632"/>
                <a:gd name="connsiteX495" fmla="*/ 201218 w 218720"/>
                <a:gd name="connsiteY495" fmla="*/ 283034 h 359632"/>
                <a:gd name="connsiteX496" fmla="*/ 196733 w 218720"/>
                <a:gd name="connsiteY496" fmla="*/ 285340 h 359632"/>
                <a:gd name="connsiteX497" fmla="*/ 199957 w 218720"/>
                <a:gd name="connsiteY497" fmla="*/ 286524 h 359632"/>
                <a:gd name="connsiteX498" fmla="*/ 200607 w 218720"/>
                <a:gd name="connsiteY498" fmla="*/ 287784 h 359632"/>
                <a:gd name="connsiteX499" fmla="*/ 199799 w 218720"/>
                <a:gd name="connsiteY499" fmla="*/ 289997 h 359632"/>
                <a:gd name="connsiteX500" fmla="*/ 197771 w 218720"/>
                <a:gd name="connsiteY500" fmla="*/ 290983 h 359632"/>
                <a:gd name="connsiteX501" fmla="*/ 195523 w 218720"/>
                <a:gd name="connsiteY501" fmla="*/ 291420 h 359632"/>
                <a:gd name="connsiteX502" fmla="*/ 193222 w 218720"/>
                <a:gd name="connsiteY502" fmla="*/ 291524 h 359632"/>
                <a:gd name="connsiteX503" fmla="*/ 191315 w 218720"/>
                <a:gd name="connsiteY503" fmla="*/ 292065 h 359632"/>
                <a:gd name="connsiteX504" fmla="*/ 189486 w 218720"/>
                <a:gd name="connsiteY504" fmla="*/ 293107 h 359632"/>
                <a:gd name="connsiteX505" fmla="*/ 191781 w 218720"/>
                <a:gd name="connsiteY505" fmla="*/ 292553 h 359632"/>
                <a:gd name="connsiteX506" fmla="*/ 193373 w 218720"/>
                <a:gd name="connsiteY506" fmla="*/ 293038 h 359632"/>
                <a:gd name="connsiteX507" fmla="*/ 194372 w 218720"/>
                <a:gd name="connsiteY507" fmla="*/ 294897 h 359632"/>
                <a:gd name="connsiteX508" fmla="*/ 195280 w 218720"/>
                <a:gd name="connsiteY508" fmla="*/ 295428 h 359632"/>
                <a:gd name="connsiteX509" fmla="*/ 199765 w 218720"/>
                <a:gd name="connsiteY509" fmla="*/ 296222 h 359632"/>
                <a:gd name="connsiteX510" fmla="*/ 202542 w 218720"/>
                <a:gd name="connsiteY510" fmla="*/ 296216 h 359632"/>
                <a:gd name="connsiteX511" fmla="*/ 207897 w 218720"/>
                <a:gd name="connsiteY511" fmla="*/ 295765 h 359632"/>
                <a:gd name="connsiteX512" fmla="*/ 210469 w 218720"/>
                <a:gd name="connsiteY512" fmla="*/ 295776 h 359632"/>
                <a:gd name="connsiteX513" fmla="*/ 211386 w 218720"/>
                <a:gd name="connsiteY513" fmla="*/ 296112 h 359632"/>
                <a:gd name="connsiteX514" fmla="*/ 211402 w 218720"/>
                <a:gd name="connsiteY514" fmla="*/ 297650 h 359632"/>
                <a:gd name="connsiteX515" fmla="*/ 211002 w 218720"/>
                <a:gd name="connsiteY515" fmla="*/ 301424 h 359632"/>
                <a:gd name="connsiteX516" fmla="*/ 210294 w 218720"/>
                <a:gd name="connsiteY516" fmla="*/ 302201 h 359632"/>
                <a:gd name="connsiteX517" fmla="*/ 203194 w 218720"/>
                <a:gd name="connsiteY517" fmla="*/ 305366 h 359632"/>
                <a:gd name="connsiteX518" fmla="*/ 201738 w 218720"/>
                <a:gd name="connsiteY518" fmla="*/ 307574 h 359632"/>
                <a:gd name="connsiteX519" fmla="*/ 201330 w 218720"/>
                <a:gd name="connsiteY519" fmla="*/ 308911 h 359632"/>
                <a:gd name="connsiteX520" fmla="*/ 197178 w 218720"/>
                <a:gd name="connsiteY520" fmla="*/ 308674 h 359632"/>
                <a:gd name="connsiteX521" fmla="*/ 195232 w 218720"/>
                <a:gd name="connsiteY521" fmla="*/ 310087 h 359632"/>
                <a:gd name="connsiteX522" fmla="*/ 191870 w 218720"/>
                <a:gd name="connsiteY522" fmla="*/ 311025 h 359632"/>
                <a:gd name="connsiteX523" fmla="*/ 189270 w 218720"/>
                <a:gd name="connsiteY523" fmla="*/ 312022 h 359632"/>
                <a:gd name="connsiteX524" fmla="*/ 186726 w 218720"/>
                <a:gd name="connsiteY524" fmla="*/ 313282 h 359632"/>
                <a:gd name="connsiteX525" fmla="*/ 184634 w 218720"/>
                <a:gd name="connsiteY525" fmla="*/ 313658 h 359632"/>
                <a:gd name="connsiteX526" fmla="*/ 175590 w 218720"/>
                <a:gd name="connsiteY526" fmla="*/ 312163 h 359632"/>
                <a:gd name="connsiteX527" fmla="*/ 170131 w 218720"/>
                <a:gd name="connsiteY527" fmla="*/ 312286 h 359632"/>
                <a:gd name="connsiteX528" fmla="*/ 162736 w 218720"/>
                <a:gd name="connsiteY528" fmla="*/ 313589 h 359632"/>
                <a:gd name="connsiteX529" fmla="*/ 160831 w 218720"/>
                <a:gd name="connsiteY529" fmla="*/ 313374 h 359632"/>
                <a:gd name="connsiteX530" fmla="*/ 157974 w 218720"/>
                <a:gd name="connsiteY530" fmla="*/ 312126 h 359632"/>
                <a:gd name="connsiteX531" fmla="*/ 155049 w 218720"/>
                <a:gd name="connsiteY531" fmla="*/ 311282 h 359632"/>
                <a:gd name="connsiteX532" fmla="*/ 151683 w 218720"/>
                <a:gd name="connsiteY532" fmla="*/ 310911 h 359632"/>
                <a:gd name="connsiteX533" fmla="*/ 148778 w 218720"/>
                <a:gd name="connsiteY533" fmla="*/ 309757 h 359632"/>
                <a:gd name="connsiteX534" fmla="*/ 150591 w 218720"/>
                <a:gd name="connsiteY534" fmla="*/ 311976 h 359632"/>
                <a:gd name="connsiteX535" fmla="*/ 146561 w 218720"/>
                <a:gd name="connsiteY535" fmla="*/ 314112 h 359632"/>
                <a:gd name="connsiteX536" fmla="*/ 144701 w 218720"/>
                <a:gd name="connsiteY536" fmla="*/ 314537 h 359632"/>
                <a:gd name="connsiteX537" fmla="*/ 142776 w 218720"/>
                <a:gd name="connsiteY537" fmla="*/ 314471 h 359632"/>
                <a:gd name="connsiteX538" fmla="*/ 138837 w 218720"/>
                <a:gd name="connsiteY538" fmla="*/ 315051 h 359632"/>
                <a:gd name="connsiteX539" fmla="*/ 135188 w 218720"/>
                <a:gd name="connsiteY539" fmla="*/ 314755 h 359632"/>
                <a:gd name="connsiteX540" fmla="*/ 135736 w 218720"/>
                <a:gd name="connsiteY540" fmla="*/ 316273 h 359632"/>
                <a:gd name="connsiteX541" fmla="*/ 136714 w 218720"/>
                <a:gd name="connsiteY541" fmla="*/ 317595 h 359632"/>
                <a:gd name="connsiteX542" fmla="*/ 135921 w 218720"/>
                <a:gd name="connsiteY542" fmla="*/ 318170 h 359632"/>
                <a:gd name="connsiteX543" fmla="*/ 135082 w 218720"/>
                <a:gd name="connsiteY543" fmla="*/ 318313 h 359632"/>
                <a:gd name="connsiteX544" fmla="*/ 128132 w 218720"/>
                <a:gd name="connsiteY544" fmla="*/ 317315 h 359632"/>
                <a:gd name="connsiteX545" fmla="*/ 127148 w 218720"/>
                <a:gd name="connsiteY545" fmla="*/ 317504 h 359632"/>
                <a:gd name="connsiteX546" fmla="*/ 126290 w 218720"/>
                <a:gd name="connsiteY546" fmla="*/ 318425 h 359632"/>
                <a:gd name="connsiteX547" fmla="*/ 123763 w 218720"/>
                <a:gd name="connsiteY547" fmla="*/ 317928 h 359632"/>
                <a:gd name="connsiteX548" fmla="*/ 121307 w 218720"/>
                <a:gd name="connsiteY548" fmla="*/ 316375 h 359632"/>
                <a:gd name="connsiteX549" fmla="*/ 118695 w 218720"/>
                <a:gd name="connsiteY549" fmla="*/ 315332 h 359632"/>
                <a:gd name="connsiteX550" fmla="*/ 115954 w 218720"/>
                <a:gd name="connsiteY550" fmla="*/ 314842 h 359632"/>
                <a:gd name="connsiteX551" fmla="*/ 113776 w 218720"/>
                <a:gd name="connsiteY551" fmla="*/ 315011 h 359632"/>
                <a:gd name="connsiteX552" fmla="*/ 104816 w 218720"/>
                <a:gd name="connsiteY552" fmla="*/ 317460 h 359632"/>
                <a:gd name="connsiteX553" fmla="*/ 103028 w 218720"/>
                <a:gd name="connsiteY553" fmla="*/ 319915 h 359632"/>
                <a:gd name="connsiteX554" fmla="*/ 102135 w 218720"/>
                <a:gd name="connsiteY554" fmla="*/ 323393 h 359632"/>
                <a:gd name="connsiteX555" fmla="*/ 100841 w 218720"/>
                <a:gd name="connsiteY555" fmla="*/ 326476 h 359632"/>
                <a:gd name="connsiteX556" fmla="*/ 98731 w 218720"/>
                <a:gd name="connsiteY556" fmla="*/ 328848 h 359632"/>
                <a:gd name="connsiteX557" fmla="*/ 96220 w 218720"/>
                <a:gd name="connsiteY557" fmla="*/ 329157 h 359632"/>
                <a:gd name="connsiteX558" fmla="*/ 93858 w 218720"/>
                <a:gd name="connsiteY558" fmla="*/ 327516 h 359632"/>
                <a:gd name="connsiteX559" fmla="*/ 89364 w 218720"/>
                <a:gd name="connsiteY559" fmla="*/ 325702 h 359632"/>
                <a:gd name="connsiteX560" fmla="*/ 87835 w 218720"/>
                <a:gd name="connsiteY560" fmla="*/ 324476 h 359632"/>
                <a:gd name="connsiteX561" fmla="*/ 87348 w 218720"/>
                <a:gd name="connsiteY561" fmla="*/ 324404 h 359632"/>
                <a:gd name="connsiteX562" fmla="*/ 86846 w 218720"/>
                <a:gd name="connsiteY562" fmla="*/ 324843 h 359632"/>
                <a:gd name="connsiteX563" fmla="*/ 85084 w 218720"/>
                <a:gd name="connsiteY563" fmla="*/ 325396 h 359632"/>
                <a:gd name="connsiteX564" fmla="*/ 83259 w 218720"/>
                <a:gd name="connsiteY564" fmla="*/ 325422 h 359632"/>
                <a:gd name="connsiteX565" fmla="*/ 80447 w 218720"/>
                <a:gd name="connsiteY565" fmla="*/ 325910 h 359632"/>
                <a:gd name="connsiteX566" fmla="*/ 75553 w 218720"/>
                <a:gd name="connsiteY566" fmla="*/ 327384 h 359632"/>
                <a:gd name="connsiteX567" fmla="*/ 73577 w 218720"/>
                <a:gd name="connsiteY567" fmla="*/ 328384 h 359632"/>
                <a:gd name="connsiteX568" fmla="*/ 69328 w 218720"/>
                <a:gd name="connsiteY568" fmla="*/ 331139 h 359632"/>
                <a:gd name="connsiteX569" fmla="*/ 68463 w 218720"/>
                <a:gd name="connsiteY569" fmla="*/ 331901 h 359632"/>
                <a:gd name="connsiteX570" fmla="*/ 66918 w 218720"/>
                <a:gd name="connsiteY570" fmla="*/ 334677 h 359632"/>
                <a:gd name="connsiteX571" fmla="*/ 64558 w 218720"/>
                <a:gd name="connsiteY571" fmla="*/ 335166 h 359632"/>
                <a:gd name="connsiteX572" fmla="*/ 62399 w 218720"/>
                <a:gd name="connsiteY572" fmla="*/ 333388 h 359632"/>
                <a:gd name="connsiteX573" fmla="*/ 59942 w 218720"/>
                <a:gd name="connsiteY573" fmla="*/ 332767 h 359632"/>
                <a:gd name="connsiteX574" fmla="*/ 57350 w 218720"/>
                <a:gd name="connsiteY574" fmla="*/ 333375 h 359632"/>
                <a:gd name="connsiteX575" fmla="*/ 55782 w 218720"/>
                <a:gd name="connsiteY575" fmla="*/ 334320 h 359632"/>
                <a:gd name="connsiteX576" fmla="*/ 55051 w 218720"/>
                <a:gd name="connsiteY576" fmla="*/ 333552 h 359632"/>
                <a:gd name="connsiteX577" fmla="*/ 55027 w 218720"/>
                <a:gd name="connsiteY577" fmla="*/ 331973 h 359632"/>
                <a:gd name="connsiteX578" fmla="*/ 56920 w 218720"/>
                <a:gd name="connsiteY578" fmla="*/ 330091 h 359632"/>
                <a:gd name="connsiteX579" fmla="*/ 61970 w 218720"/>
                <a:gd name="connsiteY579" fmla="*/ 328668 h 359632"/>
                <a:gd name="connsiteX580" fmla="*/ 66403 w 218720"/>
                <a:gd name="connsiteY580" fmla="*/ 324972 h 359632"/>
                <a:gd name="connsiteX581" fmla="*/ 68578 w 218720"/>
                <a:gd name="connsiteY581" fmla="*/ 322716 h 359632"/>
                <a:gd name="connsiteX582" fmla="*/ 69440 w 218720"/>
                <a:gd name="connsiteY582" fmla="*/ 321446 h 359632"/>
                <a:gd name="connsiteX583" fmla="*/ 70503 w 218720"/>
                <a:gd name="connsiteY583" fmla="*/ 320636 h 359632"/>
                <a:gd name="connsiteX584" fmla="*/ 71892 w 218720"/>
                <a:gd name="connsiteY584" fmla="*/ 320330 h 359632"/>
                <a:gd name="connsiteX585" fmla="*/ 72606 w 218720"/>
                <a:gd name="connsiteY585" fmla="*/ 318925 h 359632"/>
                <a:gd name="connsiteX586" fmla="*/ 78761 w 218720"/>
                <a:gd name="connsiteY586" fmla="*/ 313270 h 359632"/>
                <a:gd name="connsiteX587" fmla="*/ 79269 w 218720"/>
                <a:gd name="connsiteY587" fmla="*/ 311971 h 359632"/>
                <a:gd name="connsiteX588" fmla="*/ 79575 w 218720"/>
                <a:gd name="connsiteY588" fmla="*/ 309646 h 359632"/>
                <a:gd name="connsiteX589" fmla="*/ 80084 w 218720"/>
                <a:gd name="connsiteY589" fmla="*/ 307405 h 359632"/>
                <a:gd name="connsiteX590" fmla="*/ 85095 w 218720"/>
                <a:gd name="connsiteY590" fmla="*/ 305953 h 359632"/>
                <a:gd name="connsiteX591" fmla="*/ 87489 w 218720"/>
                <a:gd name="connsiteY591" fmla="*/ 301233 h 359632"/>
                <a:gd name="connsiteX592" fmla="*/ 88148 w 218720"/>
                <a:gd name="connsiteY592" fmla="*/ 300859 h 359632"/>
                <a:gd name="connsiteX593" fmla="*/ 95137 w 218720"/>
                <a:gd name="connsiteY593" fmla="*/ 299992 h 359632"/>
                <a:gd name="connsiteX594" fmla="*/ 100320 w 218720"/>
                <a:gd name="connsiteY594" fmla="*/ 300061 h 359632"/>
                <a:gd name="connsiteX595" fmla="*/ 105468 w 218720"/>
                <a:gd name="connsiteY595" fmla="*/ 300986 h 359632"/>
                <a:gd name="connsiteX596" fmla="*/ 108107 w 218720"/>
                <a:gd name="connsiteY596" fmla="*/ 301069 h 359632"/>
                <a:gd name="connsiteX597" fmla="*/ 110756 w 218720"/>
                <a:gd name="connsiteY597" fmla="*/ 300750 h 359632"/>
                <a:gd name="connsiteX598" fmla="*/ 112833 w 218720"/>
                <a:gd name="connsiteY598" fmla="*/ 299474 h 359632"/>
                <a:gd name="connsiteX599" fmla="*/ 116388 w 218720"/>
                <a:gd name="connsiteY599" fmla="*/ 294868 h 359632"/>
                <a:gd name="connsiteX600" fmla="*/ 118388 w 218720"/>
                <a:gd name="connsiteY600" fmla="*/ 292838 h 359632"/>
                <a:gd name="connsiteX601" fmla="*/ 120679 w 218720"/>
                <a:gd name="connsiteY601" fmla="*/ 291002 h 359632"/>
                <a:gd name="connsiteX602" fmla="*/ 122822 w 218720"/>
                <a:gd name="connsiteY602" fmla="*/ 288904 h 359632"/>
                <a:gd name="connsiteX603" fmla="*/ 126299 w 218720"/>
                <a:gd name="connsiteY603" fmla="*/ 285012 h 359632"/>
                <a:gd name="connsiteX604" fmla="*/ 123948 w 218720"/>
                <a:gd name="connsiteY604" fmla="*/ 286353 h 359632"/>
                <a:gd name="connsiteX605" fmla="*/ 121111 w 218720"/>
                <a:gd name="connsiteY605" fmla="*/ 288480 h 359632"/>
                <a:gd name="connsiteX606" fmla="*/ 119465 w 218720"/>
                <a:gd name="connsiteY606" fmla="*/ 289713 h 359632"/>
                <a:gd name="connsiteX607" fmla="*/ 114238 w 218720"/>
                <a:gd name="connsiteY607" fmla="*/ 290955 h 359632"/>
                <a:gd name="connsiteX608" fmla="*/ 111986 w 218720"/>
                <a:gd name="connsiteY608" fmla="*/ 292221 h 359632"/>
                <a:gd name="connsiteX609" fmla="*/ 108040 w 218720"/>
                <a:gd name="connsiteY609" fmla="*/ 295078 h 359632"/>
                <a:gd name="connsiteX610" fmla="*/ 107281 w 218720"/>
                <a:gd name="connsiteY610" fmla="*/ 295315 h 359632"/>
                <a:gd name="connsiteX611" fmla="*/ 101328 w 218720"/>
                <a:gd name="connsiteY611" fmla="*/ 294629 h 359632"/>
                <a:gd name="connsiteX612" fmla="*/ 96898 w 218720"/>
                <a:gd name="connsiteY612" fmla="*/ 290923 h 359632"/>
                <a:gd name="connsiteX613" fmla="*/ 94066 w 218720"/>
                <a:gd name="connsiteY613" fmla="*/ 289402 h 359632"/>
                <a:gd name="connsiteX614" fmla="*/ 92896 w 218720"/>
                <a:gd name="connsiteY614" fmla="*/ 289230 h 359632"/>
                <a:gd name="connsiteX615" fmla="*/ 91687 w 218720"/>
                <a:gd name="connsiteY615" fmla="*/ 289682 h 359632"/>
                <a:gd name="connsiteX616" fmla="*/ 89101 w 218720"/>
                <a:gd name="connsiteY616" fmla="*/ 290145 h 359632"/>
                <a:gd name="connsiteX617" fmla="*/ 86464 w 218720"/>
                <a:gd name="connsiteY617" fmla="*/ 290066 h 359632"/>
                <a:gd name="connsiteX618" fmla="*/ 87810 w 218720"/>
                <a:gd name="connsiteY618" fmla="*/ 288352 h 359632"/>
                <a:gd name="connsiteX619" fmla="*/ 89638 w 218720"/>
                <a:gd name="connsiteY619" fmla="*/ 287393 h 359632"/>
                <a:gd name="connsiteX620" fmla="*/ 85544 w 218720"/>
                <a:gd name="connsiteY620" fmla="*/ 286727 h 359632"/>
                <a:gd name="connsiteX621" fmla="*/ 84406 w 218720"/>
                <a:gd name="connsiteY621" fmla="*/ 286205 h 359632"/>
                <a:gd name="connsiteX622" fmla="*/ 83109 w 218720"/>
                <a:gd name="connsiteY622" fmla="*/ 285002 h 359632"/>
                <a:gd name="connsiteX623" fmla="*/ 79898 w 218720"/>
                <a:gd name="connsiteY623" fmla="*/ 284796 h 359632"/>
                <a:gd name="connsiteX624" fmla="*/ 78366 w 218720"/>
                <a:gd name="connsiteY624" fmla="*/ 285103 h 359632"/>
                <a:gd name="connsiteX625" fmla="*/ 75782 w 218720"/>
                <a:gd name="connsiteY625" fmla="*/ 286693 h 359632"/>
                <a:gd name="connsiteX626" fmla="*/ 71699 w 218720"/>
                <a:gd name="connsiteY626" fmla="*/ 288383 h 359632"/>
                <a:gd name="connsiteX627" fmla="*/ 66780 w 218720"/>
                <a:gd name="connsiteY627" fmla="*/ 286040 h 359632"/>
                <a:gd name="connsiteX628" fmla="*/ 65816 w 218720"/>
                <a:gd name="connsiteY628" fmla="*/ 285012 h 359632"/>
                <a:gd name="connsiteX629" fmla="*/ 65841 w 218720"/>
                <a:gd name="connsiteY629" fmla="*/ 283027 h 359632"/>
                <a:gd name="connsiteX630" fmla="*/ 65103 w 218720"/>
                <a:gd name="connsiteY630" fmla="*/ 281453 h 359632"/>
                <a:gd name="connsiteX631" fmla="*/ 63738 w 218720"/>
                <a:gd name="connsiteY631" fmla="*/ 280898 h 359632"/>
                <a:gd name="connsiteX632" fmla="*/ 65484 w 218720"/>
                <a:gd name="connsiteY632" fmla="*/ 278846 h 359632"/>
                <a:gd name="connsiteX633" fmla="*/ 67591 w 218720"/>
                <a:gd name="connsiteY633" fmla="*/ 277479 h 359632"/>
                <a:gd name="connsiteX634" fmla="*/ 72225 w 218720"/>
                <a:gd name="connsiteY634" fmla="*/ 276120 h 359632"/>
                <a:gd name="connsiteX635" fmla="*/ 79243 w 218720"/>
                <a:gd name="connsiteY635" fmla="*/ 272892 h 359632"/>
                <a:gd name="connsiteX636" fmla="*/ 83178 w 218720"/>
                <a:gd name="connsiteY636" fmla="*/ 271516 h 359632"/>
                <a:gd name="connsiteX637" fmla="*/ 86836 w 218720"/>
                <a:gd name="connsiteY637" fmla="*/ 269140 h 359632"/>
                <a:gd name="connsiteX638" fmla="*/ 88348 w 218720"/>
                <a:gd name="connsiteY638" fmla="*/ 267690 h 359632"/>
                <a:gd name="connsiteX639" fmla="*/ 89445 w 218720"/>
                <a:gd name="connsiteY639" fmla="*/ 265705 h 359632"/>
                <a:gd name="connsiteX640" fmla="*/ 90533 w 218720"/>
                <a:gd name="connsiteY640" fmla="*/ 263266 h 359632"/>
                <a:gd name="connsiteX641" fmla="*/ 92086 w 218720"/>
                <a:gd name="connsiteY641" fmla="*/ 261284 h 359632"/>
                <a:gd name="connsiteX642" fmla="*/ 90579 w 218720"/>
                <a:gd name="connsiteY642" fmla="*/ 260812 h 359632"/>
                <a:gd name="connsiteX643" fmla="*/ 89906 w 218720"/>
                <a:gd name="connsiteY643" fmla="*/ 259315 h 359632"/>
                <a:gd name="connsiteX644" fmla="*/ 90087 w 218720"/>
                <a:gd name="connsiteY644" fmla="*/ 257796 h 359632"/>
                <a:gd name="connsiteX645" fmla="*/ 90783 w 218720"/>
                <a:gd name="connsiteY645" fmla="*/ 256448 h 359632"/>
                <a:gd name="connsiteX646" fmla="*/ 90159 w 218720"/>
                <a:gd name="connsiteY646" fmla="*/ 254756 h 359632"/>
                <a:gd name="connsiteX647" fmla="*/ 89052 w 218720"/>
                <a:gd name="connsiteY647" fmla="*/ 252986 h 359632"/>
                <a:gd name="connsiteX648" fmla="*/ 89113 w 218720"/>
                <a:gd name="connsiteY648" fmla="*/ 251607 h 359632"/>
                <a:gd name="connsiteX649" fmla="*/ 89407 w 218720"/>
                <a:gd name="connsiteY649" fmla="*/ 250132 h 359632"/>
                <a:gd name="connsiteX650" fmla="*/ 86584 w 218720"/>
                <a:gd name="connsiteY650" fmla="*/ 250211 h 359632"/>
                <a:gd name="connsiteX651" fmla="*/ 83769 w 218720"/>
                <a:gd name="connsiteY651" fmla="*/ 250672 h 359632"/>
                <a:gd name="connsiteX652" fmla="*/ 81218 w 218720"/>
                <a:gd name="connsiteY652" fmla="*/ 251718 h 359632"/>
                <a:gd name="connsiteX653" fmla="*/ 78744 w 218720"/>
                <a:gd name="connsiteY653" fmla="*/ 253137 h 359632"/>
                <a:gd name="connsiteX654" fmla="*/ 76547 w 218720"/>
                <a:gd name="connsiteY654" fmla="*/ 253400 h 359632"/>
                <a:gd name="connsiteX655" fmla="*/ 76582 w 218720"/>
                <a:gd name="connsiteY655" fmla="*/ 252265 h 359632"/>
                <a:gd name="connsiteX656" fmla="*/ 77536 w 218720"/>
                <a:gd name="connsiteY656" fmla="*/ 250861 h 359632"/>
                <a:gd name="connsiteX657" fmla="*/ 80027 w 218720"/>
                <a:gd name="connsiteY657" fmla="*/ 248854 h 359632"/>
                <a:gd name="connsiteX658" fmla="*/ 82694 w 218720"/>
                <a:gd name="connsiteY658" fmla="*/ 247189 h 359632"/>
                <a:gd name="connsiteX659" fmla="*/ 83642 w 218720"/>
                <a:gd name="connsiteY659" fmla="*/ 245923 h 359632"/>
                <a:gd name="connsiteX660" fmla="*/ 84388 w 218720"/>
                <a:gd name="connsiteY660" fmla="*/ 244452 h 359632"/>
                <a:gd name="connsiteX661" fmla="*/ 85712 w 218720"/>
                <a:gd name="connsiteY661" fmla="*/ 243271 h 359632"/>
                <a:gd name="connsiteX662" fmla="*/ 89195 w 218720"/>
                <a:gd name="connsiteY662" fmla="*/ 241037 h 359632"/>
                <a:gd name="connsiteX663" fmla="*/ 95868 w 218720"/>
                <a:gd name="connsiteY663" fmla="*/ 238521 h 359632"/>
                <a:gd name="connsiteX664" fmla="*/ 96864 w 218720"/>
                <a:gd name="connsiteY664" fmla="*/ 238373 h 359632"/>
                <a:gd name="connsiteX665" fmla="*/ 99480 w 218720"/>
                <a:gd name="connsiteY665" fmla="*/ 238665 h 359632"/>
                <a:gd name="connsiteX666" fmla="*/ 102052 w 218720"/>
                <a:gd name="connsiteY666" fmla="*/ 238285 h 359632"/>
                <a:gd name="connsiteX667" fmla="*/ 104305 w 218720"/>
                <a:gd name="connsiteY667" fmla="*/ 237379 h 359632"/>
                <a:gd name="connsiteX668" fmla="*/ 106550 w 218720"/>
                <a:gd name="connsiteY668" fmla="*/ 237184 h 359632"/>
                <a:gd name="connsiteX669" fmla="*/ 111605 w 218720"/>
                <a:gd name="connsiteY669" fmla="*/ 239795 h 359632"/>
                <a:gd name="connsiteX670" fmla="*/ 110102 w 218720"/>
                <a:gd name="connsiteY670" fmla="*/ 235754 h 359632"/>
                <a:gd name="connsiteX671" fmla="*/ 112331 w 218720"/>
                <a:gd name="connsiteY671" fmla="*/ 234786 h 359632"/>
                <a:gd name="connsiteX672" fmla="*/ 115564 w 218720"/>
                <a:gd name="connsiteY672" fmla="*/ 238440 h 359632"/>
                <a:gd name="connsiteX673" fmla="*/ 116766 w 218720"/>
                <a:gd name="connsiteY673" fmla="*/ 238825 h 359632"/>
                <a:gd name="connsiteX674" fmla="*/ 119301 w 218720"/>
                <a:gd name="connsiteY674" fmla="*/ 238295 h 359632"/>
                <a:gd name="connsiteX675" fmla="*/ 118323 w 218720"/>
                <a:gd name="connsiteY675" fmla="*/ 237679 h 359632"/>
                <a:gd name="connsiteX676" fmla="*/ 117181 w 218720"/>
                <a:gd name="connsiteY676" fmla="*/ 237642 h 359632"/>
                <a:gd name="connsiteX677" fmla="*/ 115685 w 218720"/>
                <a:gd name="connsiteY677" fmla="*/ 237091 h 359632"/>
                <a:gd name="connsiteX678" fmla="*/ 114427 w 218720"/>
                <a:gd name="connsiteY678" fmla="*/ 235919 h 359632"/>
                <a:gd name="connsiteX679" fmla="*/ 112334 w 218720"/>
                <a:gd name="connsiteY679" fmla="*/ 232195 h 359632"/>
                <a:gd name="connsiteX680" fmla="*/ 112447 w 218720"/>
                <a:gd name="connsiteY680" fmla="*/ 229982 h 359632"/>
                <a:gd name="connsiteX681" fmla="*/ 113857 w 218720"/>
                <a:gd name="connsiteY681" fmla="*/ 227679 h 359632"/>
                <a:gd name="connsiteX682" fmla="*/ 115419 w 218720"/>
                <a:gd name="connsiteY682" fmla="*/ 225557 h 359632"/>
                <a:gd name="connsiteX683" fmla="*/ 114109 w 218720"/>
                <a:gd name="connsiteY683" fmla="*/ 225135 h 359632"/>
                <a:gd name="connsiteX684" fmla="*/ 113060 w 218720"/>
                <a:gd name="connsiteY684" fmla="*/ 224323 h 359632"/>
                <a:gd name="connsiteX685" fmla="*/ 112759 w 218720"/>
                <a:gd name="connsiteY685" fmla="*/ 222197 h 359632"/>
                <a:gd name="connsiteX686" fmla="*/ 113171 w 218720"/>
                <a:gd name="connsiteY686" fmla="*/ 220318 h 359632"/>
                <a:gd name="connsiteX687" fmla="*/ 115977 w 218720"/>
                <a:gd name="connsiteY687" fmla="*/ 218657 h 359632"/>
                <a:gd name="connsiteX688" fmla="*/ 116805 w 218720"/>
                <a:gd name="connsiteY688" fmla="*/ 216135 h 359632"/>
                <a:gd name="connsiteX689" fmla="*/ 117157 w 218720"/>
                <a:gd name="connsiteY689" fmla="*/ 213357 h 359632"/>
                <a:gd name="connsiteX690" fmla="*/ 116691 w 218720"/>
                <a:gd name="connsiteY690" fmla="*/ 212082 h 359632"/>
                <a:gd name="connsiteX691" fmla="*/ 113906 w 218720"/>
                <a:gd name="connsiteY691" fmla="*/ 212287 h 359632"/>
                <a:gd name="connsiteX692" fmla="*/ 112552 w 218720"/>
                <a:gd name="connsiteY692" fmla="*/ 212807 h 359632"/>
                <a:gd name="connsiteX693" fmla="*/ 111337 w 218720"/>
                <a:gd name="connsiteY693" fmla="*/ 213630 h 359632"/>
                <a:gd name="connsiteX694" fmla="*/ 110093 w 218720"/>
                <a:gd name="connsiteY694" fmla="*/ 213581 h 359632"/>
                <a:gd name="connsiteX695" fmla="*/ 106653 w 218720"/>
                <a:gd name="connsiteY695" fmla="*/ 210505 h 359632"/>
                <a:gd name="connsiteX696" fmla="*/ 104691 w 218720"/>
                <a:gd name="connsiteY696" fmla="*/ 208176 h 359632"/>
                <a:gd name="connsiteX697" fmla="*/ 101172 w 218720"/>
                <a:gd name="connsiteY697" fmla="*/ 203238 h 359632"/>
                <a:gd name="connsiteX698" fmla="*/ 100671 w 218720"/>
                <a:gd name="connsiteY698" fmla="*/ 200283 h 359632"/>
                <a:gd name="connsiteX699" fmla="*/ 103490 w 218720"/>
                <a:gd name="connsiteY699" fmla="*/ 193894 h 359632"/>
                <a:gd name="connsiteX700" fmla="*/ 107838 w 218720"/>
                <a:gd name="connsiteY700" fmla="*/ 189799 h 359632"/>
                <a:gd name="connsiteX701" fmla="*/ 112961 w 218720"/>
                <a:gd name="connsiteY701" fmla="*/ 188372 h 359632"/>
                <a:gd name="connsiteX702" fmla="*/ 111970 w 218720"/>
                <a:gd name="connsiteY702" fmla="*/ 188099 h 359632"/>
                <a:gd name="connsiteX703" fmla="*/ 104164 w 218720"/>
                <a:gd name="connsiteY703" fmla="*/ 188044 h 359632"/>
                <a:gd name="connsiteX704" fmla="*/ 101591 w 218720"/>
                <a:gd name="connsiteY704" fmla="*/ 188546 h 359632"/>
                <a:gd name="connsiteX705" fmla="*/ 99206 w 218720"/>
                <a:gd name="connsiteY705" fmla="*/ 190221 h 359632"/>
                <a:gd name="connsiteX706" fmla="*/ 97859 w 218720"/>
                <a:gd name="connsiteY706" fmla="*/ 190735 h 359632"/>
                <a:gd name="connsiteX707" fmla="*/ 96443 w 218720"/>
                <a:gd name="connsiteY707" fmla="*/ 190925 h 359632"/>
                <a:gd name="connsiteX708" fmla="*/ 95153 w 218720"/>
                <a:gd name="connsiteY708" fmla="*/ 191758 h 359632"/>
                <a:gd name="connsiteX709" fmla="*/ 93893 w 218720"/>
                <a:gd name="connsiteY709" fmla="*/ 192914 h 359632"/>
                <a:gd name="connsiteX710" fmla="*/ 92581 w 218720"/>
                <a:gd name="connsiteY710" fmla="*/ 193653 h 359632"/>
                <a:gd name="connsiteX711" fmla="*/ 89975 w 218720"/>
                <a:gd name="connsiteY711" fmla="*/ 193462 h 359632"/>
                <a:gd name="connsiteX712" fmla="*/ 88711 w 218720"/>
                <a:gd name="connsiteY712" fmla="*/ 193706 h 359632"/>
                <a:gd name="connsiteX713" fmla="*/ 87802 w 218720"/>
                <a:gd name="connsiteY713" fmla="*/ 193037 h 359632"/>
                <a:gd name="connsiteX714" fmla="*/ 87042 w 218720"/>
                <a:gd name="connsiteY714" fmla="*/ 191930 h 359632"/>
                <a:gd name="connsiteX715" fmla="*/ 86047 w 218720"/>
                <a:gd name="connsiteY715" fmla="*/ 191635 h 359632"/>
                <a:gd name="connsiteX716" fmla="*/ 84936 w 218720"/>
                <a:gd name="connsiteY716" fmla="*/ 191975 h 359632"/>
                <a:gd name="connsiteX717" fmla="*/ 82587 w 218720"/>
                <a:gd name="connsiteY717" fmla="*/ 193466 h 359632"/>
                <a:gd name="connsiteX718" fmla="*/ 80208 w 218720"/>
                <a:gd name="connsiteY718" fmla="*/ 194346 h 359632"/>
                <a:gd name="connsiteX719" fmla="*/ 77332 w 218720"/>
                <a:gd name="connsiteY719" fmla="*/ 193407 h 359632"/>
                <a:gd name="connsiteX720" fmla="*/ 73562 w 218720"/>
                <a:gd name="connsiteY720" fmla="*/ 191655 h 359632"/>
                <a:gd name="connsiteX721" fmla="*/ 72817 w 218720"/>
                <a:gd name="connsiteY721" fmla="*/ 192294 h 359632"/>
                <a:gd name="connsiteX722" fmla="*/ 71982 w 218720"/>
                <a:gd name="connsiteY722" fmla="*/ 193920 h 359632"/>
                <a:gd name="connsiteX723" fmla="*/ 71501 w 218720"/>
                <a:gd name="connsiteY723" fmla="*/ 196456 h 359632"/>
                <a:gd name="connsiteX724" fmla="*/ 68824 w 218720"/>
                <a:gd name="connsiteY724" fmla="*/ 194254 h 359632"/>
                <a:gd name="connsiteX725" fmla="*/ 66542 w 218720"/>
                <a:gd name="connsiteY725" fmla="*/ 191306 h 359632"/>
                <a:gd name="connsiteX726" fmla="*/ 65777 w 218720"/>
                <a:gd name="connsiteY726" fmla="*/ 189452 h 359632"/>
                <a:gd name="connsiteX727" fmla="*/ 65720 w 218720"/>
                <a:gd name="connsiteY727" fmla="*/ 187364 h 359632"/>
                <a:gd name="connsiteX728" fmla="*/ 66958 w 218720"/>
                <a:gd name="connsiteY728" fmla="*/ 186553 h 359632"/>
                <a:gd name="connsiteX729" fmla="*/ 68303 w 218720"/>
                <a:gd name="connsiteY729" fmla="*/ 187295 h 359632"/>
                <a:gd name="connsiteX730" fmla="*/ 70308 w 218720"/>
                <a:gd name="connsiteY730" fmla="*/ 182331 h 359632"/>
                <a:gd name="connsiteX731" fmla="*/ 74297 w 218720"/>
                <a:gd name="connsiteY731" fmla="*/ 175855 h 359632"/>
                <a:gd name="connsiteX732" fmla="*/ 75704 w 218720"/>
                <a:gd name="connsiteY732" fmla="*/ 173952 h 359632"/>
                <a:gd name="connsiteX733" fmla="*/ 76686 w 218720"/>
                <a:gd name="connsiteY733" fmla="*/ 171467 h 359632"/>
                <a:gd name="connsiteX734" fmla="*/ 76518 w 218720"/>
                <a:gd name="connsiteY734" fmla="*/ 169839 h 359632"/>
                <a:gd name="connsiteX735" fmla="*/ 75638 w 218720"/>
                <a:gd name="connsiteY735" fmla="*/ 168464 h 359632"/>
                <a:gd name="connsiteX736" fmla="*/ 71930 w 218720"/>
                <a:gd name="connsiteY736" fmla="*/ 165337 h 359632"/>
                <a:gd name="connsiteX737" fmla="*/ 71979 w 218720"/>
                <a:gd name="connsiteY737" fmla="*/ 162788 h 359632"/>
                <a:gd name="connsiteX738" fmla="*/ 72376 w 218720"/>
                <a:gd name="connsiteY738" fmla="*/ 159906 h 359632"/>
                <a:gd name="connsiteX739" fmla="*/ 73384 w 218720"/>
                <a:gd name="connsiteY739" fmla="*/ 158175 h 359632"/>
                <a:gd name="connsiteX740" fmla="*/ 73810 w 218720"/>
                <a:gd name="connsiteY740" fmla="*/ 157845 h 359632"/>
                <a:gd name="connsiteX741" fmla="*/ 78735 w 218720"/>
                <a:gd name="connsiteY741" fmla="*/ 157891 h 359632"/>
                <a:gd name="connsiteX742" fmla="*/ 76814 w 218720"/>
                <a:gd name="connsiteY742" fmla="*/ 156997 h 359632"/>
                <a:gd name="connsiteX743" fmla="*/ 72986 w 218720"/>
                <a:gd name="connsiteY743" fmla="*/ 154385 h 359632"/>
                <a:gd name="connsiteX744" fmla="*/ 73054 w 218720"/>
                <a:gd name="connsiteY744" fmla="*/ 153459 h 359632"/>
                <a:gd name="connsiteX745" fmla="*/ 73955 w 218720"/>
                <a:gd name="connsiteY745" fmla="*/ 151041 h 359632"/>
                <a:gd name="connsiteX746" fmla="*/ 73537 w 218720"/>
                <a:gd name="connsiteY746" fmla="*/ 151286 h 359632"/>
                <a:gd name="connsiteX747" fmla="*/ 72717 w 218720"/>
                <a:gd name="connsiteY747" fmla="*/ 152403 h 359632"/>
                <a:gd name="connsiteX748" fmla="*/ 71150 w 218720"/>
                <a:gd name="connsiteY748" fmla="*/ 155105 h 359632"/>
                <a:gd name="connsiteX749" fmla="*/ 70194 w 218720"/>
                <a:gd name="connsiteY749" fmla="*/ 155735 h 359632"/>
                <a:gd name="connsiteX750" fmla="*/ 67486 w 218720"/>
                <a:gd name="connsiteY750" fmla="*/ 156376 h 359632"/>
                <a:gd name="connsiteX751" fmla="*/ 66996 w 218720"/>
                <a:gd name="connsiteY751" fmla="*/ 157705 h 359632"/>
                <a:gd name="connsiteX752" fmla="*/ 66561 w 218720"/>
                <a:gd name="connsiteY752" fmla="*/ 158052 h 359632"/>
                <a:gd name="connsiteX753" fmla="*/ 65208 w 218720"/>
                <a:gd name="connsiteY753" fmla="*/ 158203 h 359632"/>
                <a:gd name="connsiteX754" fmla="*/ 64793 w 218720"/>
                <a:gd name="connsiteY754" fmla="*/ 159441 h 359632"/>
                <a:gd name="connsiteX755" fmla="*/ 64492 w 218720"/>
                <a:gd name="connsiteY755" fmla="*/ 159520 h 359632"/>
                <a:gd name="connsiteX756" fmla="*/ 64107 w 218720"/>
                <a:gd name="connsiteY756" fmla="*/ 158184 h 359632"/>
                <a:gd name="connsiteX757" fmla="*/ 64070 w 218720"/>
                <a:gd name="connsiteY757" fmla="*/ 155968 h 359632"/>
                <a:gd name="connsiteX758" fmla="*/ 64609 w 218720"/>
                <a:gd name="connsiteY758" fmla="*/ 153929 h 359632"/>
                <a:gd name="connsiteX759" fmla="*/ 65638 w 218720"/>
                <a:gd name="connsiteY759" fmla="*/ 152332 h 359632"/>
                <a:gd name="connsiteX760" fmla="*/ 69606 w 218720"/>
                <a:gd name="connsiteY760" fmla="*/ 148697 h 359632"/>
                <a:gd name="connsiteX761" fmla="*/ 67674 w 218720"/>
                <a:gd name="connsiteY761" fmla="*/ 149819 h 359632"/>
                <a:gd name="connsiteX762" fmla="*/ 63295 w 218720"/>
                <a:gd name="connsiteY762" fmla="*/ 153176 h 359632"/>
                <a:gd name="connsiteX763" fmla="*/ 61060 w 218720"/>
                <a:gd name="connsiteY763" fmla="*/ 155381 h 359632"/>
                <a:gd name="connsiteX764" fmla="*/ 60463 w 218720"/>
                <a:gd name="connsiteY764" fmla="*/ 156125 h 359632"/>
                <a:gd name="connsiteX765" fmla="*/ 60276 w 218720"/>
                <a:gd name="connsiteY765" fmla="*/ 156752 h 359632"/>
                <a:gd name="connsiteX766" fmla="*/ 60289 w 218720"/>
                <a:gd name="connsiteY766" fmla="*/ 157474 h 359632"/>
                <a:gd name="connsiteX767" fmla="*/ 61293 w 218720"/>
                <a:gd name="connsiteY767" fmla="*/ 161344 h 359632"/>
                <a:gd name="connsiteX768" fmla="*/ 61007 w 218720"/>
                <a:gd name="connsiteY768" fmla="*/ 163133 h 359632"/>
                <a:gd name="connsiteX769" fmla="*/ 57234 w 218720"/>
                <a:gd name="connsiteY769" fmla="*/ 174922 h 359632"/>
                <a:gd name="connsiteX770" fmla="*/ 56520 w 218720"/>
                <a:gd name="connsiteY770" fmla="*/ 176102 h 359632"/>
                <a:gd name="connsiteX771" fmla="*/ 55863 w 218720"/>
                <a:gd name="connsiteY771" fmla="*/ 176719 h 359632"/>
                <a:gd name="connsiteX772" fmla="*/ 55242 w 218720"/>
                <a:gd name="connsiteY772" fmla="*/ 176860 h 359632"/>
                <a:gd name="connsiteX773" fmla="*/ 53382 w 218720"/>
                <a:gd name="connsiteY773" fmla="*/ 176636 h 359632"/>
                <a:gd name="connsiteX774" fmla="*/ 52552 w 218720"/>
                <a:gd name="connsiteY774" fmla="*/ 175755 h 359632"/>
                <a:gd name="connsiteX775" fmla="*/ 52559 w 218720"/>
                <a:gd name="connsiteY775" fmla="*/ 174757 h 359632"/>
                <a:gd name="connsiteX776" fmla="*/ 52908 w 218720"/>
                <a:gd name="connsiteY776" fmla="*/ 173257 h 359632"/>
                <a:gd name="connsiteX777" fmla="*/ 54472 w 218720"/>
                <a:gd name="connsiteY777" fmla="*/ 167668 h 359632"/>
                <a:gd name="connsiteX778" fmla="*/ 55151 w 218720"/>
                <a:gd name="connsiteY778" fmla="*/ 166113 h 359632"/>
                <a:gd name="connsiteX779" fmla="*/ 56160 w 218720"/>
                <a:gd name="connsiteY779" fmla="*/ 164666 h 359632"/>
                <a:gd name="connsiteX780" fmla="*/ 58383 w 218720"/>
                <a:gd name="connsiteY780" fmla="*/ 162130 h 359632"/>
                <a:gd name="connsiteX781" fmla="*/ 58329 w 218720"/>
                <a:gd name="connsiteY781" fmla="*/ 161965 h 359632"/>
                <a:gd name="connsiteX782" fmla="*/ 56849 w 218720"/>
                <a:gd name="connsiteY782" fmla="*/ 162462 h 359632"/>
                <a:gd name="connsiteX783" fmla="*/ 56218 w 218720"/>
                <a:gd name="connsiteY783" fmla="*/ 162298 h 359632"/>
                <a:gd name="connsiteX784" fmla="*/ 55766 w 218720"/>
                <a:gd name="connsiteY784" fmla="*/ 161796 h 359632"/>
                <a:gd name="connsiteX785" fmla="*/ 56059 w 218720"/>
                <a:gd name="connsiteY785" fmla="*/ 154257 h 359632"/>
                <a:gd name="connsiteX786" fmla="*/ 57260 w 218720"/>
                <a:gd name="connsiteY786" fmla="*/ 151771 h 359632"/>
                <a:gd name="connsiteX787" fmla="*/ 57709 w 218720"/>
                <a:gd name="connsiteY787" fmla="*/ 148150 h 359632"/>
                <a:gd name="connsiteX788" fmla="*/ 58750 w 218720"/>
                <a:gd name="connsiteY788" fmla="*/ 145045 h 359632"/>
                <a:gd name="connsiteX789" fmla="*/ 59955 w 218720"/>
                <a:gd name="connsiteY789" fmla="*/ 142781 h 359632"/>
                <a:gd name="connsiteX790" fmla="*/ 60872 w 218720"/>
                <a:gd name="connsiteY790" fmla="*/ 139881 h 359632"/>
                <a:gd name="connsiteX791" fmla="*/ 62254 w 218720"/>
                <a:gd name="connsiteY791" fmla="*/ 138590 h 359632"/>
                <a:gd name="connsiteX792" fmla="*/ 62624 w 218720"/>
                <a:gd name="connsiteY792" fmla="*/ 136614 h 359632"/>
                <a:gd name="connsiteX793" fmla="*/ 64174 w 218720"/>
                <a:gd name="connsiteY793" fmla="*/ 134473 h 359632"/>
                <a:gd name="connsiteX794" fmla="*/ 65373 w 218720"/>
                <a:gd name="connsiteY794" fmla="*/ 132232 h 359632"/>
                <a:gd name="connsiteX795" fmla="*/ 64727 w 218720"/>
                <a:gd name="connsiteY795" fmla="*/ 132454 h 359632"/>
                <a:gd name="connsiteX796" fmla="*/ 57063 w 218720"/>
                <a:gd name="connsiteY796" fmla="*/ 138281 h 359632"/>
                <a:gd name="connsiteX797" fmla="*/ 55111 w 218720"/>
                <a:gd name="connsiteY797" fmla="*/ 139341 h 359632"/>
                <a:gd name="connsiteX798" fmla="*/ 52450 w 218720"/>
                <a:gd name="connsiteY798" fmla="*/ 139057 h 359632"/>
                <a:gd name="connsiteX799" fmla="*/ 50415 w 218720"/>
                <a:gd name="connsiteY799" fmla="*/ 138403 h 359632"/>
                <a:gd name="connsiteX800" fmla="*/ 48825 w 218720"/>
                <a:gd name="connsiteY800" fmla="*/ 137025 h 359632"/>
                <a:gd name="connsiteX801" fmla="*/ 48114 w 218720"/>
                <a:gd name="connsiteY801" fmla="*/ 134378 h 359632"/>
                <a:gd name="connsiteX802" fmla="*/ 46150 w 218720"/>
                <a:gd name="connsiteY802" fmla="*/ 134307 h 359632"/>
                <a:gd name="connsiteX803" fmla="*/ 44470 w 218720"/>
                <a:gd name="connsiteY803" fmla="*/ 133849 h 359632"/>
                <a:gd name="connsiteX804" fmla="*/ 44491 w 218720"/>
                <a:gd name="connsiteY804" fmla="*/ 133493 h 359632"/>
                <a:gd name="connsiteX805" fmla="*/ 46658 w 218720"/>
                <a:gd name="connsiteY805" fmla="*/ 132048 h 359632"/>
                <a:gd name="connsiteX806" fmla="*/ 50132 w 218720"/>
                <a:gd name="connsiteY806" fmla="*/ 131552 h 359632"/>
                <a:gd name="connsiteX807" fmla="*/ 53383 w 218720"/>
                <a:gd name="connsiteY807" fmla="*/ 129237 h 359632"/>
                <a:gd name="connsiteX808" fmla="*/ 50490 w 218720"/>
                <a:gd name="connsiteY808" fmla="*/ 127672 h 359632"/>
                <a:gd name="connsiteX809" fmla="*/ 50735 w 218720"/>
                <a:gd name="connsiteY809" fmla="*/ 127176 h 359632"/>
                <a:gd name="connsiteX810" fmla="*/ 53258 w 218720"/>
                <a:gd name="connsiteY810" fmla="*/ 125842 h 359632"/>
                <a:gd name="connsiteX811" fmla="*/ 56463 w 218720"/>
                <a:gd name="connsiteY811" fmla="*/ 121362 h 359632"/>
                <a:gd name="connsiteX812" fmla="*/ 57113 w 218720"/>
                <a:gd name="connsiteY812" fmla="*/ 117232 h 359632"/>
                <a:gd name="connsiteX813" fmla="*/ 55580 w 218720"/>
                <a:gd name="connsiteY813" fmla="*/ 115289 h 359632"/>
                <a:gd name="connsiteX814" fmla="*/ 55025 w 218720"/>
                <a:gd name="connsiteY814" fmla="*/ 114015 h 359632"/>
                <a:gd name="connsiteX815" fmla="*/ 51961 w 218720"/>
                <a:gd name="connsiteY815" fmla="*/ 112594 h 359632"/>
                <a:gd name="connsiteX816" fmla="*/ 51449 w 218720"/>
                <a:gd name="connsiteY816" fmla="*/ 110774 h 359632"/>
                <a:gd name="connsiteX817" fmla="*/ 51805 w 218720"/>
                <a:gd name="connsiteY817" fmla="*/ 109758 h 359632"/>
                <a:gd name="connsiteX818" fmla="*/ 52805 w 218720"/>
                <a:gd name="connsiteY818" fmla="*/ 108765 h 359632"/>
                <a:gd name="connsiteX819" fmla="*/ 54312 w 218720"/>
                <a:gd name="connsiteY819" fmla="*/ 107991 h 359632"/>
                <a:gd name="connsiteX820" fmla="*/ 56674 w 218720"/>
                <a:gd name="connsiteY820" fmla="*/ 107251 h 359632"/>
                <a:gd name="connsiteX821" fmla="*/ 54530 w 218720"/>
                <a:gd name="connsiteY821" fmla="*/ 106457 h 359632"/>
                <a:gd name="connsiteX822" fmla="*/ 53730 w 218720"/>
                <a:gd name="connsiteY822" fmla="*/ 105520 h 359632"/>
                <a:gd name="connsiteX823" fmla="*/ 53123 w 218720"/>
                <a:gd name="connsiteY823" fmla="*/ 104163 h 359632"/>
                <a:gd name="connsiteX824" fmla="*/ 53067 w 218720"/>
                <a:gd name="connsiteY824" fmla="*/ 103376 h 359632"/>
                <a:gd name="connsiteX825" fmla="*/ 54177 w 218720"/>
                <a:gd name="connsiteY825" fmla="*/ 99866 h 359632"/>
                <a:gd name="connsiteX826" fmla="*/ 54823 w 218720"/>
                <a:gd name="connsiteY826" fmla="*/ 98417 h 359632"/>
                <a:gd name="connsiteX827" fmla="*/ 56087 w 218720"/>
                <a:gd name="connsiteY827" fmla="*/ 96568 h 359632"/>
                <a:gd name="connsiteX828" fmla="*/ 61821 w 218720"/>
                <a:gd name="connsiteY828" fmla="*/ 96672 h 359632"/>
                <a:gd name="connsiteX829" fmla="*/ 62480 w 218720"/>
                <a:gd name="connsiteY829" fmla="*/ 95855 h 359632"/>
                <a:gd name="connsiteX830" fmla="*/ 63130 w 218720"/>
                <a:gd name="connsiteY830" fmla="*/ 95823 h 359632"/>
                <a:gd name="connsiteX831" fmla="*/ 66062 w 218720"/>
                <a:gd name="connsiteY831" fmla="*/ 96568 h 359632"/>
                <a:gd name="connsiteX832" fmla="*/ 65627 w 218720"/>
                <a:gd name="connsiteY832" fmla="*/ 95766 h 359632"/>
                <a:gd name="connsiteX833" fmla="*/ 60832 w 218720"/>
                <a:gd name="connsiteY833" fmla="*/ 91368 h 359632"/>
                <a:gd name="connsiteX834" fmla="*/ 60402 w 218720"/>
                <a:gd name="connsiteY834" fmla="*/ 90530 h 359632"/>
                <a:gd name="connsiteX835" fmla="*/ 61769 w 218720"/>
                <a:gd name="connsiteY835" fmla="*/ 88154 h 359632"/>
                <a:gd name="connsiteX836" fmla="*/ 61868 w 218720"/>
                <a:gd name="connsiteY836" fmla="*/ 87094 h 359632"/>
                <a:gd name="connsiteX837" fmla="*/ 61668 w 218720"/>
                <a:gd name="connsiteY837" fmla="*/ 85961 h 359632"/>
                <a:gd name="connsiteX838" fmla="*/ 62058 w 218720"/>
                <a:gd name="connsiteY838" fmla="*/ 85098 h 359632"/>
                <a:gd name="connsiteX839" fmla="*/ 63578 w 218720"/>
                <a:gd name="connsiteY839" fmla="*/ 84690 h 359632"/>
                <a:gd name="connsiteX840" fmla="*/ 68213 w 218720"/>
                <a:gd name="connsiteY840" fmla="*/ 84731 h 359632"/>
                <a:gd name="connsiteX841" fmla="*/ 69355 w 218720"/>
                <a:gd name="connsiteY841" fmla="*/ 84329 h 359632"/>
                <a:gd name="connsiteX842" fmla="*/ 68835 w 218720"/>
                <a:gd name="connsiteY842" fmla="*/ 83181 h 359632"/>
                <a:gd name="connsiteX843" fmla="*/ 67756 w 218720"/>
                <a:gd name="connsiteY843" fmla="*/ 81671 h 359632"/>
                <a:gd name="connsiteX844" fmla="*/ 67545 w 218720"/>
                <a:gd name="connsiteY844" fmla="*/ 80402 h 359632"/>
                <a:gd name="connsiteX845" fmla="*/ 67798 w 218720"/>
                <a:gd name="connsiteY845" fmla="*/ 79281 h 359632"/>
                <a:gd name="connsiteX846" fmla="*/ 67857 w 218720"/>
                <a:gd name="connsiteY846" fmla="*/ 77022 h 359632"/>
                <a:gd name="connsiteX847" fmla="*/ 68068 w 218720"/>
                <a:gd name="connsiteY847" fmla="*/ 76022 h 359632"/>
                <a:gd name="connsiteX848" fmla="*/ 69168 w 218720"/>
                <a:gd name="connsiteY848" fmla="*/ 74524 h 359632"/>
                <a:gd name="connsiteX849" fmla="*/ 70077 w 218720"/>
                <a:gd name="connsiteY849" fmla="*/ 74079 h 359632"/>
                <a:gd name="connsiteX850" fmla="*/ 71204 w 218720"/>
                <a:gd name="connsiteY850" fmla="*/ 73818 h 359632"/>
                <a:gd name="connsiteX851" fmla="*/ 73748 w 218720"/>
                <a:gd name="connsiteY851" fmla="*/ 74319 h 359632"/>
                <a:gd name="connsiteX852" fmla="*/ 74718 w 218720"/>
                <a:gd name="connsiteY852" fmla="*/ 74924 h 359632"/>
                <a:gd name="connsiteX853" fmla="*/ 75831 w 218720"/>
                <a:gd name="connsiteY853" fmla="*/ 76352 h 359632"/>
                <a:gd name="connsiteX854" fmla="*/ 76654 w 218720"/>
                <a:gd name="connsiteY854" fmla="*/ 76236 h 359632"/>
                <a:gd name="connsiteX855" fmla="*/ 79822 w 218720"/>
                <a:gd name="connsiteY855" fmla="*/ 74685 h 359632"/>
                <a:gd name="connsiteX856" fmla="*/ 80774 w 218720"/>
                <a:gd name="connsiteY856" fmla="*/ 74462 h 359632"/>
                <a:gd name="connsiteX857" fmla="*/ 82070 w 218720"/>
                <a:gd name="connsiteY857" fmla="*/ 76260 h 359632"/>
                <a:gd name="connsiteX858" fmla="*/ 87480 w 218720"/>
                <a:gd name="connsiteY858" fmla="*/ 74826 h 359632"/>
                <a:gd name="connsiteX859" fmla="*/ 94757 w 218720"/>
                <a:gd name="connsiteY859" fmla="*/ 74183 h 359632"/>
                <a:gd name="connsiteX860" fmla="*/ 99129 w 218720"/>
                <a:gd name="connsiteY860" fmla="*/ 73239 h 359632"/>
                <a:gd name="connsiteX861" fmla="*/ 103733 w 218720"/>
                <a:gd name="connsiteY861" fmla="*/ 72896 h 359632"/>
                <a:gd name="connsiteX862" fmla="*/ 115062 w 218720"/>
                <a:gd name="connsiteY862" fmla="*/ 65804 h 359632"/>
                <a:gd name="connsiteX863" fmla="*/ 116053 w 218720"/>
                <a:gd name="connsiteY863" fmla="*/ 66067 h 359632"/>
                <a:gd name="connsiteX864" fmla="*/ 115685 w 218720"/>
                <a:gd name="connsiteY864" fmla="*/ 66975 h 359632"/>
                <a:gd name="connsiteX865" fmla="*/ 115324 w 218720"/>
                <a:gd name="connsiteY865" fmla="*/ 68857 h 359632"/>
                <a:gd name="connsiteX866" fmla="*/ 115112 w 218720"/>
                <a:gd name="connsiteY866" fmla="*/ 68953 h 359632"/>
                <a:gd name="connsiteX867" fmla="*/ 114307 w 218720"/>
                <a:gd name="connsiteY867" fmla="*/ 68360 h 359632"/>
                <a:gd name="connsiteX868" fmla="*/ 112979 w 218720"/>
                <a:gd name="connsiteY868" fmla="*/ 66228 h 359632"/>
                <a:gd name="connsiteX869" fmla="*/ 105859 w 218720"/>
                <a:gd name="connsiteY869" fmla="*/ 63098 h 359632"/>
                <a:gd name="connsiteX870" fmla="*/ 107750 w 218720"/>
                <a:gd name="connsiteY870" fmla="*/ 63544 h 359632"/>
                <a:gd name="connsiteX871" fmla="*/ 108729 w 218720"/>
                <a:gd name="connsiteY871" fmla="*/ 65107 h 359632"/>
                <a:gd name="connsiteX872" fmla="*/ 108851 w 218720"/>
                <a:gd name="connsiteY872" fmla="*/ 66123 h 359632"/>
                <a:gd name="connsiteX873" fmla="*/ 109083 w 218720"/>
                <a:gd name="connsiteY873" fmla="*/ 66522 h 359632"/>
                <a:gd name="connsiteX874" fmla="*/ 110257 w 218720"/>
                <a:gd name="connsiteY874" fmla="*/ 66923 h 359632"/>
                <a:gd name="connsiteX875" fmla="*/ 110115 w 218720"/>
                <a:gd name="connsiteY875" fmla="*/ 67151 h 359632"/>
                <a:gd name="connsiteX876" fmla="*/ 108851 w 218720"/>
                <a:gd name="connsiteY876" fmla="*/ 67581 h 359632"/>
                <a:gd name="connsiteX877" fmla="*/ 107598 w 218720"/>
                <a:gd name="connsiteY877" fmla="*/ 67549 h 359632"/>
                <a:gd name="connsiteX878" fmla="*/ 105643 w 218720"/>
                <a:gd name="connsiteY878" fmla="*/ 65673 h 359632"/>
                <a:gd name="connsiteX879" fmla="*/ 104900 w 218720"/>
                <a:gd name="connsiteY879" fmla="*/ 64307 h 359632"/>
                <a:gd name="connsiteX880" fmla="*/ 105034 w 218720"/>
                <a:gd name="connsiteY880" fmla="*/ 63403 h 359632"/>
                <a:gd name="connsiteX881" fmla="*/ 108266 w 218720"/>
                <a:gd name="connsiteY881" fmla="*/ 55774 h 359632"/>
                <a:gd name="connsiteX882" fmla="*/ 110302 w 218720"/>
                <a:gd name="connsiteY882" fmla="*/ 56022 h 359632"/>
                <a:gd name="connsiteX883" fmla="*/ 112632 w 218720"/>
                <a:gd name="connsiteY883" fmla="*/ 57239 h 359632"/>
                <a:gd name="connsiteX884" fmla="*/ 113337 w 218720"/>
                <a:gd name="connsiteY884" fmla="*/ 57988 h 359632"/>
                <a:gd name="connsiteX885" fmla="*/ 113320 w 218720"/>
                <a:gd name="connsiteY885" fmla="*/ 58586 h 359632"/>
                <a:gd name="connsiteX886" fmla="*/ 112493 w 218720"/>
                <a:gd name="connsiteY886" fmla="*/ 59499 h 359632"/>
                <a:gd name="connsiteX887" fmla="*/ 112199 w 218720"/>
                <a:gd name="connsiteY887" fmla="*/ 60302 h 359632"/>
                <a:gd name="connsiteX888" fmla="*/ 113880 w 218720"/>
                <a:gd name="connsiteY888" fmla="*/ 60283 h 359632"/>
                <a:gd name="connsiteX889" fmla="*/ 116315 w 218720"/>
                <a:gd name="connsiteY889" fmla="*/ 60967 h 359632"/>
                <a:gd name="connsiteX890" fmla="*/ 117789 w 218720"/>
                <a:gd name="connsiteY890" fmla="*/ 61053 h 359632"/>
                <a:gd name="connsiteX891" fmla="*/ 119015 w 218720"/>
                <a:gd name="connsiteY891" fmla="*/ 61901 h 359632"/>
                <a:gd name="connsiteX892" fmla="*/ 118339 w 218720"/>
                <a:gd name="connsiteY892" fmla="*/ 63490 h 359632"/>
                <a:gd name="connsiteX893" fmla="*/ 117605 w 218720"/>
                <a:gd name="connsiteY893" fmla="*/ 63935 h 359632"/>
                <a:gd name="connsiteX894" fmla="*/ 116775 w 218720"/>
                <a:gd name="connsiteY894" fmla="*/ 64023 h 359632"/>
                <a:gd name="connsiteX895" fmla="*/ 113877 w 218720"/>
                <a:gd name="connsiteY895" fmla="*/ 62436 h 359632"/>
                <a:gd name="connsiteX896" fmla="*/ 110079 w 218720"/>
                <a:gd name="connsiteY896" fmla="*/ 63095 h 359632"/>
                <a:gd name="connsiteX897" fmla="*/ 109323 w 218720"/>
                <a:gd name="connsiteY897" fmla="*/ 62894 h 359632"/>
                <a:gd name="connsiteX898" fmla="*/ 108824 w 218720"/>
                <a:gd name="connsiteY898" fmla="*/ 62455 h 359632"/>
                <a:gd name="connsiteX899" fmla="*/ 108619 w 218720"/>
                <a:gd name="connsiteY899" fmla="*/ 61911 h 359632"/>
                <a:gd name="connsiteX900" fmla="*/ 108615 w 218720"/>
                <a:gd name="connsiteY900" fmla="*/ 60801 h 359632"/>
                <a:gd name="connsiteX901" fmla="*/ 108409 w 218720"/>
                <a:gd name="connsiteY901" fmla="*/ 60473 h 359632"/>
                <a:gd name="connsiteX902" fmla="*/ 107033 w 218720"/>
                <a:gd name="connsiteY902" fmla="*/ 61523 h 359632"/>
                <a:gd name="connsiteX903" fmla="*/ 106429 w 218720"/>
                <a:gd name="connsiteY903" fmla="*/ 61399 h 359632"/>
                <a:gd name="connsiteX904" fmla="*/ 106088 w 218720"/>
                <a:gd name="connsiteY904" fmla="*/ 60896 h 359632"/>
                <a:gd name="connsiteX905" fmla="*/ 105941 w 218720"/>
                <a:gd name="connsiteY905" fmla="*/ 59853 h 359632"/>
                <a:gd name="connsiteX906" fmla="*/ 106094 w 218720"/>
                <a:gd name="connsiteY906" fmla="*/ 58347 h 359632"/>
                <a:gd name="connsiteX907" fmla="*/ 106900 w 218720"/>
                <a:gd name="connsiteY907" fmla="*/ 56202 h 359632"/>
                <a:gd name="connsiteX908" fmla="*/ 124031 w 218720"/>
                <a:gd name="connsiteY908" fmla="*/ 50542 h 359632"/>
                <a:gd name="connsiteX909" fmla="*/ 126876 w 218720"/>
                <a:gd name="connsiteY909" fmla="*/ 50758 h 359632"/>
                <a:gd name="connsiteX910" fmla="*/ 126370 w 218720"/>
                <a:gd name="connsiteY910" fmla="*/ 51625 h 359632"/>
                <a:gd name="connsiteX911" fmla="*/ 123738 w 218720"/>
                <a:gd name="connsiteY911" fmla="*/ 52921 h 359632"/>
                <a:gd name="connsiteX912" fmla="*/ 121235 w 218720"/>
                <a:gd name="connsiteY912" fmla="*/ 52960 h 359632"/>
                <a:gd name="connsiteX913" fmla="*/ 122528 w 218720"/>
                <a:gd name="connsiteY913" fmla="*/ 51028 h 359632"/>
                <a:gd name="connsiteX914" fmla="*/ 114304 w 218720"/>
                <a:gd name="connsiteY914" fmla="*/ 49137 h 359632"/>
                <a:gd name="connsiteX915" fmla="*/ 116822 w 218720"/>
                <a:gd name="connsiteY915" fmla="*/ 51059 h 359632"/>
                <a:gd name="connsiteX916" fmla="*/ 117853 w 218720"/>
                <a:gd name="connsiteY916" fmla="*/ 52612 h 359632"/>
                <a:gd name="connsiteX917" fmla="*/ 119718 w 218720"/>
                <a:gd name="connsiteY917" fmla="*/ 53071 h 359632"/>
                <a:gd name="connsiteX918" fmla="*/ 119956 w 218720"/>
                <a:gd name="connsiteY918" fmla="*/ 53309 h 359632"/>
                <a:gd name="connsiteX919" fmla="*/ 119746 w 218720"/>
                <a:gd name="connsiteY919" fmla="*/ 54377 h 359632"/>
                <a:gd name="connsiteX920" fmla="*/ 117848 w 218720"/>
                <a:gd name="connsiteY920" fmla="*/ 55188 h 359632"/>
                <a:gd name="connsiteX921" fmla="*/ 117038 w 218720"/>
                <a:gd name="connsiteY921" fmla="*/ 54517 h 359632"/>
                <a:gd name="connsiteX922" fmla="*/ 116827 w 218720"/>
                <a:gd name="connsiteY922" fmla="*/ 52416 h 359632"/>
                <a:gd name="connsiteX923" fmla="*/ 114564 w 218720"/>
                <a:gd name="connsiteY923" fmla="*/ 51516 h 359632"/>
                <a:gd name="connsiteX924" fmla="*/ 113464 w 218720"/>
                <a:gd name="connsiteY924" fmla="*/ 50957 h 359632"/>
                <a:gd name="connsiteX925" fmla="*/ 112612 w 218720"/>
                <a:gd name="connsiteY925" fmla="*/ 49897 h 359632"/>
                <a:gd name="connsiteX926" fmla="*/ 112829 w 218720"/>
                <a:gd name="connsiteY926" fmla="*/ 49572 h 359632"/>
                <a:gd name="connsiteX927" fmla="*/ 149939 w 218720"/>
                <a:gd name="connsiteY927" fmla="*/ 7430 h 359632"/>
                <a:gd name="connsiteX928" fmla="*/ 151315 w 218720"/>
                <a:gd name="connsiteY928" fmla="*/ 7494 h 359632"/>
                <a:gd name="connsiteX929" fmla="*/ 151174 w 218720"/>
                <a:gd name="connsiteY929" fmla="*/ 9833 h 359632"/>
                <a:gd name="connsiteX930" fmla="*/ 151632 w 218720"/>
                <a:gd name="connsiteY930" fmla="*/ 12180 h 359632"/>
                <a:gd name="connsiteX931" fmla="*/ 152774 w 218720"/>
                <a:gd name="connsiteY931" fmla="*/ 11572 h 359632"/>
                <a:gd name="connsiteX932" fmla="*/ 154498 w 218720"/>
                <a:gd name="connsiteY932" fmla="*/ 13821 h 359632"/>
                <a:gd name="connsiteX933" fmla="*/ 155378 w 218720"/>
                <a:gd name="connsiteY933" fmla="*/ 13824 h 359632"/>
                <a:gd name="connsiteX934" fmla="*/ 156827 w 218720"/>
                <a:gd name="connsiteY934" fmla="*/ 12931 h 359632"/>
                <a:gd name="connsiteX935" fmla="*/ 156535 w 218720"/>
                <a:gd name="connsiteY935" fmla="*/ 15023 h 359632"/>
                <a:gd name="connsiteX936" fmla="*/ 155031 w 218720"/>
                <a:gd name="connsiteY936" fmla="*/ 20819 h 359632"/>
                <a:gd name="connsiteX937" fmla="*/ 154608 w 218720"/>
                <a:gd name="connsiteY937" fmla="*/ 21802 h 359632"/>
                <a:gd name="connsiteX938" fmla="*/ 154322 w 218720"/>
                <a:gd name="connsiteY938" fmla="*/ 23560 h 359632"/>
                <a:gd name="connsiteX939" fmla="*/ 154023 w 218720"/>
                <a:gd name="connsiteY939" fmla="*/ 23902 h 359632"/>
                <a:gd name="connsiteX940" fmla="*/ 153579 w 218720"/>
                <a:gd name="connsiteY940" fmla="*/ 27452 h 359632"/>
                <a:gd name="connsiteX941" fmla="*/ 152562 w 218720"/>
                <a:gd name="connsiteY941" fmla="*/ 28620 h 359632"/>
                <a:gd name="connsiteX942" fmla="*/ 151712 w 218720"/>
                <a:gd name="connsiteY942" fmla="*/ 31404 h 359632"/>
                <a:gd name="connsiteX943" fmla="*/ 151365 w 218720"/>
                <a:gd name="connsiteY943" fmla="*/ 31676 h 359632"/>
                <a:gd name="connsiteX944" fmla="*/ 150118 w 218720"/>
                <a:gd name="connsiteY944" fmla="*/ 30605 h 359632"/>
                <a:gd name="connsiteX945" fmla="*/ 151364 w 218720"/>
                <a:gd name="connsiteY945" fmla="*/ 26353 h 359632"/>
                <a:gd name="connsiteX946" fmla="*/ 151880 w 218720"/>
                <a:gd name="connsiteY946" fmla="*/ 23878 h 359632"/>
                <a:gd name="connsiteX947" fmla="*/ 151554 w 218720"/>
                <a:gd name="connsiteY947" fmla="*/ 22593 h 359632"/>
                <a:gd name="connsiteX948" fmla="*/ 150849 w 218720"/>
                <a:gd name="connsiteY948" fmla="*/ 21436 h 359632"/>
                <a:gd name="connsiteX949" fmla="*/ 148942 w 218720"/>
                <a:gd name="connsiteY949" fmla="*/ 21399 h 359632"/>
                <a:gd name="connsiteX950" fmla="*/ 147340 w 218720"/>
                <a:gd name="connsiteY950" fmla="*/ 21933 h 359632"/>
                <a:gd name="connsiteX951" fmla="*/ 147000 w 218720"/>
                <a:gd name="connsiteY951" fmla="*/ 21250 h 359632"/>
                <a:gd name="connsiteX952" fmla="*/ 146950 w 218720"/>
                <a:gd name="connsiteY952" fmla="*/ 20329 h 359632"/>
                <a:gd name="connsiteX953" fmla="*/ 146564 w 218720"/>
                <a:gd name="connsiteY953" fmla="*/ 20023 h 359632"/>
                <a:gd name="connsiteX954" fmla="*/ 144431 w 218720"/>
                <a:gd name="connsiteY954" fmla="*/ 20086 h 359632"/>
                <a:gd name="connsiteX955" fmla="*/ 143805 w 218720"/>
                <a:gd name="connsiteY955" fmla="*/ 19832 h 359632"/>
                <a:gd name="connsiteX956" fmla="*/ 143392 w 218720"/>
                <a:gd name="connsiteY956" fmla="*/ 18986 h 359632"/>
                <a:gd name="connsiteX957" fmla="*/ 143310 w 218720"/>
                <a:gd name="connsiteY957" fmla="*/ 18314 h 359632"/>
                <a:gd name="connsiteX958" fmla="*/ 145236 w 218720"/>
                <a:gd name="connsiteY958" fmla="*/ 17787 h 359632"/>
                <a:gd name="connsiteX959" fmla="*/ 147054 w 218720"/>
                <a:gd name="connsiteY959" fmla="*/ 17983 h 359632"/>
                <a:gd name="connsiteX960" fmla="*/ 149703 w 218720"/>
                <a:gd name="connsiteY960" fmla="*/ 16640 h 359632"/>
                <a:gd name="connsiteX961" fmla="*/ 148046 w 218720"/>
                <a:gd name="connsiteY961" fmla="*/ 12130 h 359632"/>
                <a:gd name="connsiteX962" fmla="*/ 145851 w 218720"/>
                <a:gd name="connsiteY962" fmla="*/ 11705 h 359632"/>
                <a:gd name="connsiteX963" fmla="*/ 145344 w 218720"/>
                <a:gd name="connsiteY963" fmla="*/ 11268 h 359632"/>
                <a:gd name="connsiteX964" fmla="*/ 145767 w 218720"/>
                <a:gd name="connsiteY964" fmla="*/ 10502 h 359632"/>
                <a:gd name="connsiteX965" fmla="*/ 146972 w 218720"/>
                <a:gd name="connsiteY965" fmla="*/ 10089 h 359632"/>
                <a:gd name="connsiteX966" fmla="*/ 148828 w 218720"/>
                <a:gd name="connsiteY966" fmla="*/ 7792 h 359632"/>
                <a:gd name="connsiteX967" fmla="*/ 155924 w 218720"/>
                <a:gd name="connsiteY967" fmla="*/ 3736 h 359632"/>
                <a:gd name="connsiteX968" fmla="*/ 157863 w 218720"/>
                <a:gd name="connsiteY968" fmla="*/ 3860 h 359632"/>
                <a:gd name="connsiteX969" fmla="*/ 158171 w 218720"/>
                <a:gd name="connsiteY969" fmla="*/ 4878 h 359632"/>
                <a:gd name="connsiteX970" fmla="*/ 157979 w 218720"/>
                <a:gd name="connsiteY970" fmla="*/ 5814 h 359632"/>
                <a:gd name="connsiteX971" fmla="*/ 156991 w 218720"/>
                <a:gd name="connsiteY971" fmla="*/ 5897 h 359632"/>
                <a:gd name="connsiteX972" fmla="*/ 156903 w 218720"/>
                <a:gd name="connsiteY972" fmla="*/ 6184 h 359632"/>
                <a:gd name="connsiteX973" fmla="*/ 157211 w 218720"/>
                <a:gd name="connsiteY973" fmla="*/ 7986 h 359632"/>
                <a:gd name="connsiteX974" fmla="*/ 157230 w 218720"/>
                <a:gd name="connsiteY974" fmla="*/ 10077 h 359632"/>
                <a:gd name="connsiteX975" fmla="*/ 157046 w 218720"/>
                <a:gd name="connsiteY975" fmla="*/ 10621 h 359632"/>
                <a:gd name="connsiteX976" fmla="*/ 156486 w 218720"/>
                <a:gd name="connsiteY976" fmla="*/ 11006 h 359632"/>
                <a:gd name="connsiteX977" fmla="*/ 154327 w 218720"/>
                <a:gd name="connsiteY977" fmla="*/ 7619 h 359632"/>
                <a:gd name="connsiteX978" fmla="*/ 161891 w 218720"/>
                <a:gd name="connsiteY978" fmla="*/ 0 h 359632"/>
                <a:gd name="connsiteX979" fmla="*/ 162369 w 218720"/>
                <a:gd name="connsiteY979" fmla="*/ 21 h 359632"/>
                <a:gd name="connsiteX980" fmla="*/ 162978 w 218720"/>
                <a:gd name="connsiteY980" fmla="*/ 667 h 359632"/>
                <a:gd name="connsiteX981" fmla="*/ 162977 w 218720"/>
                <a:gd name="connsiteY981" fmla="*/ 1051 h 359632"/>
                <a:gd name="connsiteX982" fmla="*/ 161831 w 218720"/>
                <a:gd name="connsiteY982" fmla="*/ 3871 h 359632"/>
                <a:gd name="connsiteX983" fmla="*/ 161846 w 218720"/>
                <a:gd name="connsiteY983" fmla="*/ 4948 h 359632"/>
                <a:gd name="connsiteX984" fmla="*/ 159996 w 218720"/>
                <a:gd name="connsiteY984" fmla="*/ 4845 h 359632"/>
                <a:gd name="connsiteX985" fmla="*/ 159706 w 218720"/>
                <a:gd name="connsiteY985" fmla="*/ 4502 h 359632"/>
                <a:gd name="connsiteX986" fmla="*/ 159356 w 218720"/>
                <a:gd name="connsiteY986" fmla="*/ 2885 h 359632"/>
                <a:gd name="connsiteX987" fmla="*/ 159589 w 218720"/>
                <a:gd name="connsiteY987" fmla="*/ 1162 h 359632"/>
                <a:gd name="connsiteX988" fmla="*/ 159848 w 218720"/>
                <a:gd name="connsiteY988" fmla="*/ 718 h 359632"/>
                <a:gd name="connsiteX989" fmla="*/ 160388 w 218720"/>
                <a:gd name="connsiteY989" fmla="*/ 535 h 359632"/>
                <a:gd name="connsiteX990" fmla="*/ 160973 w 218720"/>
                <a:gd name="connsiteY990" fmla="*/ 873 h 359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Lst>
              <a:rect l="l" t="t" r="r" b="b"/>
              <a:pathLst>
                <a:path w="218720" h="359632">
                  <a:moveTo>
                    <a:pt x="130999" y="356870"/>
                  </a:moveTo>
                  <a:lnTo>
                    <a:pt x="134057" y="357184"/>
                  </a:lnTo>
                  <a:lnTo>
                    <a:pt x="135462" y="357875"/>
                  </a:lnTo>
                  <a:lnTo>
                    <a:pt x="135656" y="359317"/>
                  </a:lnTo>
                  <a:lnTo>
                    <a:pt x="134686" y="359632"/>
                  </a:lnTo>
                  <a:lnTo>
                    <a:pt x="133862" y="359129"/>
                  </a:lnTo>
                  <a:lnTo>
                    <a:pt x="132211" y="359129"/>
                  </a:lnTo>
                  <a:lnTo>
                    <a:pt x="130660" y="359444"/>
                  </a:lnTo>
                  <a:close/>
                  <a:moveTo>
                    <a:pt x="123886" y="349985"/>
                  </a:moveTo>
                  <a:lnTo>
                    <a:pt x="124356" y="349993"/>
                  </a:lnTo>
                  <a:lnTo>
                    <a:pt x="124547" y="350331"/>
                  </a:lnTo>
                  <a:lnTo>
                    <a:pt x="123771" y="352219"/>
                  </a:lnTo>
                  <a:lnTo>
                    <a:pt x="121745" y="351582"/>
                  </a:lnTo>
                  <a:lnTo>
                    <a:pt x="121587" y="351086"/>
                  </a:lnTo>
                  <a:close/>
                  <a:moveTo>
                    <a:pt x="151070" y="313354"/>
                  </a:moveTo>
                  <a:lnTo>
                    <a:pt x="154798" y="314483"/>
                  </a:lnTo>
                  <a:lnTo>
                    <a:pt x="156537" y="315778"/>
                  </a:lnTo>
                  <a:lnTo>
                    <a:pt x="154684" y="316783"/>
                  </a:lnTo>
                  <a:lnTo>
                    <a:pt x="154099" y="317960"/>
                  </a:lnTo>
                  <a:lnTo>
                    <a:pt x="153651" y="318425"/>
                  </a:lnTo>
                  <a:lnTo>
                    <a:pt x="152426" y="318728"/>
                  </a:lnTo>
                  <a:lnTo>
                    <a:pt x="151214" y="318736"/>
                  </a:lnTo>
                  <a:lnTo>
                    <a:pt x="146592" y="316373"/>
                  </a:lnTo>
                  <a:lnTo>
                    <a:pt x="145528" y="316480"/>
                  </a:lnTo>
                  <a:lnTo>
                    <a:pt x="146584" y="315397"/>
                  </a:lnTo>
                  <a:lnTo>
                    <a:pt x="149455" y="314517"/>
                  </a:lnTo>
                  <a:close/>
                  <a:moveTo>
                    <a:pt x="81441" y="235014"/>
                  </a:moveTo>
                  <a:lnTo>
                    <a:pt x="84683" y="235075"/>
                  </a:lnTo>
                  <a:lnTo>
                    <a:pt x="87299" y="237958"/>
                  </a:lnTo>
                  <a:lnTo>
                    <a:pt x="88226" y="238517"/>
                  </a:lnTo>
                  <a:lnTo>
                    <a:pt x="90559" y="238429"/>
                  </a:lnTo>
                  <a:lnTo>
                    <a:pt x="89787" y="239675"/>
                  </a:lnTo>
                  <a:lnTo>
                    <a:pt x="87220" y="241064"/>
                  </a:lnTo>
                  <a:lnTo>
                    <a:pt x="85490" y="242434"/>
                  </a:lnTo>
                  <a:lnTo>
                    <a:pt x="83402" y="243581"/>
                  </a:lnTo>
                  <a:lnTo>
                    <a:pt x="82389" y="242265"/>
                  </a:lnTo>
                  <a:lnTo>
                    <a:pt x="81214" y="242315"/>
                  </a:lnTo>
                  <a:lnTo>
                    <a:pt x="79418" y="239791"/>
                  </a:lnTo>
                  <a:lnTo>
                    <a:pt x="79094" y="236001"/>
                  </a:lnTo>
                  <a:close/>
                  <a:moveTo>
                    <a:pt x="82259" y="205081"/>
                  </a:moveTo>
                  <a:lnTo>
                    <a:pt x="82904" y="205211"/>
                  </a:lnTo>
                  <a:lnTo>
                    <a:pt x="83310" y="205526"/>
                  </a:lnTo>
                  <a:lnTo>
                    <a:pt x="84177" y="209288"/>
                  </a:lnTo>
                  <a:lnTo>
                    <a:pt x="82976" y="210618"/>
                  </a:lnTo>
                  <a:lnTo>
                    <a:pt x="82539" y="211836"/>
                  </a:lnTo>
                  <a:lnTo>
                    <a:pt x="78068" y="215684"/>
                  </a:lnTo>
                  <a:lnTo>
                    <a:pt x="76259" y="214993"/>
                  </a:lnTo>
                  <a:lnTo>
                    <a:pt x="74718" y="215358"/>
                  </a:lnTo>
                  <a:lnTo>
                    <a:pt x="74285" y="215248"/>
                  </a:lnTo>
                  <a:lnTo>
                    <a:pt x="75165" y="213859"/>
                  </a:lnTo>
                  <a:lnTo>
                    <a:pt x="76200" y="210633"/>
                  </a:lnTo>
                  <a:lnTo>
                    <a:pt x="78055" y="209353"/>
                  </a:lnTo>
                  <a:lnTo>
                    <a:pt x="80403" y="206010"/>
                  </a:lnTo>
                  <a:close/>
                  <a:moveTo>
                    <a:pt x="39128" y="179485"/>
                  </a:moveTo>
                  <a:lnTo>
                    <a:pt x="42247" y="180254"/>
                  </a:lnTo>
                  <a:lnTo>
                    <a:pt x="44571" y="180238"/>
                  </a:lnTo>
                  <a:lnTo>
                    <a:pt x="46635" y="182483"/>
                  </a:lnTo>
                  <a:lnTo>
                    <a:pt x="47742" y="186017"/>
                  </a:lnTo>
                  <a:lnTo>
                    <a:pt x="50319" y="189504"/>
                  </a:lnTo>
                  <a:lnTo>
                    <a:pt x="53688" y="192534"/>
                  </a:lnTo>
                  <a:lnTo>
                    <a:pt x="53822" y="194385"/>
                  </a:lnTo>
                  <a:lnTo>
                    <a:pt x="52619" y="195378"/>
                  </a:lnTo>
                  <a:lnTo>
                    <a:pt x="50100" y="196612"/>
                  </a:lnTo>
                  <a:lnTo>
                    <a:pt x="50111" y="197930"/>
                  </a:lnTo>
                  <a:lnTo>
                    <a:pt x="51772" y="197265"/>
                  </a:lnTo>
                  <a:lnTo>
                    <a:pt x="53206" y="196958"/>
                  </a:lnTo>
                  <a:lnTo>
                    <a:pt x="56658" y="197253"/>
                  </a:lnTo>
                  <a:lnTo>
                    <a:pt x="57865" y="198593"/>
                  </a:lnTo>
                  <a:lnTo>
                    <a:pt x="58699" y="200597"/>
                  </a:lnTo>
                  <a:lnTo>
                    <a:pt x="59137" y="202242"/>
                  </a:lnTo>
                  <a:lnTo>
                    <a:pt x="58839" y="204029"/>
                  </a:lnTo>
                  <a:lnTo>
                    <a:pt x="57910" y="203463"/>
                  </a:lnTo>
                  <a:lnTo>
                    <a:pt x="56966" y="201864"/>
                  </a:lnTo>
                  <a:lnTo>
                    <a:pt x="55918" y="201127"/>
                  </a:lnTo>
                  <a:lnTo>
                    <a:pt x="54699" y="200729"/>
                  </a:lnTo>
                  <a:lnTo>
                    <a:pt x="55252" y="202924"/>
                  </a:lnTo>
                  <a:lnTo>
                    <a:pt x="55034" y="205857"/>
                  </a:lnTo>
                  <a:lnTo>
                    <a:pt x="55566" y="206133"/>
                  </a:lnTo>
                  <a:lnTo>
                    <a:pt x="57204" y="206184"/>
                  </a:lnTo>
                  <a:lnTo>
                    <a:pt x="56121" y="209183"/>
                  </a:lnTo>
                  <a:lnTo>
                    <a:pt x="53882" y="209996"/>
                  </a:lnTo>
                  <a:lnTo>
                    <a:pt x="51270" y="210300"/>
                  </a:lnTo>
                  <a:lnTo>
                    <a:pt x="50640" y="211361"/>
                  </a:lnTo>
                  <a:lnTo>
                    <a:pt x="50166" y="212727"/>
                  </a:lnTo>
                  <a:lnTo>
                    <a:pt x="48803" y="214762"/>
                  </a:lnTo>
                  <a:lnTo>
                    <a:pt x="47005" y="215909"/>
                  </a:lnTo>
                  <a:lnTo>
                    <a:pt x="44783" y="215678"/>
                  </a:lnTo>
                  <a:lnTo>
                    <a:pt x="42606" y="214772"/>
                  </a:lnTo>
                  <a:lnTo>
                    <a:pt x="40712" y="214586"/>
                  </a:lnTo>
                  <a:lnTo>
                    <a:pt x="39385" y="215125"/>
                  </a:lnTo>
                  <a:lnTo>
                    <a:pt x="38524" y="215625"/>
                  </a:lnTo>
                  <a:lnTo>
                    <a:pt x="37691" y="215534"/>
                  </a:lnTo>
                  <a:lnTo>
                    <a:pt x="35306" y="215727"/>
                  </a:lnTo>
                  <a:lnTo>
                    <a:pt x="33058" y="215686"/>
                  </a:lnTo>
                  <a:lnTo>
                    <a:pt x="32739" y="214892"/>
                  </a:lnTo>
                  <a:lnTo>
                    <a:pt x="33122" y="212503"/>
                  </a:lnTo>
                  <a:lnTo>
                    <a:pt x="32622" y="211855"/>
                  </a:lnTo>
                  <a:lnTo>
                    <a:pt x="30475" y="211524"/>
                  </a:lnTo>
                  <a:lnTo>
                    <a:pt x="29679" y="210954"/>
                  </a:lnTo>
                  <a:lnTo>
                    <a:pt x="28446" y="209302"/>
                  </a:lnTo>
                  <a:lnTo>
                    <a:pt x="28206" y="208528"/>
                  </a:lnTo>
                  <a:lnTo>
                    <a:pt x="28029" y="207461"/>
                  </a:lnTo>
                  <a:lnTo>
                    <a:pt x="26726" y="206083"/>
                  </a:lnTo>
                  <a:lnTo>
                    <a:pt x="25144" y="205096"/>
                  </a:lnTo>
                  <a:lnTo>
                    <a:pt x="24215" y="205048"/>
                  </a:lnTo>
                  <a:lnTo>
                    <a:pt x="22362" y="206660"/>
                  </a:lnTo>
                  <a:lnTo>
                    <a:pt x="20834" y="208292"/>
                  </a:lnTo>
                  <a:lnTo>
                    <a:pt x="21377" y="209111"/>
                  </a:lnTo>
                  <a:lnTo>
                    <a:pt x="21876" y="210189"/>
                  </a:lnTo>
                  <a:lnTo>
                    <a:pt x="21045" y="210961"/>
                  </a:lnTo>
                  <a:lnTo>
                    <a:pt x="18532" y="212728"/>
                  </a:lnTo>
                  <a:lnTo>
                    <a:pt x="18139" y="213414"/>
                  </a:lnTo>
                  <a:lnTo>
                    <a:pt x="17461" y="213785"/>
                  </a:lnTo>
                  <a:lnTo>
                    <a:pt x="16261" y="213296"/>
                  </a:lnTo>
                  <a:lnTo>
                    <a:pt x="13276" y="213409"/>
                  </a:lnTo>
                  <a:lnTo>
                    <a:pt x="11902" y="213097"/>
                  </a:lnTo>
                  <a:lnTo>
                    <a:pt x="10305" y="211796"/>
                  </a:lnTo>
                  <a:lnTo>
                    <a:pt x="6410" y="210925"/>
                  </a:lnTo>
                  <a:lnTo>
                    <a:pt x="5757" y="208841"/>
                  </a:lnTo>
                  <a:lnTo>
                    <a:pt x="5005" y="208451"/>
                  </a:lnTo>
                  <a:lnTo>
                    <a:pt x="587" y="204865"/>
                  </a:lnTo>
                  <a:lnTo>
                    <a:pt x="0" y="203667"/>
                  </a:lnTo>
                  <a:lnTo>
                    <a:pt x="572" y="202952"/>
                  </a:lnTo>
                  <a:lnTo>
                    <a:pt x="2222" y="201868"/>
                  </a:lnTo>
                  <a:lnTo>
                    <a:pt x="7762" y="200072"/>
                  </a:lnTo>
                  <a:lnTo>
                    <a:pt x="8633" y="199348"/>
                  </a:lnTo>
                  <a:lnTo>
                    <a:pt x="8812" y="198709"/>
                  </a:lnTo>
                  <a:lnTo>
                    <a:pt x="7186" y="197979"/>
                  </a:lnTo>
                  <a:lnTo>
                    <a:pt x="5720" y="197172"/>
                  </a:lnTo>
                  <a:lnTo>
                    <a:pt x="5220" y="196643"/>
                  </a:lnTo>
                  <a:lnTo>
                    <a:pt x="5179" y="196184"/>
                  </a:lnTo>
                  <a:lnTo>
                    <a:pt x="6011" y="195586"/>
                  </a:lnTo>
                  <a:lnTo>
                    <a:pt x="7685" y="195543"/>
                  </a:lnTo>
                  <a:lnTo>
                    <a:pt x="9007" y="195813"/>
                  </a:lnTo>
                  <a:lnTo>
                    <a:pt x="10057" y="195275"/>
                  </a:lnTo>
                  <a:lnTo>
                    <a:pt x="11904" y="194734"/>
                  </a:lnTo>
                  <a:lnTo>
                    <a:pt x="13144" y="194052"/>
                  </a:lnTo>
                  <a:lnTo>
                    <a:pt x="14210" y="192290"/>
                  </a:lnTo>
                  <a:lnTo>
                    <a:pt x="15336" y="190705"/>
                  </a:lnTo>
                  <a:lnTo>
                    <a:pt x="15452" y="189845"/>
                  </a:lnTo>
                  <a:lnTo>
                    <a:pt x="16438" y="186828"/>
                  </a:lnTo>
                  <a:lnTo>
                    <a:pt x="16980" y="186079"/>
                  </a:lnTo>
                  <a:lnTo>
                    <a:pt x="20479" y="184101"/>
                  </a:lnTo>
                  <a:lnTo>
                    <a:pt x="21365" y="185181"/>
                  </a:lnTo>
                  <a:lnTo>
                    <a:pt x="23089" y="185445"/>
                  </a:lnTo>
                  <a:lnTo>
                    <a:pt x="24634" y="184451"/>
                  </a:lnTo>
                  <a:lnTo>
                    <a:pt x="26483" y="181313"/>
                  </a:lnTo>
                  <a:lnTo>
                    <a:pt x="27769" y="181116"/>
                  </a:lnTo>
                  <a:lnTo>
                    <a:pt x="29187" y="181370"/>
                  </a:lnTo>
                  <a:lnTo>
                    <a:pt x="31974" y="180975"/>
                  </a:lnTo>
                  <a:lnTo>
                    <a:pt x="36922" y="179509"/>
                  </a:lnTo>
                  <a:close/>
                  <a:moveTo>
                    <a:pt x="63975" y="164784"/>
                  </a:moveTo>
                  <a:lnTo>
                    <a:pt x="65438" y="165590"/>
                  </a:lnTo>
                  <a:lnTo>
                    <a:pt x="65992" y="166340"/>
                  </a:lnTo>
                  <a:lnTo>
                    <a:pt x="67217" y="169218"/>
                  </a:lnTo>
                  <a:lnTo>
                    <a:pt x="67444" y="171683"/>
                  </a:lnTo>
                  <a:lnTo>
                    <a:pt x="67207" y="173091"/>
                  </a:lnTo>
                  <a:lnTo>
                    <a:pt x="64420" y="173114"/>
                  </a:lnTo>
                  <a:lnTo>
                    <a:pt x="63412" y="172847"/>
                  </a:lnTo>
                  <a:lnTo>
                    <a:pt x="62208" y="172095"/>
                  </a:lnTo>
                  <a:lnTo>
                    <a:pt x="60856" y="167842"/>
                  </a:lnTo>
                  <a:lnTo>
                    <a:pt x="61339" y="166336"/>
                  </a:lnTo>
                  <a:lnTo>
                    <a:pt x="61894" y="165598"/>
                  </a:lnTo>
                  <a:lnTo>
                    <a:pt x="62504" y="165025"/>
                  </a:lnTo>
                  <a:close/>
                  <a:moveTo>
                    <a:pt x="44576" y="158143"/>
                  </a:moveTo>
                  <a:lnTo>
                    <a:pt x="45374" y="162138"/>
                  </a:lnTo>
                  <a:lnTo>
                    <a:pt x="46152" y="164611"/>
                  </a:lnTo>
                  <a:lnTo>
                    <a:pt x="46203" y="165455"/>
                  </a:lnTo>
                  <a:lnTo>
                    <a:pt x="45472" y="166628"/>
                  </a:lnTo>
                  <a:lnTo>
                    <a:pt x="41828" y="168187"/>
                  </a:lnTo>
                  <a:lnTo>
                    <a:pt x="40681" y="168196"/>
                  </a:lnTo>
                  <a:lnTo>
                    <a:pt x="40633" y="167818"/>
                  </a:lnTo>
                  <a:lnTo>
                    <a:pt x="41456" y="166231"/>
                  </a:lnTo>
                  <a:lnTo>
                    <a:pt x="40747" y="164429"/>
                  </a:lnTo>
                  <a:lnTo>
                    <a:pt x="41093" y="163059"/>
                  </a:lnTo>
                  <a:lnTo>
                    <a:pt x="40754" y="162807"/>
                  </a:lnTo>
                  <a:lnTo>
                    <a:pt x="40043" y="163001"/>
                  </a:lnTo>
                  <a:lnTo>
                    <a:pt x="37433" y="165178"/>
                  </a:lnTo>
                  <a:lnTo>
                    <a:pt x="36561" y="165393"/>
                  </a:lnTo>
                  <a:lnTo>
                    <a:pt x="36466" y="164951"/>
                  </a:lnTo>
                  <a:lnTo>
                    <a:pt x="37112" y="163168"/>
                  </a:lnTo>
                  <a:lnTo>
                    <a:pt x="37192" y="161948"/>
                  </a:lnTo>
                  <a:lnTo>
                    <a:pt x="37581" y="161198"/>
                  </a:lnTo>
                  <a:lnTo>
                    <a:pt x="38290" y="160506"/>
                  </a:lnTo>
                  <a:lnTo>
                    <a:pt x="39135" y="159986"/>
                  </a:lnTo>
                  <a:lnTo>
                    <a:pt x="39817" y="159912"/>
                  </a:lnTo>
                  <a:lnTo>
                    <a:pt x="40543" y="160448"/>
                  </a:lnTo>
                  <a:lnTo>
                    <a:pt x="42657" y="158952"/>
                  </a:lnTo>
                  <a:close/>
                  <a:moveTo>
                    <a:pt x="52683" y="152228"/>
                  </a:moveTo>
                  <a:lnTo>
                    <a:pt x="53504" y="152283"/>
                  </a:lnTo>
                  <a:lnTo>
                    <a:pt x="51910" y="155806"/>
                  </a:lnTo>
                  <a:lnTo>
                    <a:pt x="48088" y="161752"/>
                  </a:lnTo>
                  <a:lnTo>
                    <a:pt x="47627" y="162086"/>
                  </a:lnTo>
                  <a:lnTo>
                    <a:pt x="46507" y="161994"/>
                  </a:lnTo>
                  <a:lnTo>
                    <a:pt x="46092" y="161493"/>
                  </a:lnTo>
                  <a:lnTo>
                    <a:pt x="45863" y="160723"/>
                  </a:lnTo>
                  <a:lnTo>
                    <a:pt x="45835" y="159309"/>
                  </a:lnTo>
                  <a:lnTo>
                    <a:pt x="46513" y="158297"/>
                  </a:lnTo>
                  <a:lnTo>
                    <a:pt x="49377" y="156767"/>
                  </a:lnTo>
                  <a:lnTo>
                    <a:pt x="48083" y="156224"/>
                  </a:lnTo>
                  <a:lnTo>
                    <a:pt x="48031" y="155842"/>
                  </a:lnTo>
                  <a:lnTo>
                    <a:pt x="48774" y="154570"/>
                  </a:lnTo>
                  <a:lnTo>
                    <a:pt x="51857" y="152588"/>
                  </a:lnTo>
                  <a:close/>
                  <a:moveTo>
                    <a:pt x="44369" y="135637"/>
                  </a:moveTo>
                  <a:lnTo>
                    <a:pt x="45155" y="135769"/>
                  </a:lnTo>
                  <a:lnTo>
                    <a:pt x="46772" y="136896"/>
                  </a:lnTo>
                  <a:lnTo>
                    <a:pt x="48605" y="139261"/>
                  </a:lnTo>
                  <a:lnTo>
                    <a:pt x="51052" y="139637"/>
                  </a:lnTo>
                  <a:lnTo>
                    <a:pt x="52715" y="140638"/>
                  </a:lnTo>
                  <a:lnTo>
                    <a:pt x="52338" y="145224"/>
                  </a:lnTo>
                  <a:lnTo>
                    <a:pt x="43531" y="146965"/>
                  </a:lnTo>
                  <a:lnTo>
                    <a:pt x="40496" y="146811"/>
                  </a:lnTo>
                  <a:lnTo>
                    <a:pt x="40222" y="145957"/>
                  </a:lnTo>
                  <a:lnTo>
                    <a:pt x="40826" y="145386"/>
                  </a:lnTo>
                  <a:lnTo>
                    <a:pt x="43339" y="144831"/>
                  </a:lnTo>
                  <a:lnTo>
                    <a:pt x="44356" y="140639"/>
                  </a:lnTo>
                  <a:lnTo>
                    <a:pt x="40557" y="138708"/>
                  </a:lnTo>
                  <a:lnTo>
                    <a:pt x="40358" y="138165"/>
                  </a:lnTo>
                  <a:lnTo>
                    <a:pt x="40655" y="137243"/>
                  </a:lnTo>
                  <a:lnTo>
                    <a:pt x="41095" y="136832"/>
                  </a:lnTo>
                  <a:lnTo>
                    <a:pt x="43400" y="135854"/>
                  </a:lnTo>
                  <a:close/>
                  <a:moveTo>
                    <a:pt x="36236" y="134929"/>
                  </a:moveTo>
                  <a:lnTo>
                    <a:pt x="36731" y="135137"/>
                  </a:lnTo>
                  <a:lnTo>
                    <a:pt x="35705" y="136368"/>
                  </a:lnTo>
                  <a:lnTo>
                    <a:pt x="33991" y="137675"/>
                  </a:lnTo>
                  <a:lnTo>
                    <a:pt x="32734" y="137850"/>
                  </a:lnTo>
                  <a:lnTo>
                    <a:pt x="32643" y="137405"/>
                  </a:lnTo>
                  <a:lnTo>
                    <a:pt x="34824" y="135279"/>
                  </a:lnTo>
                  <a:close/>
                  <a:moveTo>
                    <a:pt x="15243" y="124000"/>
                  </a:moveTo>
                  <a:lnTo>
                    <a:pt x="16322" y="124589"/>
                  </a:lnTo>
                  <a:lnTo>
                    <a:pt x="16493" y="125125"/>
                  </a:lnTo>
                  <a:lnTo>
                    <a:pt x="16096" y="125691"/>
                  </a:lnTo>
                  <a:lnTo>
                    <a:pt x="14152" y="126126"/>
                  </a:lnTo>
                  <a:lnTo>
                    <a:pt x="13431" y="125871"/>
                  </a:lnTo>
                  <a:lnTo>
                    <a:pt x="13308" y="125472"/>
                  </a:lnTo>
                  <a:lnTo>
                    <a:pt x="13751" y="124384"/>
                  </a:lnTo>
                  <a:close/>
                  <a:moveTo>
                    <a:pt x="40298" y="123001"/>
                  </a:moveTo>
                  <a:lnTo>
                    <a:pt x="41274" y="123606"/>
                  </a:lnTo>
                  <a:lnTo>
                    <a:pt x="41649" y="124298"/>
                  </a:lnTo>
                  <a:lnTo>
                    <a:pt x="41665" y="125065"/>
                  </a:lnTo>
                  <a:lnTo>
                    <a:pt x="41256" y="125714"/>
                  </a:lnTo>
                  <a:lnTo>
                    <a:pt x="40600" y="126121"/>
                  </a:lnTo>
                  <a:lnTo>
                    <a:pt x="39770" y="126043"/>
                  </a:lnTo>
                  <a:lnTo>
                    <a:pt x="38948" y="125518"/>
                  </a:lnTo>
                  <a:lnTo>
                    <a:pt x="37860" y="124032"/>
                  </a:lnTo>
                  <a:close/>
                  <a:moveTo>
                    <a:pt x="18761" y="112439"/>
                  </a:moveTo>
                  <a:lnTo>
                    <a:pt x="19407" y="112818"/>
                  </a:lnTo>
                  <a:lnTo>
                    <a:pt x="19840" y="120602"/>
                  </a:lnTo>
                  <a:lnTo>
                    <a:pt x="19790" y="120951"/>
                  </a:lnTo>
                  <a:lnTo>
                    <a:pt x="18857" y="121127"/>
                  </a:lnTo>
                  <a:lnTo>
                    <a:pt x="17632" y="120957"/>
                  </a:lnTo>
                  <a:lnTo>
                    <a:pt x="16879" y="120465"/>
                  </a:lnTo>
                  <a:lnTo>
                    <a:pt x="16117" y="118518"/>
                  </a:lnTo>
                  <a:lnTo>
                    <a:pt x="15975" y="117339"/>
                  </a:lnTo>
                  <a:lnTo>
                    <a:pt x="16314" y="115145"/>
                  </a:lnTo>
                  <a:lnTo>
                    <a:pt x="16236" y="112521"/>
                  </a:lnTo>
                  <a:close/>
                  <a:moveTo>
                    <a:pt x="40661" y="103259"/>
                  </a:moveTo>
                  <a:lnTo>
                    <a:pt x="41966" y="103921"/>
                  </a:lnTo>
                  <a:lnTo>
                    <a:pt x="43754" y="106023"/>
                  </a:lnTo>
                  <a:lnTo>
                    <a:pt x="44226" y="108582"/>
                  </a:lnTo>
                  <a:lnTo>
                    <a:pt x="44195" y="109988"/>
                  </a:lnTo>
                  <a:lnTo>
                    <a:pt x="43805" y="111640"/>
                  </a:lnTo>
                  <a:lnTo>
                    <a:pt x="44313" y="113393"/>
                  </a:lnTo>
                  <a:lnTo>
                    <a:pt x="44429" y="114645"/>
                  </a:lnTo>
                  <a:lnTo>
                    <a:pt x="45361" y="115043"/>
                  </a:lnTo>
                  <a:lnTo>
                    <a:pt x="45931" y="115619"/>
                  </a:lnTo>
                  <a:lnTo>
                    <a:pt x="50074" y="116264"/>
                  </a:lnTo>
                  <a:lnTo>
                    <a:pt x="53927" y="116083"/>
                  </a:lnTo>
                  <a:lnTo>
                    <a:pt x="54669" y="116598"/>
                  </a:lnTo>
                  <a:lnTo>
                    <a:pt x="54753" y="117416"/>
                  </a:lnTo>
                  <a:lnTo>
                    <a:pt x="54144" y="118318"/>
                  </a:lnTo>
                  <a:lnTo>
                    <a:pt x="51950" y="119963"/>
                  </a:lnTo>
                  <a:lnTo>
                    <a:pt x="49333" y="122618"/>
                  </a:lnTo>
                  <a:lnTo>
                    <a:pt x="48553" y="123171"/>
                  </a:lnTo>
                  <a:lnTo>
                    <a:pt x="47707" y="123194"/>
                  </a:lnTo>
                  <a:lnTo>
                    <a:pt x="47100" y="122956"/>
                  </a:lnTo>
                  <a:lnTo>
                    <a:pt x="46666" y="118230"/>
                  </a:lnTo>
                  <a:lnTo>
                    <a:pt x="43828" y="118835"/>
                  </a:lnTo>
                  <a:lnTo>
                    <a:pt x="41542" y="118766"/>
                  </a:lnTo>
                  <a:lnTo>
                    <a:pt x="40291" y="118190"/>
                  </a:lnTo>
                  <a:lnTo>
                    <a:pt x="39413" y="117080"/>
                  </a:lnTo>
                  <a:lnTo>
                    <a:pt x="37643" y="114224"/>
                  </a:lnTo>
                  <a:lnTo>
                    <a:pt x="32491" y="113100"/>
                  </a:lnTo>
                  <a:lnTo>
                    <a:pt x="31034" y="111525"/>
                  </a:lnTo>
                  <a:lnTo>
                    <a:pt x="30596" y="110573"/>
                  </a:lnTo>
                  <a:lnTo>
                    <a:pt x="30782" y="110047"/>
                  </a:lnTo>
                  <a:lnTo>
                    <a:pt x="31855" y="108875"/>
                  </a:lnTo>
                  <a:lnTo>
                    <a:pt x="33198" y="109293"/>
                  </a:lnTo>
                  <a:lnTo>
                    <a:pt x="34029" y="109037"/>
                  </a:lnTo>
                  <a:lnTo>
                    <a:pt x="34535" y="108513"/>
                  </a:lnTo>
                  <a:lnTo>
                    <a:pt x="34524" y="108083"/>
                  </a:lnTo>
                  <a:lnTo>
                    <a:pt x="33821" y="107061"/>
                  </a:lnTo>
                  <a:lnTo>
                    <a:pt x="33788" y="106743"/>
                  </a:lnTo>
                  <a:lnTo>
                    <a:pt x="39057" y="105449"/>
                  </a:lnTo>
                  <a:lnTo>
                    <a:pt x="39517" y="103424"/>
                  </a:lnTo>
                  <a:close/>
                  <a:moveTo>
                    <a:pt x="20769" y="102908"/>
                  </a:moveTo>
                  <a:lnTo>
                    <a:pt x="23263" y="104705"/>
                  </a:lnTo>
                  <a:lnTo>
                    <a:pt x="21276" y="107680"/>
                  </a:lnTo>
                  <a:lnTo>
                    <a:pt x="18226" y="107666"/>
                  </a:lnTo>
                  <a:lnTo>
                    <a:pt x="13932" y="105492"/>
                  </a:lnTo>
                  <a:lnTo>
                    <a:pt x="13913" y="105049"/>
                  </a:lnTo>
                  <a:lnTo>
                    <a:pt x="14271" y="104396"/>
                  </a:lnTo>
                  <a:lnTo>
                    <a:pt x="14915" y="103879"/>
                  </a:lnTo>
                  <a:lnTo>
                    <a:pt x="15584" y="103756"/>
                  </a:lnTo>
                  <a:lnTo>
                    <a:pt x="16649" y="104113"/>
                  </a:lnTo>
                  <a:lnTo>
                    <a:pt x="18131" y="103541"/>
                  </a:lnTo>
                  <a:lnTo>
                    <a:pt x="19318" y="103722"/>
                  </a:lnTo>
                  <a:close/>
                  <a:moveTo>
                    <a:pt x="42176" y="76583"/>
                  </a:moveTo>
                  <a:lnTo>
                    <a:pt x="42574" y="77039"/>
                  </a:lnTo>
                  <a:lnTo>
                    <a:pt x="43131" y="78770"/>
                  </a:lnTo>
                  <a:lnTo>
                    <a:pt x="43033" y="81087"/>
                  </a:lnTo>
                  <a:lnTo>
                    <a:pt x="40222" y="86702"/>
                  </a:lnTo>
                  <a:lnTo>
                    <a:pt x="39121" y="86840"/>
                  </a:lnTo>
                  <a:lnTo>
                    <a:pt x="38155" y="88241"/>
                  </a:lnTo>
                  <a:lnTo>
                    <a:pt x="35163" y="89786"/>
                  </a:lnTo>
                  <a:lnTo>
                    <a:pt x="37774" y="89818"/>
                  </a:lnTo>
                  <a:lnTo>
                    <a:pt x="38507" y="90332"/>
                  </a:lnTo>
                  <a:lnTo>
                    <a:pt x="38528" y="91440"/>
                  </a:lnTo>
                  <a:lnTo>
                    <a:pt x="38025" y="92084"/>
                  </a:lnTo>
                  <a:lnTo>
                    <a:pt x="34643" y="94646"/>
                  </a:lnTo>
                  <a:lnTo>
                    <a:pt x="32317" y="95617"/>
                  </a:lnTo>
                  <a:lnTo>
                    <a:pt x="29812" y="98289"/>
                  </a:lnTo>
                  <a:lnTo>
                    <a:pt x="28548" y="98322"/>
                  </a:lnTo>
                  <a:lnTo>
                    <a:pt x="27296" y="100020"/>
                  </a:lnTo>
                  <a:lnTo>
                    <a:pt x="26266" y="100766"/>
                  </a:lnTo>
                  <a:lnTo>
                    <a:pt x="25688" y="100768"/>
                  </a:lnTo>
                  <a:lnTo>
                    <a:pt x="25023" y="100392"/>
                  </a:lnTo>
                  <a:lnTo>
                    <a:pt x="23469" y="98730"/>
                  </a:lnTo>
                  <a:lnTo>
                    <a:pt x="26288" y="97094"/>
                  </a:lnTo>
                  <a:lnTo>
                    <a:pt x="26549" y="96174"/>
                  </a:lnTo>
                  <a:lnTo>
                    <a:pt x="28480" y="95217"/>
                  </a:lnTo>
                  <a:lnTo>
                    <a:pt x="28318" y="94918"/>
                  </a:lnTo>
                  <a:lnTo>
                    <a:pt x="25258" y="93571"/>
                  </a:lnTo>
                  <a:lnTo>
                    <a:pt x="24052" y="92664"/>
                  </a:lnTo>
                  <a:lnTo>
                    <a:pt x="24166" y="92190"/>
                  </a:lnTo>
                  <a:lnTo>
                    <a:pt x="25639" y="91147"/>
                  </a:lnTo>
                  <a:lnTo>
                    <a:pt x="24941" y="91009"/>
                  </a:lnTo>
                  <a:lnTo>
                    <a:pt x="24469" y="90446"/>
                  </a:lnTo>
                  <a:lnTo>
                    <a:pt x="23614" y="90232"/>
                  </a:lnTo>
                  <a:lnTo>
                    <a:pt x="23358" y="89707"/>
                  </a:lnTo>
                  <a:lnTo>
                    <a:pt x="23200" y="88328"/>
                  </a:lnTo>
                  <a:lnTo>
                    <a:pt x="23429" y="86917"/>
                  </a:lnTo>
                  <a:lnTo>
                    <a:pt x="24321" y="86294"/>
                  </a:lnTo>
                  <a:lnTo>
                    <a:pt x="24686" y="85626"/>
                  </a:lnTo>
                  <a:lnTo>
                    <a:pt x="25047" y="85421"/>
                  </a:lnTo>
                  <a:lnTo>
                    <a:pt x="26429" y="85776"/>
                  </a:lnTo>
                  <a:lnTo>
                    <a:pt x="27830" y="86905"/>
                  </a:lnTo>
                  <a:lnTo>
                    <a:pt x="29465" y="86470"/>
                  </a:lnTo>
                  <a:lnTo>
                    <a:pt x="31363" y="86685"/>
                  </a:lnTo>
                  <a:lnTo>
                    <a:pt x="31402" y="86423"/>
                  </a:lnTo>
                  <a:lnTo>
                    <a:pt x="30008" y="83645"/>
                  </a:lnTo>
                  <a:lnTo>
                    <a:pt x="30257" y="83077"/>
                  </a:lnTo>
                  <a:lnTo>
                    <a:pt x="31013" y="82429"/>
                  </a:lnTo>
                  <a:lnTo>
                    <a:pt x="35393" y="80446"/>
                  </a:lnTo>
                  <a:lnTo>
                    <a:pt x="40855" y="77107"/>
                  </a:lnTo>
                  <a:close/>
                  <a:moveTo>
                    <a:pt x="108033" y="71824"/>
                  </a:moveTo>
                  <a:lnTo>
                    <a:pt x="112589" y="72316"/>
                  </a:lnTo>
                  <a:lnTo>
                    <a:pt x="112741" y="72940"/>
                  </a:lnTo>
                  <a:lnTo>
                    <a:pt x="112503" y="73806"/>
                  </a:lnTo>
                  <a:lnTo>
                    <a:pt x="111337" y="76175"/>
                  </a:lnTo>
                  <a:lnTo>
                    <a:pt x="111527" y="78816"/>
                  </a:lnTo>
                  <a:lnTo>
                    <a:pt x="111267" y="79616"/>
                  </a:lnTo>
                  <a:lnTo>
                    <a:pt x="110738" y="80602"/>
                  </a:lnTo>
                  <a:lnTo>
                    <a:pt x="109067" y="82442"/>
                  </a:lnTo>
                  <a:lnTo>
                    <a:pt x="104675" y="85069"/>
                  </a:lnTo>
                  <a:lnTo>
                    <a:pt x="96626" y="91095"/>
                  </a:lnTo>
                  <a:lnTo>
                    <a:pt x="91871" y="94080"/>
                  </a:lnTo>
                  <a:lnTo>
                    <a:pt x="91217" y="95514"/>
                  </a:lnTo>
                  <a:lnTo>
                    <a:pt x="90864" y="97507"/>
                  </a:lnTo>
                  <a:lnTo>
                    <a:pt x="93711" y="97902"/>
                  </a:lnTo>
                  <a:lnTo>
                    <a:pt x="94810" y="98577"/>
                  </a:lnTo>
                  <a:lnTo>
                    <a:pt x="94128" y="99588"/>
                  </a:lnTo>
                  <a:lnTo>
                    <a:pt x="89917" y="103097"/>
                  </a:lnTo>
                  <a:lnTo>
                    <a:pt x="88676" y="106264"/>
                  </a:lnTo>
                  <a:lnTo>
                    <a:pt x="91905" y="106152"/>
                  </a:lnTo>
                  <a:lnTo>
                    <a:pt x="94566" y="105544"/>
                  </a:lnTo>
                  <a:lnTo>
                    <a:pt x="99872" y="103569"/>
                  </a:lnTo>
                  <a:lnTo>
                    <a:pt x="104856" y="102101"/>
                  </a:lnTo>
                  <a:lnTo>
                    <a:pt x="107250" y="102040"/>
                  </a:lnTo>
                  <a:lnTo>
                    <a:pt x="111907" y="103211"/>
                  </a:lnTo>
                  <a:lnTo>
                    <a:pt x="112966" y="103248"/>
                  </a:lnTo>
                  <a:lnTo>
                    <a:pt x="114942" y="102707"/>
                  </a:lnTo>
                  <a:lnTo>
                    <a:pt x="116940" y="102611"/>
                  </a:lnTo>
                  <a:lnTo>
                    <a:pt x="130476" y="102975"/>
                  </a:lnTo>
                  <a:lnTo>
                    <a:pt x="134237" y="102288"/>
                  </a:lnTo>
                  <a:lnTo>
                    <a:pt x="136725" y="103110"/>
                  </a:lnTo>
                  <a:lnTo>
                    <a:pt x="138807" y="105161"/>
                  </a:lnTo>
                  <a:lnTo>
                    <a:pt x="140785" y="108939"/>
                  </a:lnTo>
                  <a:lnTo>
                    <a:pt x="140725" y="109567"/>
                  </a:lnTo>
                  <a:lnTo>
                    <a:pt x="139530" y="111286"/>
                  </a:lnTo>
                  <a:lnTo>
                    <a:pt x="137324" y="113440"/>
                  </a:lnTo>
                  <a:lnTo>
                    <a:pt x="135426" y="116402"/>
                  </a:lnTo>
                  <a:lnTo>
                    <a:pt x="134869" y="117998"/>
                  </a:lnTo>
                  <a:lnTo>
                    <a:pt x="134496" y="119743"/>
                  </a:lnTo>
                  <a:lnTo>
                    <a:pt x="133895" y="121356"/>
                  </a:lnTo>
                  <a:lnTo>
                    <a:pt x="130120" y="128914"/>
                  </a:lnTo>
                  <a:lnTo>
                    <a:pt x="126440" y="133093"/>
                  </a:lnTo>
                  <a:lnTo>
                    <a:pt x="124797" y="136055"/>
                  </a:lnTo>
                  <a:lnTo>
                    <a:pt x="122769" y="138412"/>
                  </a:lnTo>
                  <a:lnTo>
                    <a:pt x="120818" y="139893"/>
                  </a:lnTo>
                  <a:lnTo>
                    <a:pt x="118734" y="140879"/>
                  </a:lnTo>
                  <a:lnTo>
                    <a:pt x="112714" y="141933"/>
                  </a:lnTo>
                  <a:lnTo>
                    <a:pt x="111030" y="142688"/>
                  </a:lnTo>
                  <a:lnTo>
                    <a:pt x="109021" y="143984"/>
                  </a:lnTo>
                  <a:lnTo>
                    <a:pt x="106909" y="144625"/>
                  </a:lnTo>
                  <a:lnTo>
                    <a:pt x="109385" y="144544"/>
                  </a:lnTo>
                  <a:lnTo>
                    <a:pt x="111839" y="143823"/>
                  </a:lnTo>
                  <a:lnTo>
                    <a:pt x="116302" y="143559"/>
                  </a:lnTo>
                  <a:lnTo>
                    <a:pt x="121442" y="146041"/>
                  </a:lnTo>
                  <a:lnTo>
                    <a:pt x="120965" y="148069"/>
                  </a:lnTo>
                  <a:lnTo>
                    <a:pt x="118902" y="149672"/>
                  </a:lnTo>
                  <a:lnTo>
                    <a:pt x="114210" y="149924"/>
                  </a:lnTo>
                  <a:lnTo>
                    <a:pt x="109822" y="153482"/>
                  </a:lnTo>
                  <a:lnTo>
                    <a:pt x="107842" y="154576"/>
                  </a:lnTo>
                  <a:lnTo>
                    <a:pt x="105753" y="155119"/>
                  </a:lnTo>
                  <a:lnTo>
                    <a:pt x="103140" y="154958"/>
                  </a:lnTo>
                  <a:lnTo>
                    <a:pt x="98392" y="154006"/>
                  </a:lnTo>
                  <a:lnTo>
                    <a:pt x="96315" y="153011"/>
                  </a:lnTo>
                  <a:lnTo>
                    <a:pt x="98193" y="154635"/>
                  </a:lnTo>
                  <a:lnTo>
                    <a:pt x="100323" y="155481"/>
                  </a:lnTo>
                  <a:lnTo>
                    <a:pt x="112685" y="157477"/>
                  </a:lnTo>
                  <a:lnTo>
                    <a:pt x="113429" y="157270"/>
                  </a:lnTo>
                  <a:lnTo>
                    <a:pt x="117370" y="155162"/>
                  </a:lnTo>
                  <a:lnTo>
                    <a:pt x="122622" y="155130"/>
                  </a:lnTo>
                  <a:lnTo>
                    <a:pt x="132623" y="159002"/>
                  </a:lnTo>
                  <a:lnTo>
                    <a:pt x="135502" y="161957"/>
                  </a:lnTo>
                  <a:lnTo>
                    <a:pt x="139628" y="166187"/>
                  </a:lnTo>
                  <a:lnTo>
                    <a:pt x="141872" y="167836"/>
                  </a:lnTo>
                  <a:lnTo>
                    <a:pt x="143495" y="169330"/>
                  </a:lnTo>
                  <a:lnTo>
                    <a:pt x="144495" y="171567"/>
                  </a:lnTo>
                  <a:lnTo>
                    <a:pt x="146432" y="178938"/>
                  </a:lnTo>
                  <a:lnTo>
                    <a:pt x="148641" y="186118"/>
                  </a:lnTo>
                  <a:lnTo>
                    <a:pt x="151536" y="193871"/>
                  </a:lnTo>
                  <a:lnTo>
                    <a:pt x="152847" y="196020"/>
                  </a:lnTo>
                  <a:lnTo>
                    <a:pt x="154573" y="197526"/>
                  </a:lnTo>
                  <a:lnTo>
                    <a:pt x="163309" y="200984"/>
                  </a:lnTo>
                  <a:lnTo>
                    <a:pt x="165253" y="202129"/>
                  </a:lnTo>
                  <a:lnTo>
                    <a:pt x="168643" y="205449"/>
                  </a:lnTo>
                  <a:lnTo>
                    <a:pt x="171909" y="208981"/>
                  </a:lnTo>
                  <a:lnTo>
                    <a:pt x="174950" y="211690"/>
                  </a:lnTo>
                  <a:lnTo>
                    <a:pt x="178233" y="213881"/>
                  </a:lnTo>
                  <a:lnTo>
                    <a:pt x="176643" y="215018"/>
                  </a:lnTo>
                  <a:lnTo>
                    <a:pt x="175553" y="216806"/>
                  </a:lnTo>
                  <a:lnTo>
                    <a:pt x="176368" y="219234"/>
                  </a:lnTo>
                  <a:lnTo>
                    <a:pt x="177705" y="221551"/>
                  </a:lnTo>
                  <a:lnTo>
                    <a:pt x="180332" y="225253"/>
                  </a:lnTo>
                  <a:lnTo>
                    <a:pt x="182649" y="229287"/>
                  </a:lnTo>
                  <a:lnTo>
                    <a:pt x="181795" y="228678"/>
                  </a:lnTo>
                  <a:lnTo>
                    <a:pt x="180897" y="228344"/>
                  </a:lnTo>
                  <a:lnTo>
                    <a:pt x="179669" y="228444"/>
                  </a:lnTo>
                  <a:lnTo>
                    <a:pt x="178469" y="228249"/>
                  </a:lnTo>
                  <a:lnTo>
                    <a:pt x="176255" y="226987"/>
                  </a:lnTo>
                  <a:lnTo>
                    <a:pt x="174128" y="225436"/>
                  </a:lnTo>
                  <a:lnTo>
                    <a:pt x="169897" y="226059"/>
                  </a:lnTo>
                  <a:lnTo>
                    <a:pt x="167546" y="225780"/>
                  </a:lnTo>
                  <a:lnTo>
                    <a:pt x="165507" y="225821"/>
                  </a:lnTo>
                  <a:lnTo>
                    <a:pt x="169373" y="226717"/>
                  </a:lnTo>
                  <a:lnTo>
                    <a:pt x="173605" y="226779"/>
                  </a:lnTo>
                  <a:lnTo>
                    <a:pt x="182937" y="233539"/>
                  </a:lnTo>
                  <a:lnTo>
                    <a:pt x="186091" y="237535"/>
                  </a:lnTo>
                  <a:lnTo>
                    <a:pt x="187966" y="242808"/>
                  </a:lnTo>
                  <a:lnTo>
                    <a:pt x="186689" y="245172"/>
                  </a:lnTo>
                  <a:lnTo>
                    <a:pt x="184703" y="246703"/>
                  </a:lnTo>
                  <a:lnTo>
                    <a:pt x="182850" y="248453"/>
                  </a:lnTo>
                  <a:lnTo>
                    <a:pt x="181114" y="250427"/>
                  </a:lnTo>
                  <a:lnTo>
                    <a:pt x="186286" y="253324"/>
                  </a:lnTo>
                  <a:lnTo>
                    <a:pt x="187400" y="253236"/>
                  </a:lnTo>
                  <a:lnTo>
                    <a:pt x="188544" y="252831"/>
                  </a:lnTo>
                  <a:lnTo>
                    <a:pt x="189644" y="251846"/>
                  </a:lnTo>
                  <a:lnTo>
                    <a:pt x="191498" y="249447"/>
                  </a:lnTo>
                  <a:lnTo>
                    <a:pt x="192455" y="248592"/>
                  </a:lnTo>
                  <a:lnTo>
                    <a:pt x="195677" y="248284"/>
                  </a:lnTo>
                  <a:lnTo>
                    <a:pt x="198380" y="248468"/>
                  </a:lnTo>
                  <a:lnTo>
                    <a:pt x="201073" y="248998"/>
                  </a:lnTo>
                  <a:lnTo>
                    <a:pt x="203440" y="248830"/>
                  </a:lnTo>
                  <a:lnTo>
                    <a:pt x="208210" y="249860"/>
                  </a:lnTo>
                  <a:lnTo>
                    <a:pt x="210661" y="250789"/>
                  </a:lnTo>
                  <a:lnTo>
                    <a:pt x="216733" y="254966"/>
                  </a:lnTo>
                  <a:lnTo>
                    <a:pt x="218046" y="257247"/>
                  </a:lnTo>
                  <a:lnTo>
                    <a:pt x="218648" y="260190"/>
                  </a:lnTo>
                  <a:lnTo>
                    <a:pt x="218720" y="263449"/>
                  </a:lnTo>
                  <a:lnTo>
                    <a:pt x="217698" y="266425"/>
                  </a:lnTo>
                  <a:lnTo>
                    <a:pt x="216526" y="269108"/>
                  </a:lnTo>
                  <a:lnTo>
                    <a:pt x="215802" y="272568"/>
                  </a:lnTo>
                  <a:lnTo>
                    <a:pt x="215289" y="273813"/>
                  </a:lnTo>
                  <a:lnTo>
                    <a:pt x="214571" y="274788"/>
                  </a:lnTo>
                  <a:lnTo>
                    <a:pt x="211354" y="277512"/>
                  </a:lnTo>
                  <a:lnTo>
                    <a:pt x="209216" y="278631"/>
                  </a:lnTo>
                  <a:lnTo>
                    <a:pt x="208313" y="278140"/>
                  </a:lnTo>
                  <a:lnTo>
                    <a:pt x="207351" y="278208"/>
                  </a:lnTo>
                  <a:lnTo>
                    <a:pt x="207249" y="278862"/>
                  </a:lnTo>
                  <a:lnTo>
                    <a:pt x="208266" y="280251"/>
                  </a:lnTo>
                  <a:lnTo>
                    <a:pt x="208279" y="281926"/>
                  </a:lnTo>
                  <a:lnTo>
                    <a:pt x="206379" y="283165"/>
                  </a:lnTo>
                  <a:lnTo>
                    <a:pt x="204448" y="283694"/>
                  </a:lnTo>
                  <a:lnTo>
                    <a:pt x="201218" y="283034"/>
                  </a:lnTo>
                  <a:lnTo>
                    <a:pt x="196733" y="285340"/>
                  </a:lnTo>
                  <a:lnTo>
                    <a:pt x="199957" y="286524"/>
                  </a:lnTo>
                  <a:lnTo>
                    <a:pt x="200607" y="287784"/>
                  </a:lnTo>
                  <a:lnTo>
                    <a:pt x="199799" y="289997"/>
                  </a:lnTo>
                  <a:lnTo>
                    <a:pt x="197771" y="290983"/>
                  </a:lnTo>
                  <a:lnTo>
                    <a:pt x="195523" y="291420"/>
                  </a:lnTo>
                  <a:lnTo>
                    <a:pt x="193222" y="291524"/>
                  </a:lnTo>
                  <a:lnTo>
                    <a:pt x="191315" y="292065"/>
                  </a:lnTo>
                  <a:lnTo>
                    <a:pt x="189486" y="293107"/>
                  </a:lnTo>
                  <a:lnTo>
                    <a:pt x="191781" y="292553"/>
                  </a:lnTo>
                  <a:lnTo>
                    <a:pt x="193373" y="293038"/>
                  </a:lnTo>
                  <a:lnTo>
                    <a:pt x="194372" y="294897"/>
                  </a:lnTo>
                  <a:lnTo>
                    <a:pt x="195280" y="295428"/>
                  </a:lnTo>
                  <a:lnTo>
                    <a:pt x="199765" y="296222"/>
                  </a:lnTo>
                  <a:lnTo>
                    <a:pt x="202542" y="296216"/>
                  </a:lnTo>
                  <a:lnTo>
                    <a:pt x="207897" y="295765"/>
                  </a:lnTo>
                  <a:lnTo>
                    <a:pt x="210469" y="295776"/>
                  </a:lnTo>
                  <a:lnTo>
                    <a:pt x="211386" y="296112"/>
                  </a:lnTo>
                  <a:lnTo>
                    <a:pt x="211402" y="297650"/>
                  </a:lnTo>
                  <a:lnTo>
                    <a:pt x="211002" y="301424"/>
                  </a:lnTo>
                  <a:lnTo>
                    <a:pt x="210294" y="302201"/>
                  </a:lnTo>
                  <a:lnTo>
                    <a:pt x="203194" y="305366"/>
                  </a:lnTo>
                  <a:lnTo>
                    <a:pt x="201738" y="307574"/>
                  </a:lnTo>
                  <a:lnTo>
                    <a:pt x="201330" y="308911"/>
                  </a:lnTo>
                  <a:lnTo>
                    <a:pt x="197178" y="308674"/>
                  </a:lnTo>
                  <a:lnTo>
                    <a:pt x="195232" y="310087"/>
                  </a:lnTo>
                  <a:lnTo>
                    <a:pt x="191870" y="311025"/>
                  </a:lnTo>
                  <a:lnTo>
                    <a:pt x="189270" y="312022"/>
                  </a:lnTo>
                  <a:lnTo>
                    <a:pt x="186726" y="313282"/>
                  </a:lnTo>
                  <a:lnTo>
                    <a:pt x="184634" y="313658"/>
                  </a:lnTo>
                  <a:lnTo>
                    <a:pt x="175590" y="312163"/>
                  </a:lnTo>
                  <a:lnTo>
                    <a:pt x="170131" y="312286"/>
                  </a:lnTo>
                  <a:lnTo>
                    <a:pt x="162736" y="313589"/>
                  </a:lnTo>
                  <a:lnTo>
                    <a:pt x="160831" y="313374"/>
                  </a:lnTo>
                  <a:lnTo>
                    <a:pt x="157974" y="312126"/>
                  </a:lnTo>
                  <a:lnTo>
                    <a:pt x="155049" y="311282"/>
                  </a:lnTo>
                  <a:lnTo>
                    <a:pt x="151683" y="310911"/>
                  </a:lnTo>
                  <a:lnTo>
                    <a:pt x="148778" y="309757"/>
                  </a:lnTo>
                  <a:lnTo>
                    <a:pt x="150591" y="311976"/>
                  </a:lnTo>
                  <a:lnTo>
                    <a:pt x="146561" y="314112"/>
                  </a:lnTo>
                  <a:lnTo>
                    <a:pt x="144701" y="314537"/>
                  </a:lnTo>
                  <a:lnTo>
                    <a:pt x="142776" y="314471"/>
                  </a:lnTo>
                  <a:lnTo>
                    <a:pt x="138837" y="315051"/>
                  </a:lnTo>
                  <a:lnTo>
                    <a:pt x="135188" y="314755"/>
                  </a:lnTo>
                  <a:lnTo>
                    <a:pt x="135736" y="316273"/>
                  </a:lnTo>
                  <a:lnTo>
                    <a:pt x="136714" y="317595"/>
                  </a:lnTo>
                  <a:lnTo>
                    <a:pt x="135921" y="318170"/>
                  </a:lnTo>
                  <a:lnTo>
                    <a:pt x="135082" y="318313"/>
                  </a:lnTo>
                  <a:lnTo>
                    <a:pt x="128132" y="317315"/>
                  </a:lnTo>
                  <a:lnTo>
                    <a:pt x="127148" y="317504"/>
                  </a:lnTo>
                  <a:lnTo>
                    <a:pt x="126290" y="318425"/>
                  </a:lnTo>
                  <a:lnTo>
                    <a:pt x="123763" y="317928"/>
                  </a:lnTo>
                  <a:lnTo>
                    <a:pt x="121307" y="316375"/>
                  </a:lnTo>
                  <a:lnTo>
                    <a:pt x="118695" y="315332"/>
                  </a:lnTo>
                  <a:lnTo>
                    <a:pt x="115954" y="314842"/>
                  </a:lnTo>
                  <a:lnTo>
                    <a:pt x="113776" y="315011"/>
                  </a:lnTo>
                  <a:lnTo>
                    <a:pt x="104816" y="317460"/>
                  </a:lnTo>
                  <a:lnTo>
                    <a:pt x="103028" y="319915"/>
                  </a:lnTo>
                  <a:lnTo>
                    <a:pt x="102135" y="323393"/>
                  </a:lnTo>
                  <a:lnTo>
                    <a:pt x="100841" y="326476"/>
                  </a:lnTo>
                  <a:lnTo>
                    <a:pt x="98731" y="328848"/>
                  </a:lnTo>
                  <a:lnTo>
                    <a:pt x="96220" y="329157"/>
                  </a:lnTo>
                  <a:lnTo>
                    <a:pt x="93858" y="327516"/>
                  </a:lnTo>
                  <a:lnTo>
                    <a:pt x="89364" y="325702"/>
                  </a:lnTo>
                  <a:lnTo>
                    <a:pt x="87835" y="324476"/>
                  </a:lnTo>
                  <a:lnTo>
                    <a:pt x="87348" y="324404"/>
                  </a:lnTo>
                  <a:lnTo>
                    <a:pt x="86846" y="324843"/>
                  </a:lnTo>
                  <a:lnTo>
                    <a:pt x="85084" y="325396"/>
                  </a:lnTo>
                  <a:lnTo>
                    <a:pt x="83259" y="325422"/>
                  </a:lnTo>
                  <a:lnTo>
                    <a:pt x="80447" y="325910"/>
                  </a:lnTo>
                  <a:lnTo>
                    <a:pt x="75553" y="327384"/>
                  </a:lnTo>
                  <a:lnTo>
                    <a:pt x="73577" y="328384"/>
                  </a:lnTo>
                  <a:lnTo>
                    <a:pt x="69328" y="331139"/>
                  </a:lnTo>
                  <a:lnTo>
                    <a:pt x="68463" y="331901"/>
                  </a:lnTo>
                  <a:lnTo>
                    <a:pt x="66918" y="334677"/>
                  </a:lnTo>
                  <a:lnTo>
                    <a:pt x="64558" y="335166"/>
                  </a:lnTo>
                  <a:lnTo>
                    <a:pt x="62399" y="333388"/>
                  </a:lnTo>
                  <a:lnTo>
                    <a:pt x="59942" y="332767"/>
                  </a:lnTo>
                  <a:lnTo>
                    <a:pt x="57350" y="333375"/>
                  </a:lnTo>
                  <a:lnTo>
                    <a:pt x="55782" y="334320"/>
                  </a:lnTo>
                  <a:lnTo>
                    <a:pt x="55051" y="333552"/>
                  </a:lnTo>
                  <a:lnTo>
                    <a:pt x="55027" y="331973"/>
                  </a:lnTo>
                  <a:lnTo>
                    <a:pt x="56920" y="330091"/>
                  </a:lnTo>
                  <a:lnTo>
                    <a:pt x="61970" y="328668"/>
                  </a:lnTo>
                  <a:lnTo>
                    <a:pt x="66403" y="324972"/>
                  </a:lnTo>
                  <a:lnTo>
                    <a:pt x="68578" y="322716"/>
                  </a:lnTo>
                  <a:lnTo>
                    <a:pt x="69440" y="321446"/>
                  </a:lnTo>
                  <a:lnTo>
                    <a:pt x="70503" y="320636"/>
                  </a:lnTo>
                  <a:lnTo>
                    <a:pt x="71892" y="320330"/>
                  </a:lnTo>
                  <a:lnTo>
                    <a:pt x="72606" y="318925"/>
                  </a:lnTo>
                  <a:lnTo>
                    <a:pt x="78761" y="313270"/>
                  </a:lnTo>
                  <a:lnTo>
                    <a:pt x="79269" y="311971"/>
                  </a:lnTo>
                  <a:lnTo>
                    <a:pt x="79575" y="309646"/>
                  </a:lnTo>
                  <a:lnTo>
                    <a:pt x="80084" y="307405"/>
                  </a:lnTo>
                  <a:lnTo>
                    <a:pt x="85095" y="305953"/>
                  </a:lnTo>
                  <a:lnTo>
                    <a:pt x="87489" y="301233"/>
                  </a:lnTo>
                  <a:lnTo>
                    <a:pt x="88148" y="300859"/>
                  </a:lnTo>
                  <a:lnTo>
                    <a:pt x="95137" y="299992"/>
                  </a:lnTo>
                  <a:lnTo>
                    <a:pt x="100320" y="300061"/>
                  </a:lnTo>
                  <a:lnTo>
                    <a:pt x="105468" y="300986"/>
                  </a:lnTo>
                  <a:lnTo>
                    <a:pt x="108107" y="301069"/>
                  </a:lnTo>
                  <a:lnTo>
                    <a:pt x="110756" y="300750"/>
                  </a:lnTo>
                  <a:lnTo>
                    <a:pt x="112833" y="299474"/>
                  </a:lnTo>
                  <a:lnTo>
                    <a:pt x="116388" y="294868"/>
                  </a:lnTo>
                  <a:lnTo>
                    <a:pt x="118388" y="292838"/>
                  </a:lnTo>
                  <a:lnTo>
                    <a:pt x="120679" y="291002"/>
                  </a:lnTo>
                  <a:lnTo>
                    <a:pt x="122822" y="288904"/>
                  </a:lnTo>
                  <a:lnTo>
                    <a:pt x="126299" y="285012"/>
                  </a:lnTo>
                  <a:lnTo>
                    <a:pt x="123948" y="286353"/>
                  </a:lnTo>
                  <a:lnTo>
                    <a:pt x="121111" y="288480"/>
                  </a:lnTo>
                  <a:lnTo>
                    <a:pt x="119465" y="289713"/>
                  </a:lnTo>
                  <a:lnTo>
                    <a:pt x="114238" y="290955"/>
                  </a:lnTo>
                  <a:lnTo>
                    <a:pt x="111986" y="292221"/>
                  </a:lnTo>
                  <a:lnTo>
                    <a:pt x="108040" y="295078"/>
                  </a:lnTo>
                  <a:lnTo>
                    <a:pt x="107281" y="295315"/>
                  </a:lnTo>
                  <a:lnTo>
                    <a:pt x="101328" y="294629"/>
                  </a:lnTo>
                  <a:lnTo>
                    <a:pt x="96898" y="290923"/>
                  </a:lnTo>
                  <a:lnTo>
                    <a:pt x="94066" y="289402"/>
                  </a:lnTo>
                  <a:lnTo>
                    <a:pt x="92896" y="289230"/>
                  </a:lnTo>
                  <a:lnTo>
                    <a:pt x="91687" y="289682"/>
                  </a:lnTo>
                  <a:lnTo>
                    <a:pt x="89101" y="290145"/>
                  </a:lnTo>
                  <a:lnTo>
                    <a:pt x="86464" y="290066"/>
                  </a:lnTo>
                  <a:lnTo>
                    <a:pt x="87810" y="288352"/>
                  </a:lnTo>
                  <a:lnTo>
                    <a:pt x="89638" y="287393"/>
                  </a:lnTo>
                  <a:lnTo>
                    <a:pt x="85544" y="286727"/>
                  </a:lnTo>
                  <a:lnTo>
                    <a:pt x="84406" y="286205"/>
                  </a:lnTo>
                  <a:lnTo>
                    <a:pt x="83109" y="285002"/>
                  </a:lnTo>
                  <a:lnTo>
                    <a:pt x="79898" y="284796"/>
                  </a:lnTo>
                  <a:lnTo>
                    <a:pt x="78366" y="285103"/>
                  </a:lnTo>
                  <a:lnTo>
                    <a:pt x="75782" y="286693"/>
                  </a:lnTo>
                  <a:lnTo>
                    <a:pt x="71699" y="288383"/>
                  </a:lnTo>
                  <a:lnTo>
                    <a:pt x="66780" y="286040"/>
                  </a:lnTo>
                  <a:lnTo>
                    <a:pt x="65816" y="285012"/>
                  </a:lnTo>
                  <a:lnTo>
                    <a:pt x="65841" y="283027"/>
                  </a:lnTo>
                  <a:lnTo>
                    <a:pt x="65103" y="281453"/>
                  </a:lnTo>
                  <a:lnTo>
                    <a:pt x="63738" y="280898"/>
                  </a:lnTo>
                  <a:lnTo>
                    <a:pt x="65484" y="278846"/>
                  </a:lnTo>
                  <a:lnTo>
                    <a:pt x="67591" y="277479"/>
                  </a:lnTo>
                  <a:lnTo>
                    <a:pt x="72225" y="276120"/>
                  </a:lnTo>
                  <a:lnTo>
                    <a:pt x="79243" y="272892"/>
                  </a:lnTo>
                  <a:lnTo>
                    <a:pt x="83178" y="271516"/>
                  </a:lnTo>
                  <a:lnTo>
                    <a:pt x="86836" y="269140"/>
                  </a:lnTo>
                  <a:lnTo>
                    <a:pt x="88348" y="267690"/>
                  </a:lnTo>
                  <a:lnTo>
                    <a:pt x="89445" y="265705"/>
                  </a:lnTo>
                  <a:lnTo>
                    <a:pt x="90533" y="263266"/>
                  </a:lnTo>
                  <a:lnTo>
                    <a:pt x="92086" y="261284"/>
                  </a:lnTo>
                  <a:lnTo>
                    <a:pt x="90579" y="260812"/>
                  </a:lnTo>
                  <a:lnTo>
                    <a:pt x="89906" y="259315"/>
                  </a:lnTo>
                  <a:lnTo>
                    <a:pt x="90087" y="257796"/>
                  </a:lnTo>
                  <a:lnTo>
                    <a:pt x="90783" y="256448"/>
                  </a:lnTo>
                  <a:lnTo>
                    <a:pt x="90159" y="254756"/>
                  </a:lnTo>
                  <a:lnTo>
                    <a:pt x="89052" y="252986"/>
                  </a:lnTo>
                  <a:lnTo>
                    <a:pt x="89113" y="251607"/>
                  </a:lnTo>
                  <a:lnTo>
                    <a:pt x="89407" y="250132"/>
                  </a:lnTo>
                  <a:lnTo>
                    <a:pt x="86584" y="250211"/>
                  </a:lnTo>
                  <a:lnTo>
                    <a:pt x="83769" y="250672"/>
                  </a:lnTo>
                  <a:lnTo>
                    <a:pt x="81218" y="251718"/>
                  </a:lnTo>
                  <a:lnTo>
                    <a:pt x="78744" y="253137"/>
                  </a:lnTo>
                  <a:lnTo>
                    <a:pt x="76547" y="253400"/>
                  </a:lnTo>
                  <a:lnTo>
                    <a:pt x="76582" y="252265"/>
                  </a:lnTo>
                  <a:lnTo>
                    <a:pt x="77536" y="250861"/>
                  </a:lnTo>
                  <a:lnTo>
                    <a:pt x="80027" y="248854"/>
                  </a:lnTo>
                  <a:lnTo>
                    <a:pt x="82694" y="247189"/>
                  </a:lnTo>
                  <a:lnTo>
                    <a:pt x="83642" y="245923"/>
                  </a:lnTo>
                  <a:lnTo>
                    <a:pt x="84388" y="244452"/>
                  </a:lnTo>
                  <a:lnTo>
                    <a:pt x="85712" y="243271"/>
                  </a:lnTo>
                  <a:lnTo>
                    <a:pt x="89195" y="241037"/>
                  </a:lnTo>
                  <a:lnTo>
                    <a:pt x="95868" y="238521"/>
                  </a:lnTo>
                  <a:lnTo>
                    <a:pt x="96864" y="238373"/>
                  </a:lnTo>
                  <a:lnTo>
                    <a:pt x="99480" y="238665"/>
                  </a:lnTo>
                  <a:lnTo>
                    <a:pt x="102052" y="238285"/>
                  </a:lnTo>
                  <a:lnTo>
                    <a:pt x="104305" y="237379"/>
                  </a:lnTo>
                  <a:lnTo>
                    <a:pt x="106550" y="237184"/>
                  </a:lnTo>
                  <a:lnTo>
                    <a:pt x="111605" y="239795"/>
                  </a:lnTo>
                  <a:lnTo>
                    <a:pt x="110102" y="235754"/>
                  </a:lnTo>
                  <a:lnTo>
                    <a:pt x="112331" y="234786"/>
                  </a:lnTo>
                  <a:lnTo>
                    <a:pt x="115564" y="238440"/>
                  </a:lnTo>
                  <a:lnTo>
                    <a:pt x="116766" y="238825"/>
                  </a:lnTo>
                  <a:lnTo>
                    <a:pt x="119301" y="238295"/>
                  </a:lnTo>
                  <a:lnTo>
                    <a:pt x="118323" y="237679"/>
                  </a:lnTo>
                  <a:lnTo>
                    <a:pt x="117181" y="237642"/>
                  </a:lnTo>
                  <a:lnTo>
                    <a:pt x="115685" y="237091"/>
                  </a:lnTo>
                  <a:lnTo>
                    <a:pt x="114427" y="235919"/>
                  </a:lnTo>
                  <a:lnTo>
                    <a:pt x="112334" y="232195"/>
                  </a:lnTo>
                  <a:lnTo>
                    <a:pt x="112447" y="229982"/>
                  </a:lnTo>
                  <a:lnTo>
                    <a:pt x="113857" y="227679"/>
                  </a:lnTo>
                  <a:lnTo>
                    <a:pt x="115419" y="225557"/>
                  </a:lnTo>
                  <a:lnTo>
                    <a:pt x="114109" y="225135"/>
                  </a:lnTo>
                  <a:lnTo>
                    <a:pt x="113060" y="224323"/>
                  </a:lnTo>
                  <a:lnTo>
                    <a:pt x="112759" y="222197"/>
                  </a:lnTo>
                  <a:lnTo>
                    <a:pt x="113171" y="220318"/>
                  </a:lnTo>
                  <a:lnTo>
                    <a:pt x="115977" y="218657"/>
                  </a:lnTo>
                  <a:lnTo>
                    <a:pt x="116805" y="216135"/>
                  </a:lnTo>
                  <a:lnTo>
                    <a:pt x="117157" y="213357"/>
                  </a:lnTo>
                  <a:lnTo>
                    <a:pt x="116691" y="212082"/>
                  </a:lnTo>
                  <a:lnTo>
                    <a:pt x="113906" y="212287"/>
                  </a:lnTo>
                  <a:lnTo>
                    <a:pt x="112552" y="212807"/>
                  </a:lnTo>
                  <a:lnTo>
                    <a:pt x="111337" y="213630"/>
                  </a:lnTo>
                  <a:lnTo>
                    <a:pt x="110093" y="213581"/>
                  </a:lnTo>
                  <a:lnTo>
                    <a:pt x="106653" y="210505"/>
                  </a:lnTo>
                  <a:lnTo>
                    <a:pt x="104691" y="208176"/>
                  </a:lnTo>
                  <a:lnTo>
                    <a:pt x="101172" y="203238"/>
                  </a:lnTo>
                  <a:lnTo>
                    <a:pt x="100671" y="200283"/>
                  </a:lnTo>
                  <a:lnTo>
                    <a:pt x="103490" y="193894"/>
                  </a:lnTo>
                  <a:lnTo>
                    <a:pt x="107838" y="189799"/>
                  </a:lnTo>
                  <a:lnTo>
                    <a:pt x="112961" y="188372"/>
                  </a:lnTo>
                  <a:lnTo>
                    <a:pt x="111970" y="188099"/>
                  </a:lnTo>
                  <a:lnTo>
                    <a:pt x="104164" y="188044"/>
                  </a:lnTo>
                  <a:lnTo>
                    <a:pt x="101591" y="188546"/>
                  </a:lnTo>
                  <a:lnTo>
                    <a:pt x="99206" y="190221"/>
                  </a:lnTo>
                  <a:lnTo>
                    <a:pt x="97859" y="190735"/>
                  </a:lnTo>
                  <a:lnTo>
                    <a:pt x="96443" y="190925"/>
                  </a:lnTo>
                  <a:lnTo>
                    <a:pt x="95153" y="191758"/>
                  </a:lnTo>
                  <a:lnTo>
                    <a:pt x="93893" y="192914"/>
                  </a:lnTo>
                  <a:lnTo>
                    <a:pt x="92581" y="193653"/>
                  </a:lnTo>
                  <a:lnTo>
                    <a:pt x="89975" y="193462"/>
                  </a:lnTo>
                  <a:lnTo>
                    <a:pt x="88711" y="193706"/>
                  </a:lnTo>
                  <a:lnTo>
                    <a:pt x="87802" y="193037"/>
                  </a:lnTo>
                  <a:lnTo>
                    <a:pt x="87042" y="191930"/>
                  </a:lnTo>
                  <a:lnTo>
                    <a:pt x="86047" y="191635"/>
                  </a:lnTo>
                  <a:lnTo>
                    <a:pt x="84936" y="191975"/>
                  </a:lnTo>
                  <a:lnTo>
                    <a:pt x="82587" y="193466"/>
                  </a:lnTo>
                  <a:lnTo>
                    <a:pt x="80208" y="194346"/>
                  </a:lnTo>
                  <a:lnTo>
                    <a:pt x="77332" y="193407"/>
                  </a:lnTo>
                  <a:lnTo>
                    <a:pt x="73562" y="191655"/>
                  </a:lnTo>
                  <a:lnTo>
                    <a:pt x="72817" y="192294"/>
                  </a:lnTo>
                  <a:lnTo>
                    <a:pt x="71982" y="193920"/>
                  </a:lnTo>
                  <a:lnTo>
                    <a:pt x="71501" y="196456"/>
                  </a:lnTo>
                  <a:lnTo>
                    <a:pt x="68824" y="194254"/>
                  </a:lnTo>
                  <a:lnTo>
                    <a:pt x="66542" y="191306"/>
                  </a:lnTo>
                  <a:lnTo>
                    <a:pt x="65777" y="189452"/>
                  </a:lnTo>
                  <a:lnTo>
                    <a:pt x="65720" y="187364"/>
                  </a:lnTo>
                  <a:lnTo>
                    <a:pt x="66958" y="186553"/>
                  </a:lnTo>
                  <a:lnTo>
                    <a:pt x="68303" y="187295"/>
                  </a:lnTo>
                  <a:lnTo>
                    <a:pt x="70308" y="182331"/>
                  </a:lnTo>
                  <a:lnTo>
                    <a:pt x="74297" y="175855"/>
                  </a:lnTo>
                  <a:lnTo>
                    <a:pt x="75704" y="173952"/>
                  </a:lnTo>
                  <a:lnTo>
                    <a:pt x="76686" y="171467"/>
                  </a:lnTo>
                  <a:lnTo>
                    <a:pt x="76518" y="169839"/>
                  </a:lnTo>
                  <a:lnTo>
                    <a:pt x="75638" y="168464"/>
                  </a:lnTo>
                  <a:lnTo>
                    <a:pt x="71930" y="165337"/>
                  </a:lnTo>
                  <a:lnTo>
                    <a:pt x="71979" y="162788"/>
                  </a:lnTo>
                  <a:lnTo>
                    <a:pt x="72376" y="159906"/>
                  </a:lnTo>
                  <a:lnTo>
                    <a:pt x="73384" y="158175"/>
                  </a:lnTo>
                  <a:lnTo>
                    <a:pt x="73810" y="157845"/>
                  </a:lnTo>
                  <a:lnTo>
                    <a:pt x="78735" y="157891"/>
                  </a:lnTo>
                  <a:lnTo>
                    <a:pt x="76814" y="156997"/>
                  </a:lnTo>
                  <a:lnTo>
                    <a:pt x="72986" y="154385"/>
                  </a:lnTo>
                  <a:lnTo>
                    <a:pt x="73054" y="153459"/>
                  </a:lnTo>
                  <a:lnTo>
                    <a:pt x="73955" y="151041"/>
                  </a:lnTo>
                  <a:lnTo>
                    <a:pt x="73537" y="151286"/>
                  </a:lnTo>
                  <a:lnTo>
                    <a:pt x="72717" y="152403"/>
                  </a:lnTo>
                  <a:lnTo>
                    <a:pt x="71150" y="155105"/>
                  </a:lnTo>
                  <a:lnTo>
                    <a:pt x="70194" y="155735"/>
                  </a:lnTo>
                  <a:lnTo>
                    <a:pt x="67486" y="156376"/>
                  </a:lnTo>
                  <a:lnTo>
                    <a:pt x="66996" y="157705"/>
                  </a:lnTo>
                  <a:lnTo>
                    <a:pt x="66561" y="158052"/>
                  </a:lnTo>
                  <a:lnTo>
                    <a:pt x="65208" y="158203"/>
                  </a:lnTo>
                  <a:lnTo>
                    <a:pt x="64793" y="159441"/>
                  </a:lnTo>
                  <a:lnTo>
                    <a:pt x="64492" y="159520"/>
                  </a:lnTo>
                  <a:lnTo>
                    <a:pt x="64107" y="158184"/>
                  </a:lnTo>
                  <a:lnTo>
                    <a:pt x="64070" y="155968"/>
                  </a:lnTo>
                  <a:lnTo>
                    <a:pt x="64609" y="153929"/>
                  </a:lnTo>
                  <a:lnTo>
                    <a:pt x="65638" y="152332"/>
                  </a:lnTo>
                  <a:lnTo>
                    <a:pt x="69606" y="148697"/>
                  </a:lnTo>
                  <a:lnTo>
                    <a:pt x="67674" y="149819"/>
                  </a:lnTo>
                  <a:lnTo>
                    <a:pt x="63295" y="153176"/>
                  </a:lnTo>
                  <a:lnTo>
                    <a:pt x="61060" y="155381"/>
                  </a:lnTo>
                  <a:lnTo>
                    <a:pt x="60463" y="156125"/>
                  </a:lnTo>
                  <a:lnTo>
                    <a:pt x="60276" y="156752"/>
                  </a:lnTo>
                  <a:lnTo>
                    <a:pt x="60289" y="157474"/>
                  </a:lnTo>
                  <a:lnTo>
                    <a:pt x="61293" y="161344"/>
                  </a:lnTo>
                  <a:lnTo>
                    <a:pt x="61007" y="163133"/>
                  </a:lnTo>
                  <a:lnTo>
                    <a:pt x="57234" y="174922"/>
                  </a:lnTo>
                  <a:lnTo>
                    <a:pt x="56520" y="176102"/>
                  </a:lnTo>
                  <a:lnTo>
                    <a:pt x="55863" y="176719"/>
                  </a:lnTo>
                  <a:lnTo>
                    <a:pt x="55242" y="176860"/>
                  </a:lnTo>
                  <a:lnTo>
                    <a:pt x="53382" y="176636"/>
                  </a:lnTo>
                  <a:lnTo>
                    <a:pt x="52552" y="175755"/>
                  </a:lnTo>
                  <a:lnTo>
                    <a:pt x="52559" y="174757"/>
                  </a:lnTo>
                  <a:lnTo>
                    <a:pt x="52908" y="173257"/>
                  </a:lnTo>
                  <a:lnTo>
                    <a:pt x="54472" y="167668"/>
                  </a:lnTo>
                  <a:lnTo>
                    <a:pt x="55151" y="166113"/>
                  </a:lnTo>
                  <a:lnTo>
                    <a:pt x="56160" y="164666"/>
                  </a:lnTo>
                  <a:lnTo>
                    <a:pt x="58383" y="162130"/>
                  </a:lnTo>
                  <a:lnTo>
                    <a:pt x="58329" y="161965"/>
                  </a:lnTo>
                  <a:lnTo>
                    <a:pt x="56849" y="162462"/>
                  </a:lnTo>
                  <a:lnTo>
                    <a:pt x="56218" y="162298"/>
                  </a:lnTo>
                  <a:lnTo>
                    <a:pt x="55766" y="161796"/>
                  </a:lnTo>
                  <a:lnTo>
                    <a:pt x="56059" y="154257"/>
                  </a:lnTo>
                  <a:lnTo>
                    <a:pt x="57260" y="151771"/>
                  </a:lnTo>
                  <a:lnTo>
                    <a:pt x="57709" y="148150"/>
                  </a:lnTo>
                  <a:lnTo>
                    <a:pt x="58750" y="145045"/>
                  </a:lnTo>
                  <a:lnTo>
                    <a:pt x="59955" y="142781"/>
                  </a:lnTo>
                  <a:lnTo>
                    <a:pt x="60872" y="139881"/>
                  </a:lnTo>
                  <a:lnTo>
                    <a:pt x="62254" y="138590"/>
                  </a:lnTo>
                  <a:lnTo>
                    <a:pt x="62624" y="136614"/>
                  </a:lnTo>
                  <a:lnTo>
                    <a:pt x="64174" y="134473"/>
                  </a:lnTo>
                  <a:lnTo>
                    <a:pt x="65373" y="132232"/>
                  </a:lnTo>
                  <a:lnTo>
                    <a:pt x="64727" y="132454"/>
                  </a:lnTo>
                  <a:lnTo>
                    <a:pt x="57063" y="138281"/>
                  </a:lnTo>
                  <a:lnTo>
                    <a:pt x="55111" y="139341"/>
                  </a:lnTo>
                  <a:lnTo>
                    <a:pt x="52450" y="139057"/>
                  </a:lnTo>
                  <a:lnTo>
                    <a:pt x="50415" y="138403"/>
                  </a:lnTo>
                  <a:lnTo>
                    <a:pt x="48825" y="137025"/>
                  </a:lnTo>
                  <a:lnTo>
                    <a:pt x="48114" y="134378"/>
                  </a:lnTo>
                  <a:lnTo>
                    <a:pt x="46150" y="134307"/>
                  </a:lnTo>
                  <a:lnTo>
                    <a:pt x="44470" y="133849"/>
                  </a:lnTo>
                  <a:lnTo>
                    <a:pt x="44491" y="133493"/>
                  </a:lnTo>
                  <a:lnTo>
                    <a:pt x="46658" y="132048"/>
                  </a:lnTo>
                  <a:lnTo>
                    <a:pt x="50132" y="131552"/>
                  </a:lnTo>
                  <a:lnTo>
                    <a:pt x="53383" y="129237"/>
                  </a:lnTo>
                  <a:lnTo>
                    <a:pt x="50490" y="127672"/>
                  </a:lnTo>
                  <a:lnTo>
                    <a:pt x="50735" y="127176"/>
                  </a:lnTo>
                  <a:lnTo>
                    <a:pt x="53258" y="125842"/>
                  </a:lnTo>
                  <a:lnTo>
                    <a:pt x="56463" y="121362"/>
                  </a:lnTo>
                  <a:lnTo>
                    <a:pt x="57113" y="117232"/>
                  </a:lnTo>
                  <a:lnTo>
                    <a:pt x="55580" y="115289"/>
                  </a:lnTo>
                  <a:lnTo>
                    <a:pt x="55025" y="114015"/>
                  </a:lnTo>
                  <a:lnTo>
                    <a:pt x="51961" y="112594"/>
                  </a:lnTo>
                  <a:lnTo>
                    <a:pt x="51449" y="110774"/>
                  </a:lnTo>
                  <a:lnTo>
                    <a:pt x="51805" y="109758"/>
                  </a:lnTo>
                  <a:lnTo>
                    <a:pt x="52805" y="108765"/>
                  </a:lnTo>
                  <a:lnTo>
                    <a:pt x="54312" y="107991"/>
                  </a:lnTo>
                  <a:lnTo>
                    <a:pt x="56674" y="107251"/>
                  </a:lnTo>
                  <a:lnTo>
                    <a:pt x="54530" y="106457"/>
                  </a:lnTo>
                  <a:lnTo>
                    <a:pt x="53730" y="105520"/>
                  </a:lnTo>
                  <a:lnTo>
                    <a:pt x="53123" y="104163"/>
                  </a:lnTo>
                  <a:lnTo>
                    <a:pt x="53067" y="103376"/>
                  </a:lnTo>
                  <a:lnTo>
                    <a:pt x="54177" y="99866"/>
                  </a:lnTo>
                  <a:lnTo>
                    <a:pt x="54823" y="98417"/>
                  </a:lnTo>
                  <a:lnTo>
                    <a:pt x="56087" y="96568"/>
                  </a:lnTo>
                  <a:lnTo>
                    <a:pt x="61821" y="96672"/>
                  </a:lnTo>
                  <a:lnTo>
                    <a:pt x="62480" y="95855"/>
                  </a:lnTo>
                  <a:lnTo>
                    <a:pt x="63130" y="95823"/>
                  </a:lnTo>
                  <a:lnTo>
                    <a:pt x="66062" y="96568"/>
                  </a:lnTo>
                  <a:lnTo>
                    <a:pt x="65627" y="95766"/>
                  </a:lnTo>
                  <a:lnTo>
                    <a:pt x="60832" y="91368"/>
                  </a:lnTo>
                  <a:lnTo>
                    <a:pt x="60402" y="90530"/>
                  </a:lnTo>
                  <a:lnTo>
                    <a:pt x="61769" y="88154"/>
                  </a:lnTo>
                  <a:lnTo>
                    <a:pt x="61868" y="87094"/>
                  </a:lnTo>
                  <a:lnTo>
                    <a:pt x="61668" y="85961"/>
                  </a:lnTo>
                  <a:lnTo>
                    <a:pt x="62058" y="85098"/>
                  </a:lnTo>
                  <a:lnTo>
                    <a:pt x="63578" y="84690"/>
                  </a:lnTo>
                  <a:lnTo>
                    <a:pt x="68213" y="84731"/>
                  </a:lnTo>
                  <a:lnTo>
                    <a:pt x="69355" y="84329"/>
                  </a:lnTo>
                  <a:lnTo>
                    <a:pt x="68835" y="83181"/>
                  </a:lnTo>
                  <a:lnTo>
                    <a:pt x="67756" y="81671"/>
                  </a:lnTo>
                  <a:lnTo>
                    <a:pt x="67545" y="80402"/>
                  </a:lnTo>
                  <a:lnTo>
                    <a:pt x="67798" y="79281"/>
                  </a:lnTo>
                  <a:lnTo>
                    <a:pt x="67857" y="77022"/>
                  </a:lnTo>
                  <a:lnTo>
                    <a:pt x="68068" y="76022"/>
                  </a:lnTo>
                  <a:lnTo>
                    <a:pt x="69168" y="74524"/>
                  </a:lnTo>
                  <a:lnTo>
                    <a:pt x="70077" y="74079"/>
                  </a:lnTo>
                  <a:lnTo>
                    <a:pt x="71204" y="73818"/>
                  </a:lnTo>
                  <a:lnTo>
                    <a:pt x="73748" y="74319"/>
                  </a:lnTo>
                  <a:lnTo>
                    <a:pt x="74718" y="74924"/>
                  </a:lnTo>
                  <a:lnTo>
                    <a:pt x="75831" y="76352"/>
                  </a:lnTo>
                  <a:lnTo>
                    <a:pt x="76654" y="76236"/>
                  </a:lnTo>
                  <a:lnTo>
                    <a:pt x="79822" y="74685"/>
                  </a:lnTo>
                  <a:lnTo>
                    <a:pt x="80774" y="74462"/>
                  </a:lnTo>
                  <a:lnTo>
                    <a:pt x="82070" y="76260"/>
                  </a:lnTo>
                  <a:lnTo>
                    <a:pt x="87480" y="74826"/>
                  </a:lnTo>
                  <a:lnTo>
                    <a:pt x="94757" y="74183"/>
                  </a:lnTo>
                  <a:lnTo>
                    <a:pt x="99129" y="73239"/>
                  </a:lnTo>
                  <a:lnTo>
                    <a:pt x="103733" y="72896"/>
                  </a:lnTo>
                  <a:close/>
                  <a:moveTo>
                    <a:pt x="115062" y="65804"/>
                  </a:moveTo>
                  <a:lnTo>
                    <a:pt x="116053" y="66067"/>
                  </a:lnTo>
                  <a:lnTo>
                    <a:pt x="115685" y="66975"/>
                  </a:lnTo>
                  <a:lnTo>
                    <a:pt x="115324" y="68857"/>
                  </a:lnTo>
                  <a:lnTo>
                    <a:pt x="115112" y="68953"/>
                  </a:lnTo>
                  <a:lnTo>
                    <a:pt x="114307" y="68360"/>
                  </a:lnTo>
                  <a:lnTo>
                    <a:pt x="112979" y="66228"/>
                  </a:lnTo>
                  <a:close/>
                  <a:moveTo>
                    <a:pt x="105859" y="63098"/>
                  </a:moveTo>
                  <a:lnTo>
                    <a:pt x="107750" y="63544"/>
                  </a:lnTo>
                  <a:lnTo>
                    <a:pt x="108729" y="65107"/>
                  </a:lnTo>
                  <a:lnTo>
                    <a:pt x="108851" y="66123"/>
                  </a:lnTo>
                  <a:lnTo>
                    <a:pt x="109083" y="66522"/>
                  </a:lnTo>
                  <a:lnTo>
                    <a:pt x="110257" y="66923"/>
                  </a:lnTo>
                  <a:lnTo>
                    <a:pt x="110115" y="67151"/>
                  </a:lnTo>
                  <a:lnTo>
                    <a:pt x="108851" y="67581"/>
                  </a:lnTo>
                  <a:lnTo>
                    <a:pt x="107598" y="67549"/>
                  </a:lnTo>
                  <a:lnTo>
                    <a:pt x="105643" y="65673"/>
                  </a:lnTo>
                  <a:lnTo>
                    <a:pt x="104900" y="64307"/>
                  </a:lnTo>
                  <a:lnTo>
                    <a:pt x="105034" y="63403"/>
                  </a:lnTo>
                  <a:close/>
                  <a:moveTo>
                    <a:pt x="108266" y="55774"/>
                  </a:moveTo>
                  <a:lnTo>
                    <a:pt x="110302" y="56022"/>
                  </a:lnTo>
                  <a:lnTo>
                    <a:pt x="112632" y="57239"/>
                  </a:lnTo>
                  <a:lnTo>
                    <a:pt x="113337" y="57988"/>
                  </a:lnTo>
                  <a:lnTo>
                    <a:pt x="113320" y="58586"/>
                  </a:lnTo>
                  <a:lnTo>
                    <a:pt x="112493" y="59499"/>
                  </a:lnTo>
                  <a:lnTo>
                    <a:pt x="112199" y="60302"/>
                  </a:lnTo>
                  <a:lnTo>
                    <a:pt x="113880" y="60283"/>
                  </a:lnTo>
                  <a:lnTo>
                    <a:pt x="116315" y="60967"/>
                  </a:lnTo>
                  <a:lnTo>
                    <a:pt x="117789" y="61053"/>
                  </a:lnTo>
                  <a:lnTo>
                    <a:pt x="119015" y="61901"/>
                  </a:lnTo>
                  <a:lnTo>
                    <a:pt x="118339" y="63490"/>
                  </a:lnTo>
                  <a:lnTo>
                    <a:pt x="117605" y="63935"/>
                  </a:lnTo>
                  <a:lnTo>
                    <a:pt x="116775" y="64023"/>
                  </a:lnTo>
                  <a:lnTo>
                    <a:pt x="113877" y="62436"/>
                  </a:lnTo>
                  <a:lnTo>
                    <a:pt x="110079" y="63095"/>
                  </a:lnTo>
                  <a:lnTo>
                    <a:pt x="109323" y="62894"/>
                  </a:lnTo>
                  <a:lnTo>
                    <a:pt x="108824" y="62455"/>
                  </a:lnTo>
                  <a:lnTo>
                    <a:pt x="108619" y="61911"/>
                  </a:lnTo>
                  <a:lnTo>
                    <a:pt x="108615" y="60801"/>
                  </a:lnTo>
                  <a:lnTo>
                    <a:pt x="108409" y="60473"/>
                  </a:lnTo>
                  <a:lnTo>
                    <a:pt x="107033" y="61523"/>
                  </a:lnTo>
                  <a:lnTo>
                    <a:pt x="106429" y="61399"/>
                  </a:lnTo>
                  <a:lnTo>
                    <a:pt x="106088" y="60896"/>
                  </a:lnTo>
                  <a:lnTo>
                    <a:pt x="105941" y="59853"/>
                  </a:lnTo>
                  <a:lnTo>
                    <a:pt x="106094" y="58347"/>
                  </a:lnTo>
                  <a:lnTo>
                    <a:pt x="106900" y="56202"/>
                  </a:lnTo>
                  <a:close/>
                  <a:moveTo>
                    <a:pt x="124031" y="50542"/>
                  </a:moveTo>
                  <a:lnTo>
                    <a:pt x="126876" y="50758"/>
                  </a:lnTo>
                  <a:lnTo>
                    <a:pt x="126370" y="51625"/>
                  </a:lnTo>
                  <a:lnTo>
                    <a:pt x="123738" y="52921"/>
                  </a:lnTo>
                  <a:lnTo>
                    <a:pt x="121235" y="52960"/>
                  </a:lnTo>
                  <a:lnTo>
                    <a:pt x="122528" y="51028"/>
                  </a:lnTo>
                  <a:close/>
                  <a:moveTo>
                    <a:pt x="114304" y="49137"/>
                  </a:moveTo>
                  <a:lnTo>
                    <a:pt x="116822" y="51059"/>
                  </a:lnTo>
                  <a:lnTo>
                    <a:pt x="117853" y="52612"/>
                  </a:lnTo>
                  <a:lnTo>
                    <a:pt x="119718" y="53071"/>
                  </a:lnTo>
                  <a:lnTo>
                    <a:pt x="119956" y="53309"/>
                  </a:lnTo>
                  <a:lnTo>
                    <a:pt x="119746" y="54377"/>
                  </a:lnTo>
                  <a:lnTo>
                    <a:pt x="117848" y="55188"/>
                  </a:lnTo>
                  <a:lnTo>
                    <a:pt x="117038" y="54517"/>
                  </a:lnTo>
                  <a:lnTo>
                    <a:pt x="116827" y="52416"/>
                  </a:lnTo>
                  <a:lnTo>
                    <a:pt x="114564" y="51516"/>
                  </a:lnTo>
                  <a:lnTo>
                    <a:pt x="113464" y="50957"/>
                  </a:lnTo>
                  <a:lnTo>
                    <a:pt x="112612" y="49897"/>
                  </a:lnTo>
                  <a:lnTo>
                    <a:pt x="112829" y="49572"/>
                  </a:lnTo>
                  <a:close/>
                  <a:moveTo>
                    <a:pt x="149939" y="7430"/>
                  </a:moveTo>
                  <a:lnTo>
                    <a:pt x="151315" y="7494"/>
                  </a:lnTo>
                  <a:lnTo>
                    <a:pt x="151174" y="9833"/>
                  </a:lnTo>
                  <a:lnTo>
                    <a:pt x="151632" y="12180"/>
                  </a:lnTo>
                  <a:lnTo>
                    <a:pt x="152774" y="11572"/>
                  </a:lnTo>
                  <a:lnTo>
                    <a:pt x="154498" y="13821"/>
                  </a:lnTo>
                  <a:lnTo>
                    <a:pt x="155378" y="13824"/>
                  </a:lnTo>
                  <a:lnTo>
                    <a:pt x="156827" y="12931"/>
                  </a:lnTo>
                  <a:lnTo>
                    <a:pt x="156535" y="15023"/>
                  </a:lnTo>
                  <a:lnTo>
                    <a:pt x="155031" y="20819"/>
                  </a:lnTo>
                  <a:lnTo>
                    <a:pt x="154608" y="21802"/>
                  </a:lnTo>
                  <a:lnTo>
                    <a:pt x="154322" y="23560"/>
                  </a:lnTo>
                  <a:lnTo>
                    <a:pt x="154023" y="23902"/>
                  </a:lnTo>
                  <a:lnTo>
                    <a:pt x="153579" y="27452"/>
                  </a:lnTo>
                  <a:lnTo>
                    <a:pt x="152562" y="28620"/>
                  </a:lnTo>
                  <a:lnTo>
                    <a:pt x="151712" y="31404"/>
                  </a:lnTo>
                  <a:lnTo>
                    <a:pt x="151365" y="31676"/>
                  </a:lnTo>
                  <a:lnTo>
                    <a:pt x="150118" y="30605"/>
                  </a:lnTo>
                  <a:lnTo>
                    <a:pt x="151364" y="26353"/>
                  </a:lnTo>
                  <a:lnTo>
                    <a:pt x="151880" y="23878"/>
                  </a:lnTo>
                  <a:lnTo>
                    <a:pt x="151554" y="22593"/>
                  </a:lnTo>
                  <a:lnTo>
                    <a:pt x="150849" y="21436"/>
                  </a:lnTo>
                  <a:lnTo>
                    <a:pt x="148942" y="21399"/>
                  </a:lnTo>
                  <a:lnTo>
                    <a:pt x="147340" y="21933"/>
                  </a:lnTo>
                  <a:lnTo>
                    <a:pt x="147000" y="21250"/>
                  </a:lnTo>
                  <a:lnTo>
                    <a:pt x="146950" y="20329"/>
                  </a:lnTo>
                  <a:lnTo>
                    <a:pt x="146564" y="20023"/>
                  </a:lnTo>
                  <a:lnTo>
                    <a:pt x="144431" y="20086"/>
                  </a:lnTo>
                  <a:lnTo>
                    <a:pt x="143805" y="19832"/>
                  </a:lnTo>
                  <a:lnTo>
                    <a:pt x="143392" y="18986"/>
                  </a:lnTo>
                  <a:lnTo>
                    <a:pt x="143310" y="18314"/>
                  </a:lnTo>
                  <a:lnTo>
                    <a:pt x="145236" y="17787"/>
                  </a:lnTo>
                  <a:lnTo>
                    <a:pt x="147054" y="17983"/>
                  </a:lnTo>
                  <a:lnTo>
                    <a:pt x="149703" y="16640"/>
                  </a:lnTo>
                  <a:lnTo>
                    <a:pt x="148046" y="12130"/>
                  </a:lnTo>
                  <a:lnTo>
                    <a:pt x="145851" y="11705"/>
                  </a:lnTo>
                  <a:lnTo>
                    <a:pt x="145344" y="11268"/>
                  </a:lnTo>
                  <a:lnTo>
                    <a:pt x="145767" y="10502"/>
                  </a:lnTo>
                  <a:lnTo>
                    <a:pt x="146972" y="10089"/>
                  </a:lnTo>
                  <a:lnTo>
                    <a:pt x="148828" y="7792"/>
                  </a:lnTo>
                  <a:close/>
                  <a:moveTo>
                    <a:pt x="155924" y="3736"/>
                  </a:moveTo>
                  <a:lnTo>
                    <a:pt x="157863" y="3860"/>
                  </a:lnTo>
                  <a:lnTo>
                    <a:pt x="158171" y="4878"/>
                  </a:lnTo>
                  <a:lnTo>
                    <a:pt x="157979" y="5814"/>
                  </a:lnTo>
                  <a:lnTo>
                    <a:pt x="156991" y="5897"/>
                  </a:lnTo>
                  <a:lnTo>
                    <a:pt x="156903" y="6184"/>
                  </a:lnTo>
                  <a:lnTo>
                    <a:pt x="157211" y="7986"/>
                  </a:lnTo>
                  <a:lnTo>
                    <a:pt x="157230" y="10077"/>
                  </a:lnTo>
                  <a:lnTo>
                    <a:pt x="157046" y="10621"/>
                  </a:lnTo>
                  <a:lnTo>
                    <a:pt x="156486" y="11006"/>
                  </a:lnTo>
                  <a:lnTo>
                    <a:pt x="154327" y="7619"/>
                  </a:lnTo>
                  <a:close/>
                  <a:moveTo>
                    <a:pt x="161891" y="0"/>
                  </a:moveTo>
                  <a:lnTo>
                    <a:pt x="162369" y="21"/>
                  </a:lnTo>
                  <a:lnTo>
                    <a:pt x="162978" y="667"/>
                  </a:lnTo>
                  <a:lnTo>
                    <a:pt x="162977" y="1051"/>
                  </a:lnTo>
                  <a:lnTo>
                    <a:pt x="161831" y="3871"/>
                  </a:lnTo>
                  <a:lnTo>
                    <a:pt x="161846" y="4948"/>
                  </a:lnTo>
                  <a:lnTo>
                    <a:pt x="159996" y="4845"/>
                  </a:lnTo>
                  <a:lnTo>
                    <a:pt x="159706" y="4502"/>
                  </a:lnTo>
                  <a:lnTo>
                    <a:pt x="159356" y="2885"/>
                  </a:lnTo>
                  <a:lnTo>
                    <a:pt x="159589" y="1162"/>
                  </a:lnTo>
                  <a:lnTo>
                    <a:pt x="159848" y="718"/>
                  </a:lnTo>
                  <a:lnTo>
                    <a:pt x="160388" y="535"/>
                  </a:lnTo>
                  <a:lnTo>
                    <a:pt x="160973" y="873"/>
                  </a:lnTo>
                  <a:close/>
                </a:path>
              </a:pathLst>
            </a:custGeom>
            <a:solidFill>
              <a:srgbClr val="C7CDD0"/>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AT" sz="1600" err="1">
                <a:solidFill>
                  <a:schemeClr val="tx1"/>
                </a:solidFill>
                <a:latin typeface="Calibri" panose="020F0502020204030204" pitchFamily="34" charset="0"/>
                <a:cs typeface="Calibri" panose="020F0502020204030204" pitchFamily="34" charset="0"/>
              </a:endParaRPr>
            </a:p>
          </p:txBody>
        </p:sp>
        <p:sp>
          <p:nvSpPr>
            <p:cNvPr id="82" name="ee4p_GR_1_86241">
              <a:extLst>
                <a:ext uri="{FF2B5EF4-FFF2-40B4-BE49-F238E27FC236}">
                  <a16:creationId xmlns:a16="http://schemas.microsoft.com/office/drawing/2014/main" id="{2F45EA93-706E-4BF3-BCD4-EF968F4C96BE}"/>
                </a:ext>
              </a:extLst>
            </p:cNvPr>
            <p:cNvSpPr>
              <a:spLocks noChangeAspect="1"/>
            </p:cNvSpPr>
            <p:nvPr>
              <p:custDataLst>
                <p:tags r:id="rId20"/>
              </p:custDataLst>
            </p:nvPr>
          </p:nvSpPr>
          <p:spPr>
            <a:xfrm>
              <a:off x="7428544" y="3749596"/>
              <a:ext cx="575335" cy="544882"/>
            </a:xfrm>
            <a:custGeom>
              <a:avLst/>
              <a:gdLst>
                <a:gd name="connsiteX0" fmla="*/ 90448 w 189841"/>
                <a:gd name="connsiteY0" fmla="*/ 157073 h 175170"/>
                <a:gd name="connsiteX1" fmla="*/ 91198 w 189841"/>
                <a:gd name="connsiteY1" fmla="*/ 157609 h 175170"/>
                <a:gd name="connsiteX2" fmla="*/ 91697 w 189841"/>
                <a:gd name="connsiteY2" fmla="*/ 159571 h 175170"/>
                <a:gd name="connsiteX3" fmla="*/ 92998 w 189841"/>
                <a:gd name="connsiteY3" fmla="*/ 160093 h 175170"/>
                <a:gd name="connsiteX4" fmla="*/ 94510 w 189841"/>
                <a:gd name="connsiteY4" fmla="*/ 160276 h 175170"/>
                <a:gd name="connsiteX5" fmla="*/ 96559 w 189841"/>
                <a:gd name="connsiteY5" fmla="*/ 160244 h 175170"/>
                <a:gd name="connsiteX6" fmla="*/ 97026 w 189841"/>
                <a:gd name="connsiteY6" fmla="*/ 160094 h 175170"/>
                <a:gd name="connsiteX7" fmla="*/ 98330 w 189841"/>
                <a:gd name="connsiteY7" fmla="*/ 158624 h 175170"/>
                <a:gd name="connsiteX8" fmla="*/ 99937 w 189841"/>
                <a:gd name="connsiteY8" fmla="*/ 158590 h 175170"/>
                <a:gd name="connsiteX9" fmla="*/ 100638 w 189841"/>
                <a:gd name="connsiteY9" fmla="*/ 160043 h 175170"/>
                <a:gd name="connsiteX10" fmla="*/ 99008 w 189841"/>
                <a:gd name="connsiteY10" fmla="*/ 160712 h 175170"/>
                <a:gd name="connsiteX11" fmla="*/ 98676 w 189841"/>
                <a:gd name="connsiteY11" fmla="*/ 161090 h 175170"/>
                <a:gd name="connsiteX12" fmla="*/ 98989 w 189841"/>
                <a:gd name="connsiteY12" fmla="*/ 161396 h 175170"/>
                <a:gd name="connsiteX13" fmla="*/ 100213 w 189841"/>
                <a:gd name="connsiteY13" fmla="*/ 162002 h 175170"/>
                <a:gd name="connsiteX14" fmla="*/ 101913 w 189841"/>
                <a:gd name="connsiteY14" fmla="*/ 161773 h 175170"/>
                <a:gd name="connsiteX15" fmla="*/ 101964 w 189841"/>
                <a:gd name="connsiteY15" fmla="*/ 162916 h 175170"/>
                <a:gd name="connsiteX16" fmla="*/ 102344 w 189841"/>
                <a:gd name="connsiteY16" fmla="*/ 163849 h 175170"/>
                <a:gd name="connsiteX17" fmla="*/ 103184 w 189841"/>
                <a:gd name="connsiteY17" fmla="*/ 164406 h 175170"/>
                <a:gd name="connsiteX18" fmla="*/ 104093 w 189841"/>
                <a:gd name="connsiteY18" fmla="*/ 164515 h 175170"/>
                <a:gd name="connsiteX19" fmla="*/ 106104 w 189841"/>
                <a:gd name="connsiteY19" fmla="*/ 164350 h 175170"/>
                <a:gd name="connsiteX20" fmla="*/ 108086 w 189841"/>
                <a:gd name="connsiteY20" fmla="*/ 163980 h 175170"/>
                <a:gd name="connsiteX21" fmla="*/ 110129 w 189841"/>
                <a:gd name="connsiteY21" fmla="*/ 163248 h 175170"/>
                <a:gd name="connsiteX22" fmla="*/ 112215 w 189841"/>
                <a:gd name="connsiteY22" fmla="*/ 162874 h 175170"/>
                <a:gd name="connsiteX23" fmla="*/ 118447 w 189841"/>
                <a:gd name="connsiteY23" fmla="*/ 163249 h 175170"/>
                <a:gd name="connsiteX24" fmla="*/ 120684 w 189841"/>
                <a:gd name="connsiteY24" fmla="*/ 164830 h 175170"/>
                <a:gd name="connsiteX25" fmla="*/ 124940 w 189841"/>
                <a:gd name="connsiteY25" fmla="*/ 165020 h 175170"/>
                <a:gd name="connsiteX26" fmla="*/ 128896 w 189841"/>
                <a:gd name="connsiteY26" fmla="*/ 165852 h 175170"/>
                <a:gd name="connsiteX27" fmla="*/ 130974 w 189841"/>
                <a:gd name="connsiteY27" fmla="*/ 165303 h 175170"/>
                <a:gd name="connsiteX28" fmla="*/ 134523 w 189841"/>
                <a:gd name="connsiteY28" fmla="*/ 164788 h 175170"/>
                <a:gd name="connsiteX29" fmla="*/ 135092 w 189841"/>
                <a:gd name="connsiteY29" fmla="*/ 165346 h 175170"/>
                <a:gd name="connsiteX30" fmla="*/ 134633 w 189841"/>
                <a:gd name="connsiteY30" fmla="*/ 168918 h 175170"/>
                <a:gd name="connsiteX31" fmla="*/ 134852 w 189841"/>
                <a:gd name="connsiteY31" fmla="*/ 169953 h 175170"/>
                <a:gd name="connsiteX32" fmla="*/ 135875 w 189841"/>
                <a:gd name="connsiteY32" fmla="*/ 170451 h 175170"/>
                <a:gd name="connsiteX33" fmla="*/ 136888 w 189841"/>
                <a:gd name="connsiteY33" fmla="*/ 170208 h 175170"/>
                <a:gd name="connsiteX34" fmla="*/ 138132 w 189841"/>
                <a:gd name="connsiteY34" fmla="*/ 169039 h 175170"/>
                <a:gd name="connsiteX35" fmla="*/ 141109 w 189841"/>
                <a:gd name="connsiteY35" fmla="*/ 168134 h 175170"/>
                <a:gd name="connsiteX36" fmla="*/ 144202 w 189841"/>
                <a:gd name="connsiteY36" fmla="*/ 168139 h 175170"/>
                <a:gd name="connsiteX37" fmla="*/ 146804 w 189841"/>
                <a:gd name="connsiteY37" fmla="*/ 165763 h 175170"/>
                <a:gd name="connsiteX38" fmla="*/ 147571 w 189841"/>
                <a:gd name="connsiteY38" fmla="*/ 165628 h 175170"/>
                <a:gd name="connsiteX39" fmla="*/ 147093 w 189841"/>
                <a:gd name="connsiteY39" fmla="*/ 166796 h 175170"/>
                <a:gd name="connsiteX40" fmla="*/ 146700 w 189841"/>
                <a:gd name="connsiteY40" fmla="*/ 169539 h 175170"/>
                <a:gd name="connsiteX41" fmla="*/ 146141 w 189841"/>
                <a:gd name="connsiteY41" fmla="*/ 171145 h 175170"/>
                <a:gd name="connsiteX42" fmla="*/ 145892 w 189841"/>
                <a:gd name="connsiteY42" fmla="*/ 172410 h 175170"/>
                <a:gd name="connsiteX43" fmla="*/ 144152 w 189841"/>
                <a:gd name="connsiteY43" fmla="*/ 173063 h 175170"/>
                <a:gd name="connsiteX44" fmla="*/ 141522 w 189841"/>
                <a:gd name="connsiteY44" fmla="*/ 173175 h 175170"/>
                <a:gd name="connsiteX45" fmla="*/ 136724 w 189841"/>
                <a:gd name="connsiteY45" fmla="*/ 172898 h 175170"/>
                <a:gd name="connsiteX46" fmla="*/ 131887 w 189841"/>
                <a:gd name="connsiteY46" fmla="*/ 173346 h 175170"/>
                <a:gd name="connsiteX47" fmla="*/ 122928 w 189841"/>
                <a:gd name="connsiteY47" fmla="*/ 174549 h 175170"/>
                <a:gd name="connsiteX48" fmla="*/ 113951 w 189841"/>
                <a:gd name="connsiteY48" fmla="*/ 175170 h 175170"/>
                <a:gd name="connsiteX49" fmla="*/ 112744 w 189841"/>
                <a:gd name="connsiteY49" fmla="*/ 174765 h 175170"/>
                <a:gd name="connsiteX50" fmla="*/ 112716 w 189841"/>
                <a:gd name="connsiteY50" fmla="*/ 173170 h 175170"/>
                <a:gd name="connsiteX51" fmla="*/ 112522 w 189841"/>
                <a:gd name="connsiteY51" fmla="*/ 172069 h 175170"/>
                <a:gd name="connsiteX52" fmla="*/ 111941 w 189841"/>
                <a:gd name="connsiteY52" fmla="*/ 171298 h 175170"/>
                <a:gd name="connsiteX53" fmla="*/ 109166 w 189841"/>
                <a:gd name="connsiteY53" fmla="*/ 170640 h 175170"/>
                <a:gd name="connsiteX54" fmla="*/ 106519 w 189841"/>
                <a:gd name="connsiteY54" fmla="*/ 169511 h 175170"/>
                <a:gd name="connsiteX55" fmla="*/ 96140 w 189841"/>
                <a:gd name="connsiteY55" fmla="*/ 167967 h 175170"/>
                <a:gd name="connsiteX56" fmla="*/ 93692 w 189841"/>
                <a:gd name="connsiteY56" fmla="*/ 167361 h 175170"/>
                <a:gd name="connsiteX57" fmla="*/ 89718 w 189841"/>
                <a:gd name="connsiteY57" fmla="*/ 167677 h 175170"/>
                <a:gd name="connsiteX58" fmla="*/ 88263 w 189841"/>
                <a:gd name="connsiteY58" fmla="*/ 167635 h 175170"/>
                <a:gd name="connsiteX59" fmla="*/ 87261 w 189841"/>
                <a:gd name="connsiteY59" fmla="*/ 167081 h 175170"/>
                <a:gd name="connsiteX60" fmla="*/ 86572 w 189841"/>
                <a:gd name="connsiteY60" fmla="*/ 166129 h 175170"/>
                <a:gd name="connsiteX61" fmla="*/ 86261 w 189841"/>
                <a:gd name="connsiteY61" fmla="*/ 163106 h 175170"/>
                <a:gd name="connsiteX62" fmla="*/ 86753 w 189841"/>
                <a:gd name="connsiteY62" fmla="*/ 160110 h 175170"/>
                <a:gd name="connsiteX63" fmla="*/ 87613 w 189841"/>
                <a:gd name="connsiteY63" fmla="*/ 159318 h 175170"/>
                <a:gd name="connsiteX64" fmla="*/ 88008 w 189841"/>
                <a:gd name="connsiteY64" fmla="*/ 160221 h 175170"/>
                <a:gd name="connsiteX65" fmla="*/ 89027 w 189841"/>
                <a:gd name="connsiteY65" fmla="*/ 160634 h 175170"/>
                <a:gd name="connsiteX66" fmla="*/ 89973 w 189841"/>
                <a:gd name="connsiteY66" fmla="*/ 159724 h 175170"/>
                <a:gd name="connsiteX67" fmla="*/ 89964 w 189841"/>
                <a:gd name="connsiteY67" fmla="*/ 158350 h 175170"/>
                <a:gd name="connsiteX68" fmla="*/ 167536 w 189841"/>
                <a:gd name="connsiteY68" fmla="*/ 152919 h 175170"/>
                <a:gd name="connsiteX69" fmla="*/ 167180 w 189841"/>
                <a:gd name="connsiteY69" fmla="*/ 155589 h 175170"/>
                <a:gd name="connsiteX70" fmla="*/ 166078 w 189841"/>
                <a:gd name="connsiteY70" fmla="*/ 157728 h 175170"/>
                <a:gd name="connsiteX71" fmla="*/ 167221 w 189841"/>
                <a:gd name="connsiteY71" fmla="*/ 159502 h 175170"/>
                <a:gd name="connsiteX72" fmla="*/ 167767 w 189841"/>
                <a:gd name="connsiteY72" fmla="*/ 161523 h 175170"/>
                <a:gd name="connsiteX73" fmla="*/ 166495 w 189841"/>
                <a:gd name="connsiteY73" fmla="*/ 161857 h 175170"/>
                <a:gd name="connsiteX74" fmla="*/ 165651 w 189841"/>
                <a:gd name="connsiteY74" fmla="*/ 163269 h 175170"/>
                <a:gd name="connsiteX75" fmla="*/ 164794 w 189841"/>
                <a:gd name="connsiteY75" fmla="*/ 162079 h 175170"/>
                <a:gd name="connsiteX76" fmla="*/ 165163 w 189841"/>
                <a:gd name="connsiteY76" fmla="*/ 160705 h 175170"/>
                <a:gd name="connsiteX77" fmla="*/ 164165 w 189841"/>
                <a:gd name="connsiteY77" fmla="*/ 158526 h 175170"/>
                <a:gd name="connsiteX78" fmla="*/ 166053 w 189841"/>
                <a:gd name="connsiteY78" fmla="*/ 155292 h 175170"/>
                <a:gd name="connsiteX79" fmla="*/ 166096 w 189841"/>
                <a:gd name="connsiteY79" fmla="*/ 153720 h 175170"/>
                <a:gd name="connsiteX80" fmla="*/ 73059 w 189841"/>
                <a:gd name="connsiteY80" fmla="*/ 138689 h 175170"/>
                <a:gd name="connsiteX81" fmla="*/ 74106 w 189841"/>
                <a:gd name="connsiteY81" fmla="*/ 140102 h 175170"/>
                <a:gd name="connsiteX82" fmla="*/ 76300 w 189841"/>
                <a:gd name="connsiteY82" fmla="*/ 142164 h 175170"/>
                <a:gd name="connsiteX83" fmla="*/ 75343 w 189841"/>
                <a:gd name="connsiteY83" fmla="*/ 143599 h 175170"/>
                <a:gd name="connsiteX84" fmla="*/ 75086 w 189841"/>
                <a:gd name="connsiteY84" fmla="*/ 144696 h 175170"/>
                <a:gd name="connsiteX85" fmla="*/ 72815 w 189841"/>
                <a:gd name="connsiteY85" fmla="*/ 143942 h 175170"/>
                <a:gd name="connsiteX86" fmla="*/ 72182 w 189841"/>
                <a:gd name="connsiteY86" fmla="*/ 142810 h 175170"/>
                <a:gd name="connsiteX87" fmla="*/ 72068 w 189841"/>
                <a:gd name="connsiteY87" fmla="*/ 140299 h 175170"/>
                <a:gd name="connsiteX88" fmla="*/ 72664 w 189841"/>
                <a:gd name="connsiteY88" fmla="*/ 139074 h 175170"/>
                <a:gd name="connsiteX89" fmla="*/ 189841 w 189841"/>
                <a:gd name="connsiteY89" fmla="*/ 137431 h 175170"/>
                <a:gd name="connsiteX90" fmla="*/ 189801 w 189841"/>
                <a:gd name="connsiteY90" fmla="*/ 139035 h 175170"/>
                <a:gd name="connsiteX91" fmla="*/ 187899 w 189841"/>
                <a:gd name="connsiteY91" fmla="*/ 143092 h 175170"/>
                <a:gd name="connsiteX92" fmla="*/ 186211 w 189841"/>
                <a:gd name="connsiteY92" fmla="*/ 145117 h 175170"/>
                <a:gd name="connsiteX93" fmla="*/ 186655 w 189841"/>
                <a:gd name="connsiteY93" fmla="*/ 146743 h 175170"/>
                <a:gd name="connsiteX94" fmla="*/ 183952 w 189841"/>
                <a:gd name="connsiteY94" fmla="*/ 147193 h 175170"/>
                <a:gd name="connsiteX95" fmla="*/ 181238 w 189841"/>
                <a:gd name="connsiteY95" fmla="*/ 150175 h 175170"/>
                <a:gd name="connsiteX96" fmla="*/ 179642 w 189841"/>
                <a:gd name="connsiteY96" fmla="*/ 150705 h 175170"/>
                <a:gd name="connsiteX97" fmla="*/ 179091 w 189841"/>
                <a:gd name="connsiteY97" fmla="*/ 150636 h 175170"/>
                <a:gd name="connsiteX98" fmla="*/ 178424 w 189841"/>
                <a:gd name="connsiteY98" fmla="*/ 149468 h 175170"/>
                <a:gd name="connsiteX99" fmla="*/ 179348 w 189841"/>
                <a:gd name="connsiteY99" fmla="*/ 146645 h 175170"/>
                <a:gd name="connsiteX100" fmla="*/ 178493 w 189841"/>
                <a:gd name="connsiteY100" fmla="*/ 144829 h 175170"/>
                <a:gd name="connsiteX101" fmla="*/ 178441 w 189841"/>
                <a:gd name="connsiteY101" fmla="*/ 144059 h 175170"/>
                <a:gd name="connsiteX102" fmla="*/ 179726 w 189841"/>
                <a:gd name="connsiteY102" fmla="*/ 142993 h 175170"/>
                <a:gd name="connsiteX103" fmla="*/ 180629 w 189841"/>
                <a:gd name="connsiteY103" fmla="*/ 141396 h 175170"/>
                <a:gd name="connsiteX104" fmla="*/ 182822 w 189841"/>
                <a:gd name="connsiteY104" fmla="*/ 139667 h 175170"/>
                <a:gd name="connsiteX105" fmla="*/ 188506 w 189841"/>
                <a:gd name="connsiteY105" fmla="*/ 137619 h 175170"/>
                <a:gd name="connsiteX106" fmla="*/ 127421 w 189841"/>
                <a:gd name="connsiteY106" fmla="*/ 136416 h 175170"/>
                <a:gd name="connsiteX107" fmla="*/ 128713 w 189841"/>
                <a:gd name="connsiteY107" fmla="*/ 137395 h 175170"/>
                <a:gd name="connsiteX108" fmla="*/ 129045 w 189841"/>
                <a:gd name="connsiteY108" fmla="*/ 138469 h 175170"/>
                <a:gd name="connsiteX109" fmla="*/ 128017 w 189841"/>
                <a:gd name="connsiteY109" fmla="*/ 139799 h 175170"/>
                <a:gd name="connsiteX110" fmla="*/ 126570 w 189841"/>
                <a:gd name="connsiteY110" fmla="*/ 139322 h 175170"/>
                <a:gd name="connsiteX111" fmla="*/ 127160 w 189841"/>
                <a:gd name="connsiteY111" fmla="*/ 138816 h 175170"/>
                <a:gd name="connsiteX112" fmla="*/ 127508 w 189841"/>
                <a:gd name="connsiteY112" fmla="*/ 138159 h 175170"/>
                <a:gd name="connsiteX113" fmla="*/ 127546 w 189841"/>
                <a:gd name="connsiteY113" fmla="*/ 137212 h 175170"/>
                <a:gd name="connsiteX114" fmla="*/ 127154 w 189841"/>
                <a:gd name="connsiteY114" fmla="*/ 136629 h 175170"/>
                <a:gd name="connsiteX115" fmla="*/ 148672 w 189841"/>
                <a:gd name="connsiteY115" fmla="*/ 132238 h 175170"/>
                <a:gd name="connsiteX116" fmla="*/ 149805 w 189841"/>
                <a:gd name="connsiteY116" fmla="*/ 132602 h 175170"/>
                <a:gd name="connsiteX117" fmla="*/ 150676 w 189841"/>
                <a:gd name="connsiteY117" fmla="*/ 133587 h 175170"/>
                <a:gd name="connsiteX118" fmla="*/ 148929 w 189841"/>
                <a:gd name="connsiteY118" fmla="*/ 134192 h 175170"/>
                <a:gd name="connsiteX119" fmla="*/ 147819 w 189841"/>
                <a:gd name="connsiteY119" fmla="*/ 135462 h 175170"/>
                <a:gd name="connsiteX120" fmla="*/ 146461 w 189841"/>
                <a:gd name="connsiteY120" fmla="*/ 134562 h 175170"/>
                <a:gd name="connsiteX121" fmla="*/ 146456 w 189841"/>
                <a:gd name="connsiteY121" fmla="*/ 133333 h 175170"/>
                <a:gd name="connsiteX122" fmla="*/ 147942 w 189841"/>
                <a:gd name="connsiteY122" fmla="*/ 133709 h 175170"/>
                <a:gd name="connsiteX123" fmla="*/ 148985 w 189841"/>
                <a:gd name="connsiteY123" fmla="*/ 133017 h 175170"/>
                <a:gd name="connsiteX124" fmla="*/ 181674 w 189841"/>
                <a:gd name="connsiteY124" fmla="*/ 132173 h 175170"/>
                <a:gd name="connsiteX125" fmla="*/ 181836 w 189841"/>
                <a:gd name="connsiteY125" fmla="*/ 132646 h 175170"/>
                <a:gd name="connsiteX126" fmla="*/ 181818 w 189841"/>
                <a:gd name="connsiteY126" fmla="*/ 133656 h 175170"/>
                <a:gd name="connsiteX127" fmla="*/ 181622 w 189841"/>
                <a:gd name="connsiteY127" fmla="*/ 134385 h 175170"/>
                <a:gd name="connsiteX128" fmla="*/ 181138 w 189841"/>
                <a:gd name="connsiteY128" fmla="*/ 134788 h 175170"/>
                <a:gd name="connsiteX129" fmla="*/ 180028 w 189841"/>
                <a:gd name="connsiteY129" fmla="*/ 133630 h 175170"/>
                <a:gd name="connsiteX130" fmla="*/ 179976 w 189841"/>
                <a:gd name="connsiteY130" fmla="*/ 133026 h 175170"/>
                <a:gd name="connsiteX131" fmla="*/ 181106 w 189841"/>
                <a:gd name="connsiteY131" fmla="*/ 132333 h 175170"/>
                <a:gd name="connsiteX132" fmla="*/ 108112 w 189841"/>
                <a:gd name="connsiteY132" fmla="*/ 129062 h 175170"/>
                <a:gd name="connsiteX133" fmla="*/ 108151 w 189841"/>
                <a:gd name="connsiteY133" fmla="*/ 130553 h 175170"/>
                <a:gd name="connsiteX134" fmla="*/ 108000 w 189841"/>
                <a:gd name="connsiteY134" fmla="*/ 131087 h 175170"/>
                <a:gd name="connsiteX135" fmla="*/ 103474 w 189841"/>
                <a:gd name="connsiteY135" fmla="*/ 131806 h 175170"/>
                <a:gd name="connsiteX136" fmla="*/ 103893 w 189841"/>
                <a:gd name="connsiteY136" fmla="*/ 130097 h 175170"/>
                <a:gd name="connsiteX137" fmla="*/ 104169 w 189841"/>
                <a:gd name="connsiteY137" fmla="*/ 129557 h 175170"/>
                <a:gd name="connsiteX138" fmla="*/ 105668 w 189841"/>
                <a:gd name="connsiteY138" fmla="*/ 130352 h 175170"/>
                <a:gd name="connsiteX139" fmla="*/ 106220 w 189841"/>
                <a:gd name="connsiteY139" fmla="*/ 129946 h 175170"/>
                <a:gd name="connsiteX140" fmla="*/ 106445 w 189841"/>
                <a:gd name="connsiteY140" fmla="*/ 129476 h 175170"/>
                <a:gd name="connsiteX141" fmla="*/ 124921 w 189841"/>
                <a:gd name="connsiteY141" fmla="*/ 128417 h 175170"/>
                <a:gd name="connsiteX142" fmla="*/ 127376 w 189841"/>
                <a:gd name="connsiteY142" fmla="*/ 130240 h 175170"/>
                <a:gd name="connsiteX143" fmla="*/ 126819 w 189841"/>
                <a:gd name="connsiteY143" fmla="*/ 131339 h 175170"/>
                <a:gd name="connsiteX144" fmla="*/ 126434 w 189841"/>
                <a:gd name="connsiteY144" fmla="*/ 131737 h 175170"/>
                <a:gd name="connsiteX145" fmla="*/ 124761 w 189841"/>
                <a:gd name="connsiteY145" fmla="*/ 130134 h 175170"/>
                <a:gd name="connsiteX146" fmla="*/ 124126 w 189841"/>
                <a:gd name="connsiteY146" fmla="*/ 129197 h 175170"/>
                <a:gd name="connsiteX147" fmla="*/ 168476 w 189841"/>
                <a:gd name="connsiteY147" fmla="*/ 125472 h 175170"/>
                <a:gd name="connsiteX148" fmla="*/ 170389 w 189841"/>
                <a:gd name="connsiteY148" fmla="*/ 126393 h 175170"/>
                <a:gd name="connsiteX149" fmla="*/ 166873 w 189841"/>
                <a:gd name="connsiteY149" fmla="*/ 127910 h 175170"/>
                <a:gd name="connsiteX150" fmla="*/ 165940 w 189841"/>
                <a:gd name="connsiteY150" fmla="*/ 128712 h 175170"/>
                <a:gd name="connsiteX151" fmla="*/ 163345 w 189841"/>
                <a:gd name="connsiteY151" fmla="*/ 128885 h 175170"/>
                <a:gd name="connsiteX152" fmla="*/ 161488 w 189841"/>
                <a:gd name="connsiteY152" fmla="*/ 129993 h 175170"/>
                <a:gd name="connsiteX153" fmla="*/ 160797 w 189841"/>
                <a:gd name="connsiteY153" fmla="*/ 130023 h 175170"/>
                <a:gd name="connsiteX154" fmla="*/ 161619 w 189841"/>
                <a:gd name="connsiteY154" fmla="*/ 128797 h 175170"/>
                <a:gd name="connsiteX155" fmla="*/ 163954 w 189841"/>
                <a:gd name="connsiteY155" fmla="*/ 127117 h 175170"/>
                <a:gd name="connsiteX156" fmla="*/ 167355 w 189841"/>
                <a:gd name="connsiteY156" fmla="*/ 125637 h 175170"/>
                <a:gd name="connsiteX157" fmla="*/ 140505 w 189841"/>
                <a:gd name="connsiteY157" fmla="*/ 124652 h 175170"/>
                <a:gd name="connsiteX158" fmla="*/ 141915 w 189841"/>
                <a:gd name="connsiteY158" fmla="*/ 125533 h 175170"/>
                <a:gd name="connsiteX159" fmla="*/ 140151 w 189841"/>
                <a:gd name="connsiteY159" fmla="*/ 126118 h 175170"/>
                <a:gd name="connsiteX160" fmla="*/ 137380 w 189841"/>
                <a:gd name="connsiteY160" fmla="*/ 128386 h 175170"/>
                <a:gd name="connsiteX161" fmla="*/ 135428 w 189841"/>
                <a:gd name="connsiteY161" fmla="*/ 128594 h 175170"/>
                <a:gd name="connsiteX162" fmla="*/ 134811 w 189841"/>
                <a:gd name="connsiteY162" fmla="*/ 128403 h 175170"/>
                <a:gd name="connsiteX163" fmla="*/ 135996 w 189841"/>
                <a:gd name="connsiteY163" fmla="*/ 127964 h 175170"/>
                <a:gd name="connsiteX164" fmla="*/ 136828 w 189841"/>
                <a:gd name="connsiteY164" fmla="*/ 127498 h 175170"/>
                <a:gd name="connsiteX165" fmla="*/ 137227 w 189841"/>
                <a:gd name="connsiteY165" fmla="*/ 126934 h 175170"/>
                <a:gd name="connsiteX166" fmla="*/ 139207 w 189841"/>
                <a:gd name="connsiteY166" fmla="*/ 125943 h 175170"/>
                <a:gd name="connsiteX167" fmla="*/ 112100 w 189841"/>
                <a:gd name="connsiteY167" fmla="*/ 122454 h 175170"/>
                <a:gd name="connsiteX168" fmla="*/ 113141 w 189841"/>
                <a:gd name="connsiteY168" fmla="*/ 124351 h 175170"/>
                <a:gd name="connsiteX169" fmla="*/ 112206 w 189841"/>
                <a:gd name="connsiteY169" fmla="*/ 125057 h 175170"/>
                <a:gd name="connsiteX170" fmla="*/ 111802 w 189841"/>
                <a:gd name="connsiteY170" fmla="*/ 125168 h 175170"/>
                <a:gd name="connsiteX171" fmla="*/ 111224 w 189841"/>
                <a:gd name="connsiteY171" fmla="*/ 124096 h 175170"/>
                <a:gd name="connsiteX172" fmla="*/ 111103 w 189841"/>
                <a:gd name="connsiteY172" fmla="*/ 123096 h 175170"/>
                <a:gd name="connsiteX173" fmla="*/ 111334 w 189841"/>
                <a:gd name="connsiteY173" fmla="*/ 122510 h 175170"/>
                <a:gd name="connsiteX174" fmla="*/ 160140 w 189841"/>
                <a:gd name="connsiteY174" fmla="*/ 120840 h 175170"/>
                <a:gd name="connsiteX175" fmla="*/ 161864 w 189841"/>
                <a:gd name="connsiteY175" fmla="*/ 121735 h 175170"/>
                <a:gd name="connsiteX176" fmla="*/ 162956 w 189841"/>
                <a:gd name="connsiteY176" fmla="*/ 122814 h 175170"/>
                <a:gd name="connsiteX177" fmla="*/ 163489 w 189841"/>
                <a:gd name="connsiteY177" fmla="*/ 123020 h 175170"/>
                <a:gd name="connsiteX178" fmla="*/ 163366 w 189841"/>
                <a:gd name="connsiteY178" fmla="*/ 123671 h 175170"/>
                <a:gd name="connsiteX179" fmla="*/ 163038 w 189841"/>
                <a:gd name="connsiteY179" fmla="*/ 124102 h 175170"/>
                <a:gd name="connsiteX180" fmla="*/ 160831 w 189841"/>
                <a:gd name="connsiteY180" fmla="*/ 124453 h 175170"/>
                <a:gd name="connsiteX181" fmla="*/ 161224 w 189841"/>
                <a:gd name="connsiteY181" fmla="*/ 122434 h 175170"/>
                <a:gd name="connsiteX182" fmla="*/ 123575 w 189841"/>
                <a:gd name="connsiteY182" fmla="*/ 119280 h 175170"/>
                <a:gd name="connsiteX183" fmla="*/ 124465 w 189841"/>
                <a:gd name="connsiteY183" fmla="*/ 119553 h 175170"/>
                <a:gd name="connsiteX184" fmla="*/ 124381 w 189841"/>
                <a:gd name="connsiteY184" fmla="*/ 120919 h 175170"/>
                <a:gd name="connsiteX185" fmla="*/ 124545 w 189841"/>
                <a:gd name="connsiteY185" fmla="*/ 121320 h 175170"/>
                <a:gd name="connsiteX186" fmla="*/ 122787 w 189841"/>
                <a:gd name="connsiteY186" fmla="*/ 123281 h 175170"/>
                <a:gd name="connsiteX187" fmla="*/ 121325 w 189841"/>
                <a:gd name="connsiteY187" fmla="*/ 123069 h 175170"/>
                <a:gd name="connsiteX188" fmla="*/ 120710 w 189841"/>
                <a:gd name="connsiteY188" fmla="*/ 122171 h 175170"/>
                <a:gd name="connsiteX189" fmla="*/ 121617 w 189841"/>
                <a:gd name="connsiteY189" fmla="*/ 120327 h 175170"/>
                <a:gd name="connsiteX190" fmla="*/ 129993 w 189841"/>
                <a:gd name="connsiteY190" fmla="*/ 118062 h 175170"/>
                <a:gd name="connsiteX191" fmla="*/ 130857 w 189841"/>
                <a:gd name="connsiteY191" fmla="*/ 118349 h 175170"/>
                <a:gd name="connsiteX192" fmla="*/ 131377 w 189841"/>
                <a:gd name="connsiteY192" fmla="*/ 119179 h 175170"/>
                <a:gd name="connsiteX193" fmla="*/ 131297 w 189841"/>
                <a:gd name="connsiteY193" fmla="*/ 122060 h 175170"/>
                <a:gd name="connsiteX194" fmla="*/ 130449 w 189841"/>
                <a:gd name="connsiteY194" fmla="*/ 123885 h 175170"/>
                <a:gd name="connsiteX195" fmla="*/ 128477 w 189841"/>
                <a:gd name="connsiteY195" fmla="*/ 124848 h 175170"/>
                <a:gd name="connsiteX196" fmla="*/ 127132 w 189841"/>
                <a:gd name="connsiteY196" fmla="*/ 123458 h 175170"/>
                <a:gd name="connsiteX197" fmla="*/ 126380 w 189841"/>
                <a:gd name="connsiteY197" fmla="*/ 121269 h 175170"/>
                <a:gd name="connsiteX198" fmla="*/ 106963 w 189841"/>
                <a:gd name="connsiteY198" fmla="*/ 117710 h 175170"/>
                <a:gd name="connsiteX199" fmla="*/ 107965 w 189841"/>
                <a:gd name="connsiteY199" fmla="*/ 118165 h 175170"/>
                <a:gd name="connsiteX200" fmla="*/ 108116 w 189841"/>
                <a:gd name="connsiteY200" fmla="*/ 118793 h 175170"/>
                <a:gd name="connsiteX201" fmla="*/ 107842 w 189841"/>
                <a:gd name="connsiteY201" fmla="*/ 119877 h 175170"/>
                <a:gd name="connsiteX202" fmla="*/ 107024 w 189841"/>
                <a:gd name="connsiteY202" fmla="*/ 120260 h 175170"/>
                <a:gd name="connsiteX203" fmla="*/ 105659 w 189841"/>
                <a:gd name="connsiteY203" fmla="*/ 119702 h 175170"/>
                <a:gd name="connsiteX204" fmla="*/ 106022 w 189841"/>
                <a:gd name="connsiteY204" fmla="*/ 118304 h 175170"/>
                <a:gd name="connsiteX205" fmla="*/ 105802 w 189841"/>
                <a:gd name="connsiteY205" fmla="*/ 110953 h 175170"/>
                <a:gd name="connsiteX206" fmla="*/ 106184 w 189841"/>
                <a:gd name="connsiteY206" fmla="*/ 111607 h 175170"/>
                <a:gd name="connsiteX207" fmla="*/ 106912 w 189841"/>
                <a:gd name="connsiteY207" fmla="*/ 112667 h 175170"/>
                <a:gd name="connsiteX208" fmla="*/ 105901 w 189841"/>
                <a:gd name="connsiteY208" fmla="*/ 114289 h 175170"/>
                <a:gd name="connsiteX209" fmla="*/ 104644 w 189841"/>
                <a:gd name="connsiteY209" fmla="*/ 115062 h 175170"/>
                <a:gd name="connsiteX210" fmla="*/ 105061 w 189841"/>
                <a:gd name="connsiteY210" fmla="*/ 113294 h 175170"/>
                <a:gd name="connsiteX211" fmla="*/ 104441 w 189841"/>
                <a:gd name="connsiteY211" fmla="*/ 112371 h 175170"/>
                <a:gd name="connsiteX212" fmla="*/ 104996 w 189841"/>
                <a:gd name="connsiteY212" fmla="*/ 111586 h 175170"/>
                <a:gd name="connsiteX213" fmla="*/ 116311 w 189841"/>
                <a:gd name="connsiteY213" fmla="*/ 110092 h 175170"/>
                <a:gd name="connsiteX214" fmla="*/ 117114 w 189841"/>
                <a:gd name="connsiteY214" fmla="*/ 110485 h 175170"/>
                <a:gd name="connsiteX215" fmla="*/ 117004 w 189841"/>
                <a:gd name="connsiteY215" fmla="*/ 113135 h 175170"/>
                <a:gd name="connsiteX216" fmla="*/ 116421 w 189841"/>
                <a:gd name="connsiteY216" fmla="*/ 113112 h 175170"/>
                <a:gd name="connsiteX217" fmla="*/ 116082 w 189841"/>
                <a:gd name="connsiteY217" fmla="*/ 112703 h 175170"/>
                <a:gd name="connsiteX218" fmla="*/ 116063 w 189841"/>
                <a:gd name="connsiteY218" fmla="*/ 111689 h 175170"/>
                <a:gd name="connsiteX219" fmla="*/ 126076 w 189841"/>
                <a:gd name="connsiteY219" fmla="*/ 110085 h 175170"/>
                <a:gd name="connsiteX220" fmla="*/ 128615 w 189841"/>
                <a:gd name="connsiteY220" fmla="*/ 111057 h 175170"/>
                <a:gd name="connsiteX221" fmla="*/ 128492 w 189841"/>
                <a:gd name="connsiteY221" fmla="*/ 111670 h 175170"/>
                <a:gd name="connsiteX222" fmla="*/ 127283 w 189841"/>
                <a:gd name="connsiteY222" fmla="*/ 112383 h 175170"/>
                <a:gd name="connsiteX223" fmla="*/ 125169 w 189841"/>
                <a:gd name="connsiteY223" fmla="*/ 112540 h 175170"/>
                <a:gd name="connsiteX224" fmla="*/ 125292 w 189841"/>
                <a:gd name="connsiteY224" fmla="*/ 110592 h 175170"/>
                <a:gd name="connsiteX225" fmla="*/ 148259 w 189841"/>
                <a:gd name="connsiteY225" fmla="*/ 105865 h 175170"/>
                <a:gd name="connsiteX226" fmla="*/ 147054 w 189841"/>
                <a:gd name="connsiteY226" fmla="*/ 107265 h 175170"/>
                <a:gd name="connsiteX227" fmla="*/ 145020 w 189841"/>
                <a:gd name="connsiteY227" fmla="*/ 108570 h 175170"/>
                <a:gd name="connsiteX228" fmla="*/ 141138 w 189841"/>
                <a:gd name="connsiteY228" fmla="*/ 109568 h 175170"/>
                <a:gd name="connsiteX229" fmla="*/ 140101 w 189841"/>
                <a:gd name="connsiteY229" fmla="*/ 109666 h 175170"/>
                <a:gd name="connsiteX230" fmla="*/ 140418 w 189841"/>
                <a:gd name="connsiteY230" fmla="*/ 108645 h 175170"/>
                <a:gd name="connsiteX231" fmla="*/ 142399 w 189841"/>
                <a:gd name="connsiteY231" fmla="*/ 106873 h 175170"/>
                <a:gd name="connsiteX232" fmla="*/ 145167 w 189841"/>
                <a:gd name="connsiteY232" fmla="*/ 106786 h 175170"/>
                <a:gd name="connsiteX233" fmla="*/ 147689 w 189841"/>
                <a:gd name="connsiteY233" fmla="*/ 105898 h 175170"/>
                <a:gd name="connsiteX234" fmla="*/ 119248 w 189841"/>
                <a:gd name="connsiteY234" fmla="*/ 105703 h 175170"/>
                <a:gd name="connsiteX235" fmla="*/ 120408 w 189841"/>
                <a:gd name="connsiteY235" fmla="*/ 106538 h 175170"/>
                <a:gd name="connsiteX236" fmla="*/ 123362 w 189841"/>
                <a:gd name="connsiteY236" fmla="*/ 106981 h 175170"/>
                <a:gd name="connsiteX237" fmla="*/ 124035 w 189841"/>
                <a:gd name="connsiteY237" fmla="*/ 107775 h 175170"/>
                <a:gd name="connsiteX238" fmla="*/ 123215 w 189841"/>
                <a:gd name="connsiteY238" fmla="*/ 109423 h 175170"/>
                <a:gd name="connsiteX239" fmla="*/ 121835 w 189841"/>
                <a:gd name="connsiteY239" fmla="*/ 109169 h 175170"/>
                <a:gd name="connsiteX240" fmla="*/ 119527 w 189841"/>
                <a:gd name="connsiteY240" fmla="*/ 107396 h 175170"/>
                <a:gd name="connsiteX241" fmla="*/ 118738 w 189841"/>
                <a:gd name="connsiteY241" fmla="*/ 106591 h 175170"/>
                <a:gd name="connsiteX242" fmla="*/ 118300 w 189841"/>
                <a:gd name="connsiteY242" fmla="*/ 105799 h 175170"/>
                <a:gd name="connsiteX243" fmla="*/ 104648 w 189841"/>
                <a:gd name="connsiteY243" fmla="*/ 105651 h 175170"/>
                <a:gd name="connsiteX244" fmla="*/ 105128 w 189841"/>
                <a:gd name="connsiteY244" fmla="*/ 106512 h 175170"/>
                <a:gd name="connsiteX245" fmla="*/ 104136 w 189841"/>
                <a:gd name="connsiteY245" fmla="*/ 108356 h 175170"/>
                <a:gd name="connsiteX246" fmla="*/ 102655 w 189841"/>
                <a:gd name="connsiteY246" fmla="*/ 109597 h 175170"/>
                <a:gd name="connsiteX247" fmla="*/ 102401 w 189841"/>
                <a:gd name="connsiteY247" fmla="*/ 107736 h 175170"/>
                <a:gd name="connsiteX248" fmla="*/ 103350 w 189841"/>
                <a:gd name="connsiteY248" fmla="*/ 105778 h 175170"/>
                <a:gd name="connsiteX249" fmla="*/ 158719 w 189841"/>
                <a:gd name="connsiteY249" fmla="*/ 102358 h 175170"/>
                <a:gd name="connsiteX250" fmla="*/ 161438 w 189841"/>
                <a:gd name="connsiteY250" fmla="*/ 103201 h 175170"/>
                <a:gd name="connsiteX251" fmla="*/ 162194 w 189841"/>
                <a:gd name="connsiteY251" fmla="*/ 103111 h 175170"/>
                <a:gd name="connsiteX252" fmla="*/ 163479 w 189841"/>
                <a:gd name="connsiteY252" fmla="*/ 103417 h 175170"/>
                <a:gd name="connsiteX253" fmla="*/ 163820 w 189841"/>
                <a:gd name="connsiteY253" fmla="*/ 104971 h 175170"/>
                <a:gd name="connsiteX254" fmla="*/ 162118 w 189841"/>
                <a:gd name="connsiteY254" fmla="*/ 105196 h 175170"/>
                <a:gd name="connsiteX255" fmla="*/ 159173 w 189841"/>
                <a:gd name="connsiteY255" fmla="*/ 106622 h 175170"/>
                <a:gd name="connsiteX256" fmla="*/ 157920 w 189841"/>
                <a:gd name="connsiteY256" fmla="*/ 106309 h 175170"/>
                <a:gd name="connsiteX257" fmla="*/ 156422 w 189841"/>
                <a:gd name="connsiteY257" fmla="*/ 105069 h 175170"/>
                <a:gd name="connsiteX258" fmla="*/ 154042 w 189841"/>
                <a:gd name="connsiteY258" fmla="*/ 104940 h 175170"/>
                <a:gd name="connsiteX259" fmla="*/ 153338 w 189841"/>
                <a:gd name="connsiteY259" fmla="*/ 104602 h 175170"/>
                <a:gd name="connsiteX260" fmla="*/ 154612 w 189841"/>
                <a:gd name="connsiteY260" fmla="*/ 103140 h 175170"/>
                <a:gd name="connsiteX261" fmla="*/ 156927 w 189841"/>
                <a:gd name="connsiteY261" fmla="*/ 102400 h 175170"/>
                <a:gd name="connsiteX262" fmla="*/ 23108 w 189841"/>
                <a:gd name="connsiteY262" fmla="*/ 99333 h 175170"/>
                <a:gd name="connsiteX263" fmla="*/ 24593 w 189841"/>
                <a:gd name="connsiteY263" fmla="*/ 101294 h 175170"/>
                <a:gd name="connsiteX264" fmla="*/ 26388 w 189841"/>
                <a:gd name="connsiteY264" fmla="*/ 101608 h 175170"/>
                <a:gd name="connsiteX265" fmla="*/ 27463 w 189841"/>
                <a:gd name="connsiteY265" fmla="*/ 102513 h 175170"/>
                <a:gd name="connsiteX266" fmla="*/ 29795 w 189841"/>
                <a:gd name="connsiteY266" fmla="*/ 105004 h 175170"/>
                <a:gd name="connsiteX267" fmla="*/ 27919 w 189841"/>
                <a:gd name="connsiteY267" fmla="*/ 104387 h 175170"/>
                <a:gd name="connsiteX268" fmla="*/ 25917 w 189841"/>
                <a:gd name="connsiteY268" fmla="*/ 106110 h 175170"/>
                <a:gd name="connsiteX269" fmla="*/ 23380 w 189841"/>
                <a:gd name="connsiteY269" fmla="*/ 104097 h 175170"/>
                <a:gd name="connsiteX270" fmla="*/ 21860 w 189841"/>
                <a:gd name="connsiteY270" fmla="*/ 102058 h 175170"/>
                <a:gd name="connsiteX271" fmla="*/ 21516 w 189841"/>
                <a:gd name="connsiteY271" fmla="*/ 101241 h 175170"/>
                <a:gd name="connsiteX272" fmla="*/ 113744 w 189841"/>
                <a:gd name="connsiteY272" fmla="*/ 97780 h 175170"/>
                <a:gd name="connsiteX273" fmla="*/ 115173 w 189841"/>
                <a:gd name="connsiteY273" fmla="*/ 99739 h 175170"/>
                <a:gd name="connsiteX274" fmla="*/ 117412 w 189841"/>
                <a:gd name="connsiteY274" fmla="*/ 99967 h 175170"/>
                <a:gd name="connsiteX275" fmla="*/ 117238 w 189841"/>
                <a:gd name="connsiteY275" fmla="*/ 101174 h 175170"/>
                <a:gd name="connsiteX276" fmla="*/ 117946 w 189841"/>
                <a:gd name="connsiteY276" fmla="*/ 102729 h 175170"/>
                <a:gd name="connsiteX277" fmla="*/ 118194 w 189841"/>
                <a:gd name="connsiteY277" fmla="*/ 103684 h 175170"/>
                <a:gd name="connsiteX278" fmla="*/ 117542 w 189841"/>
                <a:gd name="connsiteY278" fmla="*/ 105403 h 175170"/>
                <a:gd name="connsiteX279" fmla="*/ 115814 w 189841"/>
                <a:gd name="connsiteY279" fmla="*/ 103405 h 175170"/>
                <a:gd name="connsiteX280" fmla="*/ 113923 w 189841"/>
                <a:gd name="connsiteY280" fmla="*/ 102035 h 175170"/>
                <a:gd name="connsiteX281" fmla="*/ 113215 w 189841"/>
                <a:gd name="connsiteY281" fmla="*/ 100840 h 175170"/>
                <a:gd name="connsiteX282" fmla="*/ 112062 w 189841"/>
                <a:gd name="connsiteY282" fmla="*/ 100118 h 175170"/>
                <a:gd name="connsiteX283" fmla="*/ 111748 w 189841"/>
                <a:gd name="connsiteY283" fmla="*/ 98509 h 175170"/>
                <a:gd name="connsiteX284" fmla="*/ 113146 w 189841"/>
                <a:gd name="connsiteY284" fmla="*/ 97847 h 175170"/>
                <a:gd name="connsiteX285" fmla="*/ 84849 w 189841"/>
                <a:gd name="connsiteY285" fmla="*/ 97755 h 175170"/>
                <a:gd name="connsiteX286" fmla="*/ 85553 w 189841"/>
                <a:gd name="connsiteY286" fmla="*/ 97885 h 175170"/>
                <a:gd name="connsiteX287" fmla="*/ 85981 w 189841"/>
                <a:gd name="connsiteY287" fmla="*/ 98290 h 175170"/>
                <a:gd name="connsiteX288" fmla="*/ 86337 w 189841"/>
                <a:gd name="connsiteY288" fmla="*/ 99426 h 175170"/>
                <a:gd name="connsiteX289" fmla="*/ 85462 w 189841"/>
                <a:gd name="connsiteY289" fmla="*/ 100060 h 175170"/>
                <a:gd name="connsiteX290" fmla="*/ 84475 w 189841"/>
                <a:gd name="connsiteY290" fmla="*/ 100028 h 175170"/>
                <a:gd name="connsiteX291" fmla="*/ 83778 w 189841"/>
                <a:gd name="connsiteY291" fmla="*/ 99795 h 175170"/>
                <a:gd name="connsiteX292" fmla="*/ 83426 w 189841"/>
                <a:gd name="connsiteY292" fmla="*/ 99289 h 175170"/>
                <a:gd name="connsiteX293" fmla="*/ 83862 w 189841"/>
                <a:gd name="connsiteY293" fmla="*/ 99047 h 175170"/>
                <a:gd name="connsiteX294" fmla="*/ 84374 w 189841"/>
                <a:gd name="connsiteY294" fmla="*/ 98030 h 175170"/>
                <a:gd name="connsiteX295" fmla="*/ 20270 w 189841"/>
                <a:gd name="connsiteY295" fmla="*/ 85327 h 175170"/>
                <a:gd name="connsiteX296" fmla="*/ 21357 w 189841"/>
                <a:gd name="connsiteY296" fmla="*/ 87684 h 175170"/>
                <a:gd name="connsiteX297" fmla="*/ 21631 w 189841"/>
                <a:gd name="connsiteY297" fmla="*/ 90652 h 175170"/>
                <a:gd name="connsiteX298" fmla="*/ 23190 w 189841"/>
                <a:gd name="connsiteY298" fmla="*/ 91209 h 175170"/>
                <a:gd name="connsiteX299" fmla="*/ 25261 w 189841"/>
                <a:gd name="connsiteY299" fmla="*/ 93882 h 175170"/>
                <a:gd name="connsiteX300" fmla="*/ 25082 w 189841"/>
                <a:gd name="connsiteY300" fmla="*/ 95249 h 175170"/>
                <a:gd name="connsiteX301" fmla="*/ 24652 w 189841"/>
                <a:gd name="connsiteY301" fmla="*/ 95717 h 175170"/>
                <a:gd name="connsiteX302" fmla="*/ 21221 w 189841"/>
                <a:gd name="connsiteY302" fmla="*/ 94456 h 175170"/>
                <a:gd name="connsiteX303" fmla="*/ 20398 w 189841"/>
                <a:gd name="connsiteY303" fmla="*/ 95022 h 175170"/>
                <a:gd name="connsiteX304" fmla="*/ 19394 w 189841"/>
                <a:gd name="connsiteY304" fmla="*/ 94792 h 175170"/>
                <a:gd name="connsiteX305" fmla="*/ 18774 w 189841"/>
                <a:gd name="connsiteY305" fmla="*/ 93316 h 175170"/>
                <a:gd name="connsiteX306" fmla="*/ 18845 w 189841"/>
                <a:gd name="connsiteY306" fmla="*/ 92797 h 175170"/>
                <a:gd name="connsiteX307" fmla="*/ 18284 w 189841"/>
                <a:gd name="connsiteY307" fmla="*/ 91913 h 175170"/>
                <a:gd name="connsiteX308" fmla="*/ 17815 w 189841"/>
                <a:gd name="connsiteY308" fmla="*/ 91518 h 175170"/>
                <a:gd name="connsiteX309" fmla="*/ 16464 w 189841"/>
                <a:gd name="connsiteY309" fmla="*/ 92692 h 175170"/>
                <a:gd name="connsiteX310" fmla="*/ 15612 w 189841"/>
                <a:gd name="connsiteY310" fmla="*/ 92912 h 175170"/>
                <a:gd name="connsiteX311" fmla="*/ 15606 w 189841"/>
                <a:gd name="connsiteY311" fmla="*/ 91837 h 175170"/>
                <a:gd name="connsiteX312" fmla="*/ 16854 w 189841"/>
                <a:gd name="connsiteY312" fmla="*/ 88881 h 175170"/>
                <a:gd name="connsiteX313" fmla="*/ 17437 w 189841"/>
                <a:gd name="connsiteY313" fmla="*/ 88382 h 175170"/>
                <a:gd name="connsiteX314" fmla="*/ 18463 w 189841"/>
                <a:gd name="connsiteY314" fmla="*/ 89358 h 175170"/>
                <a:gd name="connsiteX315" fmla="*/ 19307 w 189841"/>
                <a:gd name="connsiteY315" fmla="*/ 88995 h 175170"/>
                <a:gd name="connsiteX316" fmla="*/ 19942 w 189841"/>
                <a:gd name="connsiteY316" fmla="*/ 87396 h 175170"/>
                <a:gd name="connsiteX317" fmla="*/ 19985 w 189841"/>
                <a:gd name="connsiteY317" fmla="*/ 85801 h 175170"/>
                <a:gd name="connsiteX318" fmla="*/ 22184 w 189841"/>
                <a:gd name="connsiteY318" fmla="*/ 85094 h 175170"/>
                <a:gd name="connsiteX319" fmla="*/ 22739 w 189841"/>
                <a:gd name="connsiteY319" fmla="*/ 85292 h 175170"/>
                <a:gd name="connsiteX320" fmla="*/ 23324 w 189841"/>
                <a:gd name="connsiteY320" fmla="*/ 85933 h 175170"/>
                <a:gd name="connsiteX321" fmla="*/ 23319 w 189841"/>
                <a:gd name="connsiteY321" fmla="*/ 86588 h 175170"/>
                <a:gd name="connsiteX322" fmla="*/ 23553 w 189841"/>
                <a:gd name="connsiteY322" fmla="*/ 87290 h 175170"/>
                <a:gd name="connsiteX323" fmla="*/ 24162 w 189841"/>
                <a:gd name="connsiteY323" fmla="*/ 88136 h 175170"/>
                <a:gd name="connsiteX324" fmla="*/ 24593 w 189841"/>
                <a:gd name="connsiteY324" fmla="*/ 89070 h 175170"/>
                <a:gd name="connsiteX325" fmla="*/ 23501 w 189841"/>
                <a:gd name="connsiteY325" fmla="*/ 89348 h 175170"/>
                <a:gd name="connsiteX326" fmla="*/ 22110 w 189841"/>
                <a:gd name="connsiteY326" fmla="*/ 86887 h 175170"/>
                <a:gd name="connsiteX327" fmla="*/ 21607 w 189841"/>
                <a:gd name="connsiteY327" fmla="*/ 85189 h 175170"/>
                <a:gd name="connsiteX328" fmla="*/ 140766 w 189841"/>
                <a:gd name="connsiteY328" fmla="*/ 82063 h 175170"/>
                <a:gd name="connsiteX329" fmla="*/ 142932 w 189841"/>
                <a:gd name="connsiteY329" fmla="*/ 83533 h 175170"/>
                <a:gd name="connsiteX330" fmla="*/ 144036 w 189841"/>
                <a:gd name="connsiteY330" fmla="*/ 83634 h 175170"/>
                <a:gd name="connsiteX331" fmla="*/ 143612 w 189841"/>
                <a:gd name="connsiteY331" fmla="*/ 85038 h 175170"/>
                <a:gd name="connsiteX332" fmla="*/ 143798 w 189841"/>
                <a:gd name="connsiteY332" fmla="*/ 85494 h 175170"/>
                <a:gd name="connsiteX333" fmla="*/ 143962 w 189841"/>
                <a:gd name="connsiteY333" fmla="*/ 89751 h 175170"/>
                <a:gd name="connsiteX334" fmla="*/ 142939 w 189841"/>
                <a:gd name="connsiteY334" fmla="*/ 90350 h 175170"/>
                <a:gd name="connsiteX335" fmla="*/ 142770 w 189841"/>
                <a:gd name="connsiteY335" fmla="*/ 91518 h 175170"/>
                <a:gd name="connsiteX336" fmla="*/ 142569 w 189841"/>
                <a:gd name="connsiteY336" fmla="*/ 91932 h 175170"/>
                <a:gd name="connsiteX337" fmla="*/ 140458 w 189841"/>
                <a:gd name="connsiteY337" fmla="*/ 93383 h 175170"/>
                <a:gd name="connsiteX338" fmla="*/ 138100 w 189841"/>
                <a:gd name="connsiteY338" fmla="*/ 91283 h 175170"/>
                <a:gd name="connsiteX339" fmla="*/ 137711 w 189841"/>
                <a:gd name="connsiteY339" fmla="*/ 90607 h 175170"/>
                <a:gd name="connsiteX340" fmla="*/ 139442 w 189841"/>
                <a:gd name="connsiteY340" fmla="*/ 89759 h 175170"/>
                <a:gd name="connsiteX341" fmla="*/ 140300 w 189841"/>
                <a:gd name="connsiteY341" fmla="*/ 88451 h 175170"/>
                <a:gd name="connsiteX342" fmla="*/ 139604 w 189841"/>
                <a:gd name="connsiteY342" fmla="*/ 86844 h 175170"/>
                <a:gd name="connsiteX343" fmla="*/ 137201 w 189841"/>
                <a:gd name="connsiteY343" fmla="*/ 84466 h 175170"/>
                <a:gd name="connsiteX344" fmla="*/ 137087 w 189841"/>
                <a:gd name="connsiteY344" fmla="*/ 82776 h 175170"/>
                <a:gd name="connsiteX345" fmla="*/ 23166 w 189841"/>
                <a:gd name="connsiteY345" fmla="*/ 75808 h 175170"/>
                <a:gd name="connsiteX346" fmla="*/ 23730 w 189841"/>
                <a:gd name="connsiteY346" fmla="*/ 76971 h 175170"/>
                <a:gd name="connsiteX347" fmla="*/ 23624 w 189841"/>
                <a:gd name="connsiteY347" fmla="*/ 81119 h 175170"/>
                <a:gd name="connsiteX348" fmla="*/ 23002 w 189841"/>
                <a:gd name="connsiteY348" fmla="*/ 81883 h 175170"/>
                <a:gd name="connsiteX349" fmla="*/ 22143 w 189841"/>
                <a:gd name="connsiteY349" fmla="*/ 82082 h 175170"/>
                <a:gd name="connsiteX350" fmla="*/ 21402 w 189841"/>
                <a:gd name="connsiteY350" fmla="*/ 81946 h 175170"/>
                <a:gd name="connsiteX351" fmla="*/ 20730 w 189841"/>
                <a:gd name="connsiteY351" fmla="*/ 82063 h 175170"/>
                <a:gd name="connsiteX352" fmla="*/ 20083 w 189841"/>
                <a:gd name="connsiteY352" fmla="*/ 82556 h 175170"/>
                <a:gd name="connsiteX353" fmla="*/ 20154 w 189841"/>
                <a:gd name="connsiteY353" fmla="*/ 80513 h 175170"/>
                <a:gd name="connsiteX354" fmla="*/ 20918 w 189841"/>
                <a:gd name="connsiteY354" fmla="*/ 77978 h 175170"/>
                <a:gd name="connsiteX355" fmla="*/ 21851 w 189841"/>
                <a:gd name="connsiteY355" fmla="*/ 76496 h 175170"/>
                <a:gd name="connsiteX356" fmla="*/ 107004 w 189841"/>
                <a:gd name="connsiteY356" fmla="*/ 72294 h 175170"/>
                <a:gd name="connsiteX357" fmla="*/ 108738 w 189841"/>
                <a:gd name="connsiteY357" fmla="*/ 73277 h 175170"/>
                <a:gd name="connsiteX358" fmla="*/ 109118 w 189841"/>
                <a:gd name="connsiteY358" fmla="*/ 74914 h 175170"/>
                <a:gd name="connsiteX359" fmla="*/ 111185 w 189841"/>
                <a:gd name="connsiteY359" fmla="*/ 76712 h 175170"/>
                <a:gd name="connsiteX360" fmla="*/ 108848 w 189841"/>
                <a:gd name="connsiteY360" fmla="*/ 77341 h 175170"/>
                <a:gd name="connsiteX361" fmla="*/ 108228 w 189841"/>
                <a:gd name="connsiteY361" fmla="*/ 77242 h 175170"/>
                <a:gd name="connsiteX362" fmla="*/ 108749 w 189841"/>
                <a:gd name="connsiteY362" fmla="*/ 76448 h 175170"/>
                <a:gd name="connsiteX363" fmla="*/ 108790 w 189841"/>
                <a:gd name="connsiteY363" fmla="*/ 76114 h 175170"/>
                <a:gd name="connsiteX364" fmla="*/ 106460 w 189841"/>
                <a:gd name="connsiteY364" fmla="*/ 74662 h 175170"/>
                <a:gd name="connsiteX365" fmla="*/ 106734 w 189841"/>
                <a:gd name="connsiteY365" fmla="*/ 72775 h 175170"/>
                <a:gd name="connsiteX366" fmla="*/ 81068 w 189841"/>
                <a:gd name="connsiteY366" fmla="*/ 70881 h 175170"/>
                <a:gd name="connsiteX367" fmla="*/ 83340 w 189841"/>
                <a:gd name="connsiteY367" fmla="*/ 72853 h 175170"/>
                <a:gd name="connsiteX368" fmla="*/ 84590 w 189841"/>
                <a:gd name="connsiteY368" fmla="*/ 75656 h 175170"/>
                <a:gd name="connsiteX369" fmla="*/ 85762 w 189841"/>
                <a:gd name="connsiteY369" fmla="*/ 76602 h 175170"/>
                <a:gd name="connsiteX370" fmla="*/ 88222 w 189841"/>
                <a:gd name="connsiteY370" fmla="*/ 77718 h 175170"/>
                <a:gd name="connsiteX371" fmla="*/ 89377 w 189841"/>
                <a:gd name="connsiteY371" fmla="*/ 77860 h 175170"/>
                <a:gd name="connsiteX372" fmla="*/ 93573 w 189841"/>
                <a:gd name="connsiteY372" fmla="*/ 79875 h 175170"/>
                <a:gd name="connsiteX373" fmla="*/ 98455 w 189841"/>
                <a:gd name="connsiteY373" fmla="*/ 80277 h 175170"/>
                <a:gd name="connsiteX374" fmla="*/ 99086 w 189841"/>
                <a:gd name="connsiteY374" fmla="*/ 80857 h 175170"/>
                <a:gd name="connsiteX375" fmla="*/ 99686 w 189841"/>
                <a:gd name="connsiteY375" fmla="*/ 82409 h 175170"/>
                <a:gd name="connsiteX376" fmla="*/ 100682 w 189841"/>
                <a:gd name="connsiteY376" fmla="*/ 83626 h 175170"/>
                <a:gd name="connsiteX377" fmla="*/ 100932 w 189841"/>
                <a:gd name="connsiteY377" fmla="*/ 84573 h 175170"/>
                <a:gd name="connsiteX378" fmla="*/ 100412 w 189841"/>
                <a:gd name="connsiteY378" fmla="*/ 85623 h 175170"/>
                <a:gd name="connsiteX379" fmla="*/ 101133 w 189841"/>
                <a:gd name="connsiteY379" fmla="*/ 88834 h 175170"/>
                <a:gd name="connsiteX380" fmla="*/ 102364 w 189841"/>
                <a:gd name="connsiteY380" fmla="*/ 91881 h 175170"/>
                <a:gd name="connsiteX381" fmla="*/ 104219 w 189841"/>
                <a:gd name="connsiteY381" fmla="*/ 93358 h 175170"/>
                <a:gd name="connsiteX382" fmla="*/ 106525 w 189841"/>
                <a:gd name="connsiteY382" fmla="*/ 93804 h 175170"/>
                <a:gd name="connsiteX383" fmla="*/ 108721 w 189841"/>
                <a:gd name="connsiteY383" fmla="*/ 93743 h 175170"/>
                <a:gd name="connsiteX384" fmla="*/ 109276 w 189841"/>
                <a:gd name="connsiteY384" fmla="*/ 94347 h 175170"/>
                <a:gd name="connsiteX385" fmla="*/ 109058 w 189841"/>
                <a:gd name="connsiteY385" fmla="*/ 97010 h 175170"/>
                <a:gd name="connsiteX386" fmla="*/ 108129 w 189841"/>
                <a:gd name="connsiteY386" fmla="*/ 98046 h 175170"/>
                <a:gd name="connsiteX387" fmla="*/ 107374 w 189841"/>
                <a:gd name="connsiteY387" fmla="*/ 98298 h 175170"/>
                <a:gd name="connsiteX388" fmla="*/ 106717 w 189841"/>
                <a:gd name="connsiteY388" fmla="*/ 98026 h 175170"/>
                <a:gd name="connsiteX389" fmla="*/ 106123 w 189841"/>
                <a:gd name="connsiteY389" fmla="*/ 97399 h 175170"/>
                <a:gd name="connsiteX390" fmla="*/ 105476 w 189841"/>
                <a:gd name="connsiteY390" fmla="*/ 97103 h 175170"/>
                <a:gd name="connsiteX391" fmla="*/ 104214 w 189841"/>
                <a:gd name="connsiteY391" fmla="*/ 97051 h 175170"/>
                <a:gd name="connsiteX392" fmla="*/ 103292 w 189841"/>
                <a:gd name="connsiteY392" fmla="*/ 95979 h 175170"/>
                <a:gd name="connsiteX393" fmla="*/ 100954 w 189841"/>
                <a:gd name="connsiteY393" fmla="*/ 94512 h 175170"/>
                <a:gd name="connsiteX394" fmla="*/ 100524 w 189841"/>
                <a:gd name="connsiteY394" fmla="*/ 93637 h 175170"/>
                <a:gd name="connsiteX395" fmla="*/ 100446 w 189841"/>
                <a:gd name="connsiteY395" fmla="*/ 92285 h 175170"/>
                <a:gd name="connsiteX396" fmla="*/ 99453 w 189841"/>
                <a:gd name="connsiteY396" fmla="*/ 91289 h 175170"/>
                <a:gd name="connsiteX397" fmla="*/ 98540 w 189841"/>
                <a:gd name="connsiteY397" fmla="*/ 89393 h 175170"/>
                <a:gd name="connsiteX398" fmla="*/ 97671 w 189841"/>
                <a:gd name="connsiteY398" fmla="*/ 88870 h 175170"/>
                <a:gd name="connsiteX399" fmla="*/ 97192 w 189841"/>
                <a:gd name="connsiteY399" fmla="*/ 87921 h 175170"/>
                <a:gd name="connsiteX400" fmla="*/ 97153 w 189841"/>
                <a:gd name="connsiteY400" fmla="*/ 87513 h 175170"/>
                <a:gd name="connsiteX401" fmla="*/ 93750 w 189841"/>
                <a:gd name="connsiteY401" fmla="*/ 87237 h 175170"/>
                <a:gd name="connsiteX402" fmla="*/ 90932 w 189841"/>
                <a:gd name="connsiteY402" fmla="*/ 87224 h 175170"/>
                <a:gd name="connsiteX403" fmla="*/ 88544 w 189841"/>
                <a:gd name="connsiteY403" fmla="*/ 86147 h 175170"/>
                <a:gd name="connsiteX404" fmla="*/ 87805 w 189841"/>
                <a:gd name="connsiteY404" fmla="*/ 83329 h 175170"/>
                <a:gd name="connsiteX405" fmla="*/ 86389 w 189841"/>
                <a:gd name="connsiteY405" fmla="*/ 82571 h 175170"/>
                <a:gd name="connsiteX406" fmla="*/ 85326 w 189841"/>
                <a:gd name="connsiteY406" fmla="*/ 81773 h 175170"/>
                <a:gd name="connsiteX407" fmla="*/ 84441 w 189841"/>
                <a:gd name="connsiteY407" fmla="*/ 80667 h 175170"/>
                <a:gd name="connsiteX408" fmla="*/ 82204 w 189841"/>
                <a:gd name="connsiteY408" fmla="*/ 78627 h 175170"/>
                <a:gd name="connsiteX409" fmla="*/ 79729 w 189841"/>
                <a:gd name="connsiteY409" fmla="*/ 76918 h 175170"/>
                <a:gd name="connsiteX410" fmla="*/ 77337 w 189841"/>
                <a:gd name="connsiteY410" fmla="*/ 75793 h 175170"/>
                <a:gd name="connsiteX411" fmla="*/ 74797 w 189841"/>
                <a:gd name="connsiteY411" fmla="*/ 75055 h 175170"/>
                <a:gd name="connsiteX412" fmla="*/ 72733 w 189841"/>
                <a:gd name="connsiteY412" fmla="*/ 75926 h 175170"/>
                <a:gd name="connsiteX413" fmla="*/ 71530 w 189841"/>
                <a:gd name="connsiteY413" fmla="*/ 75719 h 175170"/>
                <a:gd name="connsiteX414" fmla="*/ 71286 w 189841"/>
                <a:gd name="connsiteY414" fmla="*/ 75130 h 175170"/>
                <a:gd name="connsiteX415" fmla="*/ 73851 w 189841"/>
                <a:gd name="connsiteY415" fmla="*/ 73957 h 175170"/>
                <a:gd name="connsiteX416" fmla="*/ 77378 w 189841"/>
                <a:gd name="connsiteY416" fmla="*/ 71714 h 175170"/>
                <a:gd name="connsiteX417" fmla="*/ 79863 w 189841"/>
                <a:gd name="connsiteY417" fmla="*/ 70973 h 175170"/>
                <a:gd name="connsiteX418" fmla="*/ 87287 w 189841"/>
                <a:gd name="connsiteY418" fmla="*/ 66387 h 175170"/>
                <a:gd name="connsiteX419" fmla="*/ 91396 w 189841"/>
                <a:gd name="connsiteY419" fmla="*/ 68825 h 175170"/>
                <a:gd name="connsiteX420" fmla="*/ 90409 w 189841"/>
                <a:gd name="connsiteY420" fmla="*/ 69700 h 175170"/>
                <a:gd name="connsiteX421" fmla="*/ 88883 w 189841"/>
                <a:gd name="connsiteY421" fmla="*/ 69317 h 175170"/>
                <a:gd name="connsiteX422" fmla="*/ 95622 w 189841"/>
                <a:gd name="connsiteY422" fmla="*/ 64855 h 175170"/>
                <a:gd name="connsiteX423" fmla="*/ 94933 w 189841"/>
                <a:gd name="connsiteY423" fmla="*/ 66595 h 175170"/>
                <a:gd name="connsiteX424" fmla="*/ 93789 w 189841"/>
                <a:gd name="connsiteY424" fmla="*/ 67688 h 175170"/>
                <a:gd name="connsiteX425" fmla="*/ 92755 w 189841"/>
                <a:gd name="connsiteY425" fmla="*/ 67992 h 175170"/>
                <a:gd name="connsiteX426" fmla="*/ 93791 w 189841"/>
                <a:gd name="connsiteY426" fmla="*/ 65926 h 175170"/>
                <a:gd name="connsiteX427" fmla="*/ 148180 w 189841"/>
                <a:gd name="connsiteY427" fmla="*/ 61866 h 175170"/>
                <a:gd name="connsiteX428" fmla="*/ 149559 w 189841"/>
                <a:gd name="connsiteY428" fmla="*/ 63255 h 175170"/>
                <a:gd name="connsiteX429" fmla="*/ 149175 w 189841"/>
                <a:gd name="connsiteY429" fmla="*/ 64793 h 175170"/>
                <a:gd name="connsiteX430" fmla="*/ 152233 w 189841"/>
                <a:gd name="connsiteY430" fmla="*/ 67340 h 175170"/>
                <a:gd name="connsiteX431" fmla="*/ 153276 w 189841"/>
                <a:gd name="connsiteY431" fmla="*/ 68951 h 175170"/>
                <a:gd name="connsiteX432" fmla="*/ 153660 w 189841"/>
                <a:gd name="connsiteY432" fmla="*/ 70521 h 175170"/>
                <a:gd name="connsiteX433" fmla="*/ 153403 w 189841"/>
                <a:gd name="connsiteY433" fmla="*/ 70971 h 175170"/>
                <a:gd name="connsiteX434" fmla="*/ 152243 w 189841"/>
                <a:gd name="connsiteY434" fmla="*/ 70120 h 175170"/>
                <a:gd name="connsiteX435" fmla="*/ 151296 w 189841"/>
                <a:gd name="connsiteY435" fmla="*/ 69849 h 175170"/>
                <a:gd name="connsiteX436" fmla="*/ 151615 w 189841"/>
                <a:gd name="connsiteY436" fmla="*/ 70971 h 175170"/>
                <a:gd name="connsiteX437" fmla="*/ 152589 w 189841"/>
                <a:gd name="connsiteY437" fmla="*/ 71935 h 175170"/>
                <a:gd name="connsiteX438" fmla="*/ 150855 w 189841"/>
                <a:gd name="connsiteY438" fmla="*/ 72487 h 175170"/>
                <a:gd name="connsiteX439" fmla="*/ 149117 w 189841"/>
                <a:gd name="connsiteY439" fmla="*/ 72458 h 175170"/>
                <a:gd name="connsiteX440" fmla="*/ 144046 w 189841"/>
                <a:gd name="connsiteY440" fmla="*/ 71115 h 175170"/>
                <a:gd name="connsiteX441" fmla="*/ 142876 w 189841"/>
                <a:gd name="connsiteY441" fmla="*/ 69688 h 175170"/>
                <a:gd name="connsiteX442" fmla="*/ 145910 w 189841"/>
                <a:gd name="connsiteY442" fmla="*/ 67538 h 175170"/>
                <a:gd name="connsiteX443" fmla="*/ 146530 w 189841"/>
                <a:gd name="connsiteY443" fmla="*/ 66672 h 175170"/>
                <a:gd name="connsiteX444" fmla="*/ 144381 w 189841"/>
                <a:gd name="connsiteY444" fmla="*/ 66757 h 175170"/>
                <a:gd name="connsiteX445" fmla="*/ 142090 w 189841"/>
                <a:gd name="connsiteY445" fmla="*/ 69311 h 175170"/>
                <a:gd name="connsiteX446" fmla="*/ 138417 w 189841"/>
                <a:gd name="connsiteY446" fmla="*/ 68189 h 175170"/>
                <a:gd name="connsiteX447" fmla="*/ 137294 w 189841"/>
                <a:gd name="connsiteY447" fmla="*/ 67162 h 175170"/>
                <a:gd name="connsiteX448" fmla="*/ 137043 w 189841"/>
                <a:gd name="connsiteY448" fmla="*/ 66608 h 175170"/>
                <a:gd name="connsiteX449" fmla="*/ 138490 w 189841"/>
                <a:gd name="connsiteY449" fmla="*/ 64341 h 175170"/>
                <a:gd name="connsiteX450" fmla="*/ 141075 w 189841"/>
                <a:gd name="connsiteY450" fmla="*/ 64417 h 175170"/>
                <a:gd name="connsiteX451" fmla="*/ 142444 w 189841"/>
                <a:gd name="connsiteY451" fmla="*/ 63907 h 175170"/>
                <a:gd name="connsiteX452" fmla="*/ 144135 w 189841"/>
                <a:gd name="connsiteY452" fmla="*/ 63190 h 175170"/>
                <a:gd name="connsiteX453" fmla="*/ 144148 w 189841"/>
                <a:gd name="connsiteY453" fmla="*/ 62112 h 175170"/>
                <a:gd name="connsiteX454" fmla="*/ 4248 w 189841"/>
                <a:gd name="connsiteY454" fmla="*/ 50509 h 175170"/>
                <a:gd name="connsiteX455" fmla="*/ 5422 w 189841"/>
                <a:gd name="connsiteY455" fmla="*/ 51103 h 175170"/>
                <a:gd name="connsiteX456" fmla="*/ 6182 w 189841"/>
                <a:gd name="connsiteY456" fmla="*/ 51716 h 175170"/>
                <a:gd name="connsiteX457" fmla="*/ 6420 w 189841"/>
                <a:gd name="connsiteY457" fmla="*/ 52418 h 175170"/>
                <a:gd name="connsiteX458" fmla="*/ 4770 w 189841"/>
                <a:gd name="connsiteY458" fmla="*/ 53826 h 175170"/>
                <a:gd name="connsiteX459" fmla="*/ 4427 w 189841"/>
                <a:gd name="connsiteY459" fmla="*/ 54463 h 175170"/>
                <a:gd name="connsiteX460" fmla="*/ 5697 w 189841"/>
                <a:gd name="connsiteY460" fmla="*/ 55727 h 175170"/>
                <a:gd name="connsiteX461" fmla="*/ 5675 w 189841"/>
                <a:gd name="connsiteY461" fmla="*/ 56233 h 175170"/>
                <a:gd name="connsiteX462" fmla="*/ 6211 w 189841"/>
                <a:gd name="connsiteY462" fmla="*/ 58677 h 175170"/>
                <a:gd name="connsiteX463" fmla="*/ 6828 w 189841"/>
                <a:gd name="connsiteY463" fmla="*/ 59599 h 175170"/>
                <a:gd name="connsiteX464" fmla="*/ 8430 w 189841"/>
                <a:gd name="connsiteY464" fmla="*/ 60334 h 175170"/>
                <a:gd name="connsiteX465" fmla="*/ 9540 w 189841"/>
                <a:gd name="connsiteY465" fmla="*/ 60577 h 175170"/>
                <a:gd name="connsiteX466" fmla="*/ 10020 w 189841"/>
                <a:gd name="connsiteY466" fmla="*/ 62032 h 175170"/>
                <a:gd name="connsiteX467" fmla="*/ 7265 w 189841"/>
                <a:gd name="connsiteY467" fmla="*/ 61129 h 175170"/>
                <a:gd name="connsiteX468" fmla="*/ 5252 w 189841"/>
                <a:gd name="connsiteY468" fmla="*/ 59829 h 175170"/>
                <a:gd name="connsiteX469" fmla="*/ 3591 w 189841"/>
                <a:gd name="connsiteY469" fmla="*/ 56615 h 175170"/>
                <a:gd name="connsiteX470" fmla="*/ 54 w 189841"/>
                <a:gd name="connsiteY470" fmla="*/ 52953 h 175170"/>
                <a:gd name="connsiteX471" fmla="*/ 0 w 189841"/>
                <a:gd name="connsiteY471" fmla="*/ 51889 h 175170"/>
                <a:gd name="connsiteX472" fmla="*/ 1345 w 189841"/>
                <a:gd name="connsiteY472" fmla="*/ 51082 h 175170"/>
                <a:gd name="connsiteX473" fmla="*/ 128309 w 189841"/>
                <a:gd name="connsiteY473" fmla="*/ 44914 h 175170"/>
                <a:gd name="connsiteX474" fmla="*/ 128056 w 189841"/>
                <a:gd name="connsiteY474" fmla="*/ 46257 h 175170"/>
                <a:gd name="connsiteX475" fmla="*/ 127220 w 189841"/>
                <a:gd name="connsiteY475" fmla="*/ 47137 h 175170"/>
                <a:gd name="connsiteX476" fmla="*/ 126605 w 189841"/>
                <a:gd name="connsiteY476" fmla="*/ 48654 h 175170"/>
                <a:gd name="connsiteX477" fmla="*/ 126272 w 189841"/>
                <a:gd name="connsiteY477" fmla="*/ 50821 h 175170"/>
                <a:gd name="connsiteX478" fmla="*/ 124983 w 189841"/>
                <a:gd name="connsiteY478" fmla="*/ 50873 h 175170"/>
                <a:gd name="connsiteX479" fmla="*/ 124202 w 189841"/>
                <a:gd name="connsiteY479" fmla="*/ 50435 h 175170"/>
                <a:gd name="connsiteX480" fmla="*/ 123945 w 189841"/>
                <a:gd name="connsiteY480" fmla="*/ 49616 h 175170"/>
                <a:gd name="connsiteX481" fmla="*/ 123893 w 189841"/>
                <a:gd name="connsiteY481" fmla="*/ 48581 h 175170"/>
                <a:gd name="connsiteX482" fmla="*/ 123327 w 189841"/>
                <a:gd name="connsiteY482" fmla="*/ 48621 h 175170"/>
                <a:gd name="connsiteX483" fmla="*/ 122871 w 189841"/>
                <a:gd name="connsiteY483" fmla="*/ 49746 h 175170"/>
                <a:gd name="connsiteX484" fmla="*/ 122472 w 189841"/>
                <a:gd name="connsiteY484" fmla="*/ 50253 h 175170"/>
                <a:gd name="connsiteX485" fmla="*/ 121174 w 189841"/>
                <a:gd name="connsiteY485" fmla="*/ 50360 h 175170"/>
                <a:gd name="connsiteX486" fmla="*/ 119753 w 189841"/>
                <a:gd name="connsiteY486" fmla="*/ 49668 h 175170"/>
                <a:gd name="connsiteX487" fmla="*/ 119820 w 189841"/>
                <a:gd name="connsiteY487" fmla="*/ 48171 h 175170"/>
                <a:gd name="connsiteX488" fmla="*/ 119535 w 189841"/>
                <a:gd name="connsiteY488" fmla="*/ 46438 h 175170"/>
                <a:gd name="connsiteX489" fmla="*/ 119660 w 189841"/>
                <a:gd name="connsiteY489" fmla="*/ 45831 h 175170"/>
                <a:gd name="connsiteX490" fmla="*/ 123556 w 189841"/>
                <a:gd name="connsiteY490" fmla="*/ 45681 h 175170"/>
                <a:gd name="connsiteX491" fmla="*/ 124696 w 189841"/>
                <a:gd name="connsiteY491" fmla="*/ 46961 h 175170"/>
                <a:gd name="connsiteX492" fmla="*/ 126074 w 189841"/>
                <a:gd name="connsiteY492" fmla="*/ 46219 h 175170"/>
                <a:gd name="connsiteX493" fmla="*/ 126639 w 189841"/>
                <a:gd name="connsiteY493" fmla="*/ 45417 h 175170"/>
                <a:gd name="connsiteX494" fmla="*/ 130950 w 189841"/>
                <a:gd name="connsiteY494" fmla="*/ 32341 h 175170"/>
                <a:gd name="connsiteX495" fmla="*/ 132183 w 189841"/>
                <a:gd name="connsiteY495" fmla="*/ 32966 h 175170"/>
                <a:gd name="connsiteX496" fmla="*/ 133066 w 189841"/>
                <a:gd name="connsiteY496" fmla="*/ 33702 h 175170"/>
                <a:gd name="connsiteX497" fmla="*/ 133541 w 189841"/>
                <a:gd name="connsiteY497" fmla="*/ 34679 h 175170"/>
                <a:gd name="connsiteX498" fmla="*/ 131040 w 189841"/>
                <a:gd name="connsiteY498" fmla="*/ 35363 h 175170"/>
                <a:gd name="connsiteX499" fmla="*/ 128285 w 189841"/>
                <a:gd name="connsiteY499" fmla="*/ 33206 h 175170"/>
                <a:gd name="connsiteX500" fmla="*/ 110049 w 189841"/>
                <a:gd name="connsiteY500" fmla="*/ 25075 h 175170"/>
                <a:gd name="connsiteX501" fmla="*/ 112167 w 189841"/>
                <a:gd name="connsiteY501" fmla="*/ 25249 h 175170"/>
                <a:gd name="connsiteX502" fmla="*/ 113372 w 189841"/>
                <a:gd name="connsiteY502" fmla="*/ 26719 h 175170"/>
                <a:gd name="connsiteX503" fmla="*/ 113653 w 189841"/>
                <a:gd name="connsiteY503" fmla="*/ 27413 h 175170"/>
                <a:gd name="connsiteX504" fmla="*/ 113262 w 189841"/>
                <a:gd name="connsiteY504" fmla="*/ 28592 h 175170"/>
                <a:gd name="connsiteX505" fmla="*/ 113385 w 189841"/>
                <a:gd name="connsiteY505" fmla="*/ 29738 h 175170"/>
                <a:gd name="connsiteX506" fmla="*/ 110548 w 189841"/>
                <a:gd name="connsiteY506" fmla="*/ 30675 h 175170"/>
                <a:gd name="connsiteX507" fmla="*/ 107665 w 189841"/>
                <a:gd name="connsiteY507" fmla="*/ 28903 h 175170"/>
                <a:gd name="connsiteX508" fmla="*/ 107691 w 189841"/>
                <a:gd name="connsiteY508" fmla="*/ 27849 h 175170"/>
                <a:gd name="connsiteX509" fmla="*/ 109213 w 189841"/>
                <a:gd name="connsiteY509" fmla="*/ 25709 h 175170"/>
                <a:gd name="connsiteX510" fmla="*/ 144925 w 189841"/>
                <a:gd name="connsiteY510" fmla="*/ 0 h 175170"/>
                <a:gd name="connsiteX511" fmla="*/ 147585 w 189841"/>
                <a:gd name="connsiteY511" fmla="*/ 721 h 175170"/>
                <a:gd name="connsiteX512" fmla="*/ 149568 w 189841"/>
                <a:gd name="connsiteY512" fmla="*/ 1256 h 175170"/>
                <a:gd name="connsiteX513" fmla="*/ 150717 w 189841"/>
                <a:gd name="connsiteY513" fmla="*/ 2129 h 175170"/>
                <a:gd name="connsiteX514" fmla="*/ 151436 w 189841"/>
                <a:gd name="connsiteY514" fmla="*/ 2926 h 175170"/>
                <a:gd name="connsiteX515" fmla="*/ 152530 w 189841"/>
                <a:gd name="connsiteY515" fmla="*/ 3614 h 175170"/>
                <a:gd name="connsiteX516" fmla="*/ 153345 w 189841"/>
                <a:gd name="connsiteY516" fmla="*/ 3772 h 175170"/>
                <a:gd name="connsiteX517" fmla="*/ 153973 w 189841"/>
                <a:gd name="connsiteY517" fmla="*/ 6128 h 175170"/>
                <a:gd name="connsiteX518" fmla="*/ 154308 w 189841"/>
                <a:gd name="connsiteY518" fmla="*/ 9045 h 175170"/>
                <a:gd name="connsiteX519" fmla="*/ 153809 w 189841"/>
                <a:gd name="connsiteY519" fmla="*/ 10301 h 175170"/>
                <a:gd name="connsiteX520" fmla="*/ 152351 w 189841"/>
                <a:gd name="connsiteY520" fmla="*/ 10592 h 175170"/>
                <a:gd name="connsiteX521" fmla="*/ 147802 w 189841"/>
                <a:gd name="connsiteY521" fmla="*/ 13345 h 175170"/>
                <a:gd name="connsiteX522" fmla="*/ 147692 w 189841"/>
                <a:gd name="connsiteY522" fmla="*/ 15861 h 175170"/>
                <a:gd name="connsiteX523" fmla="*/ 147752 w 189841"/>
                <a:gd name="connsiteY523" fmla="*/ 17079 h 175170"/>
                <a:gd name="connsiteX524" fmla="*/ 147845 w 189841"/>
                <a:gd name="connsiteY524" fmla="*/ 17940 h 175170"/>
                <a:gd name="connsiteX525" fmla="*/ 148320 w 189841"/>
                <a:gd name="connsiteY525" fmla="*/ 18665 h 175170"/>
                <a:gd name="connsiteX526" fmla="*/ 148320 w 189841"/>
                <a:gd name="connsiteY526" fmla="*/ 19710 h 175170"/>
                <a:gd name="connsiteX527" fmla="*/ 147810 w 189841"/>
                <a:gd name="connsiteY527" fmla="*/ 20829 h 175170"/>
                <a:gd name="connsiteX528" fmla="*/ 145823 w 189841"/>
                <a:gd name="connsiteY528" fmla="*/ 22703 h 175170"/>
                <a:gd name="connsiteX529" fmla="*/ 144446 w 189841"/>
                <a:gd name="connsiteY529" fmla="*/ 24193 h 175170"/>
                <a:gd name="connsiteX530" fmla="*/ 142904 w 189841"/>
                <a:gd name="connsiteY530" fmla="*/ 26211 h 175170"/>
                <a:gd name="connsiteX531" fmla="*/ 142032 w 189841"/>
                <a:gd name="connsiteY531" fmla="*/ 26457 h 175170"/>
                <a:gd name="connsiteX532" fmla="*/ 141352 w 189841"/>
                <a:gd name="connsiteY532" fmla="*/ 26812 h 175170"/>
                <a:gd name="connsiteX533" fmla="*/ 140727 w 189841"/>
                <a:gd name="connsiteY533" fmla="*/ 25699 h 175170"/>
                <a:gd name="connsiteX534" fmla="*/ 137298 w 189841"/>
                <a:gd name="connsiteY534" fmla="*/ 23731 h 175170"/>
                <a:gd name="connsiteX535" fmla="*/ 129362 w 189841"/>
                <a:gd name="connsiteY535" fmla="*/ 22583 h 175170"/>
                <a:gd name="connsiteX536" fmla="*/ 125571 w 189841"/>
                <a:gd name="connsiteY536" fmla="*/ 21129 h 175170"/>
                <a:gd name="connsiteX537" fmla="*/ 123908 w 189841"/>
                <a:gd name="connsiteY537" fmla="*/ 21399 h 175170"/>
                <a:gd name="connsiteX538" fmla="*/ 120688 w 189841"/>
                <a:gd name="connsiteY538" fmla="*/ 19771 h 175170"/>
                <a:gd name="connsiteX539" fmla="*/ 118481 w 189841"/>
                <a:gd name="connsiteY539" fmla="*/ 20486 h 175170"/>
                <a:gd name="connsiteX540" fmla="*/ 113800 w 189841"/>
                <a:gd name="connsiteY540" fmla="*/ 23378 h 175170"/>
                <a:gd name="connsiteX541" fmla="*/ 111273 w 189841"/>
                <a:gd name="connsiteY541" fmla="*/ 23064 h 175170"/>
                <a:gd name="connsiteX542" fmla="*/ 108572 w 189841"/>
                <a:gd name="connsiteY542" fmla="*/ 21326 h 175170"/>
                <a:gd name="connsiteX543" fmla="*/ 106814 w 189841"/>
                <a:gd name="connsiteY543" fmla="*/ 21006 h 175170"/>
                <a:gd name="connsiteX544" fmla="*/ 104752 w 189841"/>
                <a:gd name="connsiteY544" fmla="*/ 21927 h 175170"/>
                <a:gd name="connsiteX545" fmla="*/ 101448 w 189841"/>
                <a:gd name="connsiteY545" fmla="*/ 25253 h 175170"/>
                <a:gd name="connsiteX546" fmla="*/ 98086 w 189841"/>
                <a:gd name="connsiteY546" fmla="*/ 26882 h 175170"/>
                <a:gd name="connsiteX547" fmla="*/ 95074 w 189841"/>
                <a:gd name="connsiteY547" fmla="*/ 26245 h 175170"/>
                <a:gd name="connsiteX548" fmla="*/ 91021 w 189841"/>
                <a:gd name="connsiteY548" fmla="*/ 26259 h 175170"/>
                <a:gd name="connsiteX549" fmla="*/ 90588 w 189841"/>
                <a:gd name="connsiteY549" fmla="*/ 28117 h 175170"/>
                <a:gd name="connsiteX550" fmla="*/ 91373 w 189841"/>
                <a:gd name="connsiteY550" fmla="*/ 29402 h 175170"/>
                <a:gd name="connsiteX551" fmla="*/ 93588 w 189841"/>
                <a:gd name="connsiteY551" fmla="*/ 31593 h 175170"/>
                <a:gd name="connsiteX552" fmla="*/ 92549 w 189841"/>
                <a:gd name="connsiteY552" fmla="*/ 33239 h 175170"/>
                <a:gd name="connsiteX553" fmla="*/ 93320 w 189841"/>
                <a:gd name="connsiteY553" fmla="*/ 34888 h 175170"/>
                <a:gd name="connsiteX554" fmla="*/ 94763 w 189841"/>
                <a:gd name="connsiteY554" fmla="*/ 35223 h 175170"/>
                <a:gd name="connsiteX555" fmla="*/ 96942 w 189841"/>
                <a:gd name="connsiteY555" fmla="*/ 35130 h 175170"/>
                <a:gd name="connsiteX556" fmla="*/ 100971 w 189841"/>
                <a:gd name="connsiteY556" fmla="*/ 37263 h 175170"/>
                <a:gd name="connsiteX557" fmla="*/ 102733 w 189841"/>
                <a:gd name="connsiteY557" fmla="*/ 39510 h 175170"/>
                <a:gd name="connsiteX558" fmla="*/ 103858 w 189841"/>
                <a:gd name="connsiteY558" fmla="*/ 41968 h 175170"/>
                <a:gd name="connsiteX559" fmla="*/ 101405 w 189841"/>
                <a:gd name="connsiteY559" fmla="*/ 40206 h 175170"/>
                <a:gd name="connsiteX560" fmla="*/ 99777 w 189841"/>
                <a:gd name="connsiteY560" fmla="*/ 38511 h 175170"/>
                <a:gd name="connsiteX561" fmla="*/ 97505 w 189841"/>
                <a:gd name="connsiteY561" fmla="*/ 37896 h 175170"/>
                <a:gd name="connsiteX562" fmla="*/ 94346 w 189841"/>
                <a:gd name="connsiteY562" fmla="*/ 36452 h 175170"/>
                <a:gd name="connsiteX563" fmla="*/ 92362 w 189841"/>
                <a:gd name="connsiteY563" fmla="*/ 36211 h 175170"/>
                <a:gd name="connsiteX564" fmla="*/ 90250 w 189841"/>
                <a:gd name="connsiteY564" fmla="*/ 37212 h 175170"/>
                <a:gd name="connsiteX565" fmla="*/ 90085 w 189841"/>
                <a:gd name="connsiteY565" fmla="*/ 38348 h 175170"/>
                <a:gd name="connsiteX566" fmla="*/ 92362 w 189841"/>
                <a:gd name="connsiteY566" fmla="*/ 40468 h 175170"/>
                <a:gd name="connsiteX567" fmla="*/ 94443 w 189841"/>
                <a:gd name="connsiteY567" fmla="*/ 41772 h 175170"/>
                <a:gd name="connsiteX568" fmla="*/ 95547 w 189841"/>
                <a:gd name="connsiteY568" fmla="*/ 42833 h 175170"/>
                <a:gd name="connsiteX569" fmla="*/ 96283 w 189841"/>
                <a:gd name="connsiteY569" fmla="*/ 45180 h 175170"/>
                <a:gd name="connsiteX570" fmla="*/ 95864 w 189841"/>
                <a:gd name="connsiteY570" fmla="*/ 45977 h 175170"/>
                <a:gd name="connsiteX571" fmla="*/ 95095 w 189841"/>
                <a:gd name="connsiteY571" fmla="*/ 46719 h 175170"/>
                <a:gd name="connsiteX572" fmla="*/ 92625 w 189841"/>
                <a:gd name="connsiteY572" fmla="*/ 45241 h 175170"/>
                <a:gd name="connsiteX573" fmla="*/ 88848 w 189841"/>
                <a:gd name="connsiteY573" fmla="*/ 39980 h 175170"/>
                <a:gd name="connsiteX574" fmla="*/ 83579 w 189841"/>
                <a:gd name="connsiteY574" fmla="*/ 38931 h 175170"/>
                <a:gd name="connsiteX575" fmla="*/ 82698 w 189841"/>
                <a:gd name="connsiteY575" fmla="*/ 40029 h 175170"/>
                <a:gd name="connsiteX576" fmla="*/ 83733 w 189841"/>
                <a:gd name="connsiteY576" fmla="*/ 42811 h 175170"/>
                <a:gd name="connsiteX577" fmla="*/ 84482 w 189841"/>
                <a:gd name="connsiteY577" fmla="*/ 43894 h 175170"/>
                <a:gd name="connsiteX578" fmla="*/ 89060 w 189841"/>
                <a:gd name="connsiteY578" fmla="*/ 46894 h 175170"/>
                <a:gd name="connsiteX579" fmla="*/ 88693 w 189841"/>
                <a:gd name="connsiteY579" fmla="*/ 47530 h 175170"/>
                <a:gd name="connsiteX580" fmla="*/ 88025 w 189841"/>
                <a:gd name="connsiteY580" fmla="*/ 47801 h 175170"/>
                <a:gd name="connsiteX581" fmla="*/ 82901 w 189841"/>
                <a:gd name="connsiteY581" fmla="*/ 46087 h 175170"/>
                <a:gd name="connsiteX582" fmla="*/ 81411 w 189841"/>
                <a:gd name="connsiteY582" fmla="*/ 43476 h 175170"/>
                <a:gd name="connsiteX583" fmla="*/ 81053 w 189841"/>
                <a:gd name="connsiteY583" fmla="*/ 40173 h 175170"/>
                <a:gd name="connsiteX584" fmla="*/ 76324 w 189841"/>
                <a:gd name="connsiteY584" fmla="*/ 37877 h 175170"/>
                <a:gd name="connsiteX585" fmla="*/ 71864 w 189841"/>
                <a:gd name="connsiteY585" fmla="*/ 35377 h 175170"/>
                <a:gd name="connsiteX586" fmla="*/ 70867 w 189841"/>
                <a:gd name="connsiteY586" fmla="*/ 33002 h 175170"/>
                <a:gd name="connsiteX587" fmla="*/ 71785 w 189841"/>
                <a:gd name="connsiteY587" fmla="*/ 32121 h 175170"/>
                <a:gd name="connsiteX588" fmla="*/ 72435 w 189841"/>
                <a:gd name="connsiteY588" fmla="*/ 30375 h 175170"/>
                <a:gd name="connsiteX589" fmla="*/ 69984 w 189841"/>
                <a:gd name="connsiteY589" fmla="*/ 30697 h 175170"/>
                <a:gd name="connsiteX590" fmla="*/ 68446 w 189841"/>
                <a:gd name="connsiteY590" fmla="*/ 31801 h 175170"/>
                <a:gd name="connsiteX591" fmla="*/ 65961 w 189841"/>
                <a:gd name="connsiteY591" fmla="*/ 32872 h 175170"/>
                <a:gd name="connsiteX592" fmla="*/ 65859 w 189841"/>
                <a:gd name="connsiteY592" fmla="*/ 34625 h 175170"/>
                <a:gd name="connsiteX593" fmla="*/ 66252 w 189841"/>
                <a:gd name="connsiteY593" fmla="*/ 36248 h 175170"/>
                <a:gd name="connsiteX594" fmla="*/ 65430 w 189841"/>
                <a:gd name="connsiteY594" fmla="*/ 38606 h 175170"/>
                <a:gd name="connsiteX595" fmla="*/ 64631 w 189841"/>
                <a:gd name="connsiteY595" fmla="*/ 42709 h 175170"/>
                <a:gd name="connsiteX596" fmla="*/ 65136 w 189841"/>
                <a:gd name="connsiteY596" fmla="*/ 44859 h 175170"/>
                <a:gd name="connsiteX597" fmla="*/ 70521 w 189841"/>
                <a:gd name="connsiteY597" fmla="*/ 51017 h 175170"/>
                <a:gd name="connsiteX598" fmla="*/ 72363 w 189841"/>
                <a:gd name="connsiteY598" fmla="*/ 55482 h 175170"/>
                <a:gd name="connsiteX599" fmla="*/ 73685 w 189841"/>
                <a:gd name="connsiteY599" fmla="*/ 57173 h 175170"/>
                <a:gd name="connsiteX600" fmla="*/ 76441 w 189841"/>
                <a:gd name="connsiteY600" fmla="*/ 59037 h 175170"/>
                <a:gd name="connsiteX601" fmla="*/ 79314 w 189841"/>
                <a:gd name="connsiteY601" fmla="*/ 62503 h 175170"/>
                <a:gd name="connsiteX602" fmla="*/ 80533 w 189841"/>
                <a:gd name="connsiteY602" fmla="*/ 64308 h 175170"/>
                <a:gd name="connsiteX603" fmla="*/ 81400 w 189841"/>
                <a:gd name="connsiteY603" fmla="*/ 67259 h 175170"/>
                <a:gd name="connsiteX604" fmla="*/ 78982 w 189841"/>
                <a:gd name="connsiteY604" fmla="*/ 69084 h 175170"/>
                <a:gd name="connsiteX605" fmla="*/ 77574 w 189841"/>
                <a:gd name="connsiteY605" fmla="*/ 69160 h 175170"/>
                <a:gd name="connsiteX606" fmla="*/ 76794 w 189841"/>
                <a:gd name="connsiteY606" fmla="*/ 68350 h 175170"/>
                <a:gd name="connsiteX607" fmla="*/ 77885 w 189841"/>
                <a:gd name="connsiteY607" fmla="*/ 66339 h 175170"/>
                <a:gd name="connsiteX608" fmla="*/ 77730 w 189841"/>
                <a:gd name="connsiteY608" fmla="*/ 65113 h 175170"/>
                <a:gd name="connsiteX609" fmla="*/ 73996 w 189841"/>
                <a:gd name="connsiteY609" fmla="*/ 63214 h 175170"/>
                <a:gd name="connsiteX610" fmla="*/ 72415 w 189841"/>
                <a:gd name="connsiteY610" fmla="*/ 63854 h 175170"/>
                <a:gd name="connsiteX611" fmla="*/ 70593 w 189841"/>
                <a:gd name="connsiteY611" fmla="*/ 65091 h 175170"/>
                <a:gd name="connsiteX612" fmla="*/ 71633 w 189841"/>
                <a:gd name="connsiteY612" fmla="*/ 67387 h 175170"/>
                <a:gd name="connsiteX613" fmla="*/ 72804 w 189841"/>
                <a:gd name="connsiteY613" fmla="*/ 68899 h 175170"/>
                <a:gd name="connsiteX614" fmla="*/ 73391 w 189841"/>
                <a:gd name="connsiteY614" fmla="*/ 70984 h 175170"/>
                <a:gd name="connsiteX615" fmla="*/ 75629 w 189841"/>
                <a:gd name="connsiteY615" fmla="*/ 70803 h 175170"/>
                <a:gd name="connsiteX616" fmla="*/ 72616 w 189841"/>
                <a:gd name="connsiteY616" fmla="*/ 73135 h 175170"/>
                <a:gd name="connsiteX617" fmla="*/ 69789 w 189841"/>
                <a:gd name="connsiteY617" fmla="*/ 74326 h 175170"/>
                <a:gd name="connsiteX618" fmla="*/ 67008 w 189841"/>
                <a:gd name="connsiteY618" fmla="*/ 74395 h 175170"/>
                <a:gd name="connsiteX619" fmla="*/ 65237 w 189841"/>
                <a:gd name="connsiteY619" fmla="*/ 74611 h 175170"/>
                <a:gd name="connsiteX620" fmla="*/ 64627 w 189841"/>
                <a:gd name="connsiteY620" fmla="*/ 75207 h 175170"/>
                <a:gd name="connsiteX621" fmla="*/ 66067 w 189841"/>
                <a:gd name="connsiteY621" fmla="*/ 75641 h 175170"/>
                <a:gd name="connsiteX622" fmla="*/ 67243 w 189841"/>
                <a:gd name="connsiteY622" fmla="*/ 75680 h 175170"/>
                <a:gd name="connsiteX623" fmla="*/ 69157 w 189841"/>
                <a:gd name="connsiteY623" fmla="*/ 76939 h 175170"/>
                <a:gd name="connsiteX624" fmla="*/ 74603 w 189841"/>
                <a:gd name="connsiteY624" fmla="*/ 78449 h 175170"/>
                <a:gd name="connsiteX625" fmla="*/ 77198 w 189841"/>
                <a:gd name="connsiteY625" fmla="*/ 80355 h 175170"/>
                <a:gd name="connsiteX626" fmla="*/ 79747 w 189841"/>
                <a:gd name="connsiteY626" fmla="*/ 80529 h 175170"/>
                <a:gd name="connsiteX627" fmla="*/ 82312 w 189841"/>
                <a:gd name="connsiteY627" fmla="*/ 84025 h 175170"/>
                <a:gd name="connsiteX628" fmla="*/ 86749 w 189841"/>
                <a:gd name="connsiteY628" fmla="*/ 84955 h 175170"/>
                <a:gd name="connsiteX629" fmla="*/ 89278 w 189841"/>
                <a:gd name="connsiteY629" fmla="*/ 88478 h 175170"/>
                <a:gd name="connsiteX630" fmla="*/ 92640 w 189841"/>
                <a:gd name="connsiteY630" fmla="*/ 89171 h 175170"/>
                <a:gd name="connsiteX631" fmla="*/ 95536 w 189841"/>
                <a:gd name="connsiteY631" fmla="*/ 90469 h 175170"/>
                <a:gd name="connsiteX632" fmla="*/ 96384 w 189841"/>
                <a:gd name="connsiteY632" fmla="*/ 91707 h 175170"/>
                <a:gd name="connsiteX633" fmla="*/ 96807 w 189841"/>
                <a:gd name="connsiteY633" fmla="*/ 93941 h 175170"/>
                <a:gd name="connsiteX634" fmla="*/ 96995 w 189841"/>
                <a:gd name="connsiteY634" fmla="*/ 98672 h 175170"/>
                <a:gd name="connsiteX635" fmla="*/ 97622 w 189841"/>
                <a:gd name="connsiteY635" fmla="*/ 102191 h 175170"/>
                <a:gd name="connsiteX636" fmla="*/ 97643 w 189841"/>
                <a:gd name="connsiteY636" fmla="*/ 103303 h 175170"/>
                <a:gd name="connsiteX637" fmla="*/ 97490 w 189841"/>
                <a:gd name="connsiteY637" fmla="*/ 104963 h 175170"/>
                <a:gd name="connsiteX638" fmla="*/ 96702 w 189841"/>
                <a:gd name="connsiteY638" fmla="*/ 105778 h 175170"/>
                <a:gd name="connsiteX639" fmla="*/ 95637 w 189841"/>
                <a:gd name="connsiteY639" fmla="*/ 105803 h 175170"/>
                <a:gd name="connsiteX640" fmla="*/ 93553 w 189841"/>
                <a:gd name="connsiteY640" fmla="*/ 103219 h 175170"/>
                <a:gd name="connsiteX641" fmla="*/ 90357 w 189841"/>
                <a:gd name="connsiteY641" fmla="*/ 100497 h 175170"/>
                <a:gd name="connsiteX642" fmla="*/ 86989 w 189841"/>
                <a:gd name="connsiteY642" fmla="*/ 97256 h 175170"/>
                <a:gd name="connsiteX643" fmla="*/ 86032 w 189841"/>
                <a:gd name="connsiteY643" fmla="*/ 96687 h 175170"/>
                <a:gd name="connsiteX644" fmla="*/ 85249 w 189841"/>
                <a:gd name="connsiteY644" fmla="*/ 96633 h 175170"/>
                <a:gd name="connsiteX645" fmla="*/ 83446 w 189841"/>
                <a:gd name="connsiteY645" fmla="*/ 97730 h 175170"/>
                <a:gd name="connsiteX646" fmla="*/ 78436 w 189841"/>
                <a:gd name="connsiteY646" fmla="*/ 98577 h 175170"/>
                <a:gd name="connsiteX647" fmla="*/ 76086 w 189841"/>
                <a:gd name="connsiteY647" fmla="*/ 99761 h 175170"/>
                <a:gd name="connsiteX648" fmla="*/ 75203 w 189841"/>
                <a:gd name="connsiteY648" fmla="*/ 100022 h 175170"/>
                <a:gd name="connsiteX649" fmla="*/ 74957 w 189841"/>
                <a:gd name="connsiteY649" fmla="*/ 100643 h 175170"/>
                <a:gd name="connsiteX650" fmla="*/ 76058 w 189841"/>
                <a:gd name="connsiteY650" fmla="*/ 101290 h 175170"/>
                <a:gd name="connsiteX651" fmla="*/ 77408 w 189841"/>
                <a:gd name="connsiteY651" fmla="*/ 102770 h 175170"/>
                <a:gd name="connsiteX652" fmla="*/ 77408 w 189841"/>
                <a:gd name="connsiteY652" fmla="*/ 104793 h 175170"/>
                <a:gd name="connsiteX653" fmla="*/ 78522 w 189841"/>
                <a:gd name="connsiteY653" fmla="*/ 107248 h 175170"/>
                <a:gd name="connsiteX654" fmla="*/ 79962 w 189841"/>
                <a:gd name="connsiteY654" fmla="*/ 107882 h 175170"/>
                <a:gd name="connsiteX655" fmla="*/ 81839 w 189841"/>
                <a:gd name="connsiteY655" fmla="*/ 107828 h 175170"/>
                <a:gd name="connsiteX656" fmla="*/ 82914 w 189841"/>
                <a:gd name="connsiteY656" fmla="*/ 108281 h 175170"/>
                <a:gd name="connsiteX657" fmla="*/ 83193 w 189841"/>
                <a:gd name="connsiteY657" fmla="*/ 109258 h 175170"/>
                <a:gd name="connsiteX658" fmla="*/ 84283 w 189841"/>
                <a:gd name="connsiteY658" fmla="*/ 110398 h 175170"/>
                <a:gd name="connsiteX659" fmla="*/ 85002 w 189841"/>
                <a:gd name="connsiteY659" fmla="*/ 111242 h 175170"/>
                <a:gd name="connsiteX660" fmla="*/ 84972 w 189841"/>
                <a:gd name="connsiteY660" fmla="*/ 111846 h 175170"/>
                <a:gd name="connsiteX661" fmla="*/ 79738 w 189841"/>
                <a:gd name="connsiteY661" fmla="*/ 113451 h 175170"/>
                <a:gd name="connsiteX662" fmla="*/ 78643 w 189841"/>
                <a:gd name="connsiteY662" fmla="*/ 114184 h 175170"/>
                <a:gd name="connsiteX663" fmla="*/ 77725 w 189841"/>
                <a:gd name="connsiteY663" fmla="*/ 114559 h 175170"/>
                <a:gd name="connsiteX664" fmla="*/ 76365 w 189841"/>
                <a:gd name="connsiteY664" fmla="*/ 113796 h 175170"/>
                <a:gd name="connsiteX665" fmla="*/ 76287 w 189841"/>
                <a:gd name="connsiteY665" fmla="*/ 111836 h 175170"/>
                <a:gd name="connsiteX666" fmla="*/ 74488 w 189841"/>
                <a:gd name="connsiteY666" fmla="*/ 110784 h 175170"/>
                <a:gd name="connsiteX667" fmla="*/ 72838 w 189841"/>
                <a:gd name="connsiteY667" fmla="*/ 109883 h 175170"/>
                <a:gd name="connsiteX668" fmla="*/ 70861 w 189841"/>
                <a:gd name="connsiteY668" fmla="*/ 109496 h 175170"/>
                <a:gd name="connsiteX669" fmla="*/ 69178 w 189841"/>
                <a:gd name="connsiteY669" fmla="*/ 108146 h 175170"/>
                <a:gd name="connsiteX670" fmla="*/ 68081 w 189841"/>
                <a:gd name="connsiteY670" fmla="*/ 109243 h 175170"/>
                <a:gd name="connsiteX671" fmla="*/ 68958 w 189841"/>
                <a:gd name="connsiteY671" fmla="*/ 113042 h 175170"/>
                <a:gd name="connsiteX672" fmla="*/ 70861 w 189841"/>
                <a:gd name="connsiteY672" fmla="*/ 115656 h 175170"/>
                <a:gd name="connsiteX673" fmla="*/ 74043 w 189841"/>
                <a:gd name="connsiteY673" fmla="*/ 122656 h 175170"/>
                <a:gd name="connsiteX674" fmla="*/ 75488 w 189841"/>
                <a:gd name="connsiteY674" fmla="*/ 126783 h 175170"/>
                <a:gd name="connsiteX675" fmla="*/ 75780 w 189841"/>
                <a:gd name="connsiteY675" fmla="*/ 128778 h 175170"/>
                <a:gd name="connsiteX676" fmla="*/ 75060 w 189841"/>
                <a:gd name="connsiteY676" fmla="*/ 132087 h 175170"/>
                <a:gd name="connsiteX677" fmla="*/ 76624 w 189841"/>
                <a:gd name="connsiteY677" fmla="*/ 134544 h 175170"/>
                <a:gd name="connsiteX678" fmla="*/ 77695 w 189841"/>
                <a:gd name="connsiteY678" fmla="*/ 137065 h 175170"/>
                <a:gd name="connsiteX679" fmla="*/ 76516 w 189841"/>
                <a:gd name="connsiteY679" fmla="*/ 136970 h 175170"/>
                <a:gd name="connsiteX680" fmla="*/ 75493 w 189841"/>
                <a:gd name="connsiteY680" fmla="*/ 136081 h 175170"/>
                <a:gd name="connsiteX681" fmla="*/ 73776 w 189841"/>
                <a:gd name="connsiteY681" fmla="*/ 135032 h 175170"/>
                <a:gd name="connsiteX682" fmla="*/ 70446 w 189841"/>
                <a:gd name="connsiteY682" fmla="*/ 131007 h 175170"/>
                <a:gd name="connsiteX683" fmla="*/ 69286 w 189841"/>
                <a:gd name="connsiteY683" fmla="*/ 128493 h 175170"/>
                <a:gd name="connsiteX684" fmla="*/ 67900 w 189841"/>
                <a:gd name="connsiteY684" fmla="*/ 128296 h 175170"/>
                <a:gd name="connsiteX685" fmla="*/ 65494 w 189841"/>
                <a:gd name="connsiteY685" fmla="*/ 128657 h 175170"/>
                <a:gd name="connsiteX686" fmla="*/ 62856 w 189841"/>
                <a:gd name="connsiteY686" fmla="*/ 134024 h 175170"/>
                <a:gd name="connsiteX687" fmla="*/ 62864 w 189841"/>
                <a:gd name="connsiteY687" fmla="*/ 137095 h 175170"/>
                <a:gd name="connsiteX688" fmla="*/ 61500 w 189841"/>
                <a:gd name="connsiteY688" fmla="*/ 136364 h 175170"/>
                <a:gd name="connsiteX689" fmla="*/ 60329 w 189841"/>
                <a:gd name="connsiteY689" fmla="*/ 135407 h 175170"/>
                <a:gd name="connsiteX690" fmla="*/ 60472 w 189841"/>
                <a:gd name="connsiteY690" fmla="*/ 132045 h 175170"/>
                <a:gd name="connsiteX691" fmla="*/ 60355 w 189841"/>
                <a:gd name="connsiteY691" fmla="*/ 130632 h 175170"/>
                <a:gd name="connsiteX692" fmla="*/ 57153 w 189841"/>
                <a:gd name="connsiteY692" fmla="*/ 126045 h 175170"/>
                <a:gd name="connsiteX693" fmla="*/ 55684 w 189841"/>
                <a:gd name="connsiteY693" fmla="*/ 125530 h 175170"/>
                <a:gd name="connsiteX694" fmla="*/ 55000 w 189841"/>
                <a:gd name="connsiteY694" fmla="*/ 123978 h 175170"/>
                <a:gd name="connsiteX695" fmla="*/ 53821 w 189841"/>
                <a:gd name="connsiteY695" fmla="*/ 122324 h 175170"/>
                <a:gd name="connsiteX696" fmla="*/ 52301 w 189841"/>
                <a:gd name="connsiteY696" fmla="*/ 122641 h 175170"/>
                <a:gd name="connsiteX697" fmla="*/ 51059 w 189841"/>
                <a:gd name="connsiteY697" fmla="*/ 123312 h 175170"/>
                <a:gd name="connsiteX698" fmla="*/ 50716 w 189841"/>
                <a:gd name="connsiteY698" fmla="*/ 125811 h 175170"/>
                <a:gd name="connsiteX699" fmla="*/ 50588 w 189841"/>
                <a:gd name="connsiteY699" fmla="*/ 128050 h 175170"/>
                <a:gd name="connsiteX700" fmla="*/ 49662 w 189841"/>
                <a:gd name="connsiteY700" fmla="*/ 129734 h 175170"/>
                <a:gd name="connsiteX701" fmla="*/ 46250 w 189841"/>
                <a:gd name="connsiteY701" fmla="*/ 126536 h 175170"/>
                <a:gd name="connsiteX702" fmla="*/ 42819 w 189841"/>
                <a:gd name="connsiteY702" fmla="*/ 121001 h 175170"/>
                <a:gd name="connsiteX703" fmla="*/ 42728 w 189841"/>
                <a:gd name="connsiteY703" fmla="*/ 117960 h 175170"/>
                <a:gd name="connsiteX704" fmla="*/ 45242 w 189841"/>
                <a:gd name="connsiteY704" fmla="*/ 115185 h 175170"/>
                <a:gd name="connsiteX705" fmla="*/ 44941 w 189841"/>
                <a:gd name="connsiteY705" fmla="*/ 113198 h 175170"/>
                <a:gd name="connsiteX706" fmla="*/ 42562 w 189841"/>
                <a:gd name="connsiteY706" fmla="*/ 109272 h 175170"/>
                <a:gd name="connsiteX707" fmla="*/ 39133 w 189841"/>
                <a:gd name="connsiteY707" fmla="*/ 106744 h 175170"/>
                <a:gd name="connsiteX708" fmla="*/ 37211 w 189841"/>
                <a:gd name="connsiteY708" fmla="*/ 105993 h 175170"/>
                <a:gd name="connsiteX709" fmla="*/ 36308 w 189841"/>
                <a:gd name="connsiteY709" fmla="*/ 103303 h 175170"/>
                <a:gd name="connsiteX710" fmla="*/ 34468 w 189841"/>
                <a:gd name="connsiteY710" fmla="*/ 101912 h 175170"/>
                <a:gd name="connsiteX711" fmla="*/ 32980 w 189841"/>
                <a:gd name="connsiteY711" fmla="*/ 101264 h 175170"/>
                <a:gd name="connsiteX712" fmla="*/ 32687 w 189841"/>
                <a:gd name="connsiteY712" fmla="*/ 100305 h 175170"/>
                <a:gd name="connsiteX713" fmla="*/ 33136 w 189841"/>
                <a:gd name="connsiteY713" fmla="*/ 99595 h 175170"/>
                <a:gd name="connsiteX714" fmla="*/ 36742 w 189841"/>
                <a:gd name="connsiteY714" fmla="*/ 96823 h 175170"/>
                <a:gd name="connsiteX715" fmla="*/ 38856 w 189841"/>
                <a:gd name="connsiteY715" fmla="*/ 92481 h 175170"/>
                <a:gd name="connsiteX716" fmla="*/ 39906 w 189841"/>
                <a:gd name="connsiteY716" fmla="*/ 92274 h 175170"/>
                <a:gd name="connsiteX717" fmla="*/ 42063 w 189841"/>
                <a:gd name="connsiteY717" fmla="*/ 93304 h 175170"/>
                <a:gd name="connsiteX718" fmla="*/ 44488 w 189841"/>
                <a:gd name="connsiteY718" fmla="*/ 93035 h 175170"/>
                <a:gd name="connsiteX719" fmla="*/ 46479 w 189841"/>
                <a:gd name="connsiteY719" fmla="*/ 90489 h 175170"/>
                <a:gd name="connsiteX720" fmla="*/ 48165 w 189841"/>
                <a:gd name="connsiteY720" fmla="*/ 89103 h 175170"/>
                <a:gd name="connsiteX721" fmla="*/ 51009 w 189841"/>
                <a:gd name="connsiteY721" fmla="*/ 89282 h 175170"/>
                <a:gd name="connsiteX722" fmla="*/ 57431 w 189841"/>
                <a:gd name="connsiteY722" fmla="*/ 92685 h 175170"/>
                <a:gd name="connsiteX723" fmla="*/ 64333 w 189841"/>
                <a:gd name="connsiteY723" fmla="*/ 94623 h 175170"/>
                <a:gd name="connsiteX724" fmla="*/ 67775 w 189841"/>
                <a:gd name="connsiteY724" fmla="*/ 96324 h 175170"/>
                <a:gd name="connsiteX725" fmla="*/ 69722 w 189841"/>
                <a:gd name="connsiteY725" fmla="*/ 98009 h 175170"/>
                <a:gd name="connsiteX726" fmla="*/ 70757 w 189841"/>
                <a:gd name="connsiteY726" fmla="*/ 98358 h 175170"/>
                <a:gd name="connsiteX727" fmla="*/ 72392 w 189841"/>
                <a:gd name="connsiteY727" fmla="*/ 98596 h 175170"/>
                <a:gd name="connsiteX728" fmla="*/ 72318 w 189841"/>
                <a:gd name="connsiteY728" fmla="*/ 97336 h 175170"/>
                <a:gd name="connsiteX729" fmla="*/ 71791 w 189841"/>
                <a:gd name="connsiteY729" fmla="*/ 96221 h 175170"/>
                <a:gd name="connsiteX730" fmla="*/ 73154 w 189841"/>
                <a:gd name="connsiteY730" fmla="*/ 95614 h 175170"/>
                <a:gd name="connsiteX731" fmla="*/ 76853 w 189841"/>
                <a:gd name="connsiteY731" fmla="*/ 95646 h 175170"/>
                <a:gd name="connsiteX732" fmla="*/ 77526 w 189841"/>
                <a:gd name="connsiteY732" fmla="*/ 95055 h 175170"/>
                <a:gd name="connsiteX733" fmla="*/ 78211 w 189841"/>
                <a:gd name="connsiteY733" fmla="*/ 94098 h 175170"/>
                <a:gd name="connsiteX734" fmla="*/ 77447 w 189841"/>
                <a:gd name="connsiteY734" fmla="*/ 93010 h 175170"/>
                <a:gd name="connsiteX735" fmla="*/ 76222 w 189841"/>
                <a:gd name="connsiteY735" fmla="*/ 92487 h 175170"/>
                <a:gd name="connsiteX736" fmla="*/ 74913 w 189841"/>
                <a:gd name="connsiteY736" fmla="*/ 92342 h 175170"/>
                <a:gd name="connsiteX737" fmla="*/ 74052 w 189841"/>
                <a:gd name="connsiteY737" fmla="*/ 91997 h 175170"/>
                <a:gd name="connsiteX738" fmla="*/ 72661 w 189841"/>
                <a:gd name="connsiteY738" fmla="*/ 92345 h 175170"/>
                <a:gd name="connsiteX739" fmla="*/ 70491 w 189841"/>
                <a:gd name="connsiteY739" fmla="*/ 91504 h 175170"/>
                <a:gd name="connsiteX740" fmla="*/ 69370 w 189841"/>
                <a:gd name="connsiteY740" fmla="*/ 90810 h 175170"/>
                <a:gd name="connsiteX741" fmla="*/ 68712 w 189841"/>
                <a:gd name="connsiteY741" fmla="*/ 90096 h 175170"/>
                <a:gd name="connsiteX742" fmla="*/ 64942 w 189841"/>
                <a:gd name="connsiteY742" fmla="*/ 88672 h 175170"/>
                <a:gd name="connsiteX743" fmla="*/ 61366 w 189841"/>
                <a:gd name="connsiteY743" fmla="*/ 86264 h 175170"/>
                <a:gd name="connsiteX744" fmla="*/ 60560 w 189841"/>
                <a:gd name="connsiteY744" fmla="*/ 87627 h 175170"/>
                <a:gd name="connsiteX745" fmla="*/ 59116 w 189841"/>
                <a:gd name="connsiteY745" fmla="*/ 88366 h 175170"/>
                <a:gd name="connsiteX746" fmla="*/ 57058 w 189841"/>
                <a:gd name="connsiteY746" fmla="*/ 88468 h 175170"/>
                <a:gd name="connsiteX747" fmla="*/ 51275 w 189841"/>
                <a:gd name="connsiteY747" fmla="*/ 86935 h 175170"/>
                <a:gd name="connsiteX748" fmla="*/ 47722 w 189841"/>
                <a:gd name="connsiteY748" fmla="*/ 88105 h 175170"/>
                <a:gd name="connsiteX749" fmla="*/ 45786 w 189841"/>
                <a:gd name="connsiteY749" fmla="*/ 88412 h 175170"/>
                <a:gd name="connsiteX750" fmla="*/ 44304 w 189841"/>
                <a:gd name="connsiteY750" fmla="*/ 88438 h 175170"/>
                <a:gd name="connsiteX751" fmla="*/ 42482 w 189841"/>
                <a:gd name="connsiteY751" fmla="*/ 88963 h 175170"/>
                <a:gd name="connsiteX752" fmla="*/ 40379 w 189841"/>
                <a:gd name="connsiteY752" fmla="*/ 89277 h 175170"/>
                <a:gd name="connsiteX753" fmla="*/ 38556 w 189841"/>
                <a:gd name="connsiteY753" fmla="*/ 87054 h 175170"/>
                <a:gd name="connsiteX754" fmla="*/ 37789 w 189841"/>
                <a:gd name="connsiteY754" fmla="*/ 85331 h 175170"/>
                <a:gd name="connsiteX755" fmla="*/ 37249 w 189841"/>
                <a:gd name="connsiteY755" fmla="*/ 85009 h 175170"/>
                <a:gd name="connsiteX756" fmla="*/ 37222 w 189841"/>
                <a:gd name="connsiteY756" fmla="*/ 86628 h 175170"/>
                <a:gd name="connsiteX757" fmla="*/ 36636 w 189841"/>
                <a:gd name="connsiteY757" fmla="*/ 87926 h 175170"/>
                <a:gd name="connsiteX758" fmla="*/ 33968 w 189841"/>
                <a:gd name="connsiteY758" fmla="*/ 88655 h 175170"/>
                <a:gd name="connsiteX759" fmla="*/ 32432 w 189841"/>
                <a:gd name="connsiteY759" fmla="*/ 87650 h 175170"/>
                <a:gd name="connsiteX760" fmla="*/ 31251 w 189841"/>
                <a:gd name="connsiteY760" fmla="*/ 84598 h 175170"/>
                <a:gd name="connsiteX761" fmla="*/ 29757 w 189841"/>
                <a:gd name="connsiteY761" fmla="*/ 80715 h 175170"/>
                <a:gd name="connsiteX762" fmla="*/ 27126 w 189841"/>
                <a:gd name="connsiteY762" fmla="*/ 77576 h 175170"/>
                <a:gd name="connsiteX763" fmla="*/ 24995 w 189841"/>
                <a:gd name="connsiteY763" fmla="*/ 76755 h 175170"/>
                <a:gd name="connsiteX764" fmla="*/ 24811 w 189841"/>
                <a:gd name="connsiteY764" fmla="*/ 75029 h 175170"/>
                <a:gd name="connsiteX765" fmla="*/ 25006 w 189841"/>
                <a:gd name="connsiteY765" fmla="*/ 73647 h 175170"/>
                <a:gd name="connsiteX766" fmla="*/ 27567 w 189841"/>
                <a:gd name="connsiteY766" fmla="*/ 73306 h 175170"/>
                <a:gd name="connsiteX767" fmla="*/ 31570 w 189841"/>
                <a:gd name="connsiteY767" fmla="*/ 74751 h 175170"/>
                <a:gd name="connsiteX768" fmla="*/ 32397 w 189841"/>
                <a:gd name="connsiteY768" fmla="*/ 74464 h 175170"/>
                <a:gd name="connsiteX769" fmla="*/ 33298 w 189841"/>
                <a:gd name="connsiteY769" fmla="*/ 73797 h 175170"/>
                <a:gd name="connsiteX770" fmla="*/ 33125 w 189841"/>
                <a:gd name="connsiteY770" fmla="*/ 72322 h 175170"/>
                <a:gd name="connsiteX771" fmla="*/ 32547 w 189841"/>
                <a:gd name="connsiteY771" fmla="*/ 71008 h 175170"/>
                <a:gd name="connsiteX772" fmla="*/ 31445 w 189841"/>
                <a:gd name="connsiteY772" fmla="*/ 70949 h 175170"/>
                <a:gd name="connsiteX773" fmla="*/ 30683 w 189841"/>
                <a:gd name="connsiteY773" fmla="*/ 71105 h 175170"/>
                <a:gd name="connsiteX774" fmla="*/ 28221 w 189841"/>
                <a:gd name="connsiteY774" fmla="*/ 70833 h 175170"/>
                <a:gd name="connsiteX775" fmla="*/ 25058 w 189841"/>
                <a:gd name="connsiteY775" fmla="*/ 71563 h 175170"/>
                <a:gd name="connsiteX776" fmla="*/ 23591 w 189841"/>
                <a:gd name="connsiteY776" fmla="*/ 70875 h 175170"/>
                <a:gd name="connsiteX777" fmla="*/ 23103 w 189841"/>
                <a:gd name="connsiteY777" fmla="*/ 70039 h 175170"/>
                <a:gd name="connsiteX778" fmla="*/ 20458 w 189841"/>
                <a:gd name="connsiteY778" fmla="*/ 67963 h 175170"/>
                <a:gd name="connsiteX779" fmla="*/ 18172 w 189841"/>
                <a:gd name="connsiteY779" fmla="*/ 65177 h 175170"/>
                <a:gd name="connsiteX780" fmla="*/ 14468 w 189841"/>
                <a:gd name="connsiteY780" fmla="*/ 63316 h 175170"/>
                <a:gd name="connsiteX781" fmla="*/ 12049 w 189841"/>
                <a:gd name="connsiteY781" fmla="*/ 57641 h 175170"/>
                <a:gd name="connsiteX782" fmla="*/ 10015 w 189841"/>
                <a:gd name="connsiteY782" fmla="*/ 55161 h 175170"/>
                <a:gd name="connsiteX783" fmla="*/ 7845 w 189841"/>
                <a:gd name="connsiteY783" fmla="*/ 53389 h 175170"/>
                <a:gd name="connsiteX784" fmla="*/ 8316 w 189841"/>
                <a:gd name="connsiteY784" fmla="*/ 53356 h 175170"/>
                <a:gd name="connsiteX785" fmla="*/ 9139 w 189841"/>
                <a:gd name="connsiteY785" fmla="*/ 53657 h 175170"/>
                <a:gd name="connsiteX786" fmla="*/ 10715 w 189841"/>
                <a:gd name="connsiteY786" fmla="*/ 54632 h 175170"/>
                <a:gd name="connsiteX787" fmla="*/ 12391 w 189841"/>
                <a:gd name="connsiteY787" fmla="*/ 54842 h 175170"/>
                <a:gd name="connsiteX788" fmla="*/ 13306 w 189841"/>
                <a:gd name="connsiteY788" fmla="*/ 54196 h 175170"/>
                <a:gd name="connsiteX789" fmla="*/ 13833 w 189841"/>
                <a:gd name="connsiteY789" fmla="*/ 53603 h 175170"/>
                <a:gd name="connsiteX790" fmla="*/ 14176 w 189841"/>
                <a:gd name="connsiteY790" fmla="*/ 52630 h 175170"/>
                <a:gd name="connsiteX791" fmla="*/ 14315 w 189841"/>
                <a:gd name="connsiteY791" fmla="*/ 51495 h 175170"/>
                <a:gd name="connsiteX792" fmla="*/ 14587 w 189841"/>
                <a:gd name="connsiteY792" fmla="*/ 51119 h 175170"/>
                <a:gd name="connsiteX793" fmla="*/ 15867 w 189841"/>
                <a:gd name="connsiteY793" fmla="*/ 51247 h 175170"/>
                <a:gd name="connsiteX794" fmla="*/ 16273 w 189841"/>
                <a:gd name="connsiteY794" fmla="*/ 50964 h 175170"/>
                <a:gd name="connsiteX795" fmla="*/ 16256 w 189841"/>
                <a:gd name="connsiteY795" fmla="*/ 49944 h 175170"/>
                <a:gd name="connsiteX796" fmla="*/ 15429 w 189841"/>
                <a:gd name="connsiteY796" fmla="*/ 48672 h 175170"/>
                <a:gd name="connsiteX797" fmla="*/ 14701 w 189841"/>
                <a:gd name="connsiteY797" fmla="*/ 47105 h 175170"/>
                <a:gd name="connsiteX798" fmla="*/ 14697 w 189841"/>
                <a:gd name="connsiteY798" fmla="*/ 46358 h 175170"/>
                <a:gd name="connsiteX799" fmla="*/ 15302 w 189841"/>
                <a:gd name="connsiteY799" fmla="*/ 46055 h 175170"/>
                <a:gd name="connsiteX800" fmla="*/ 16302 w 189841"/>
                <a:gd name="connsiteY800" fmla="*/ 45374 h 175170"/>
                <a:gd name="connsiteX801" fmla="*/ 16839 w 189841"/>
                <a:gd name="connsiteY801" fmla="*/ 44532 h 175170"/>
                <a:gd name="connsiteX802" fmla="*/ 17901 w 189841"/>
                <a:gd name="connsiteY802" fmla="*/ 44112 h 175170"/>
                <a:gd name="connsiteX803" fmla="*/ 19472 w 189841"/>
                <a:gd name="connsiteY803" fmla="*/ 44035 h 175170"/>
                <a:gd name="connsiteX804" fmla="*/ 21223 w 189841"/>
                <a:gd name="connsiteY804" fmla="*/ 43666 h 175170"/>
                <a:gd name="connsiteX805" fmla="*/ 22354 w 189841"/>
                <a:gd name="connsiteY805" fmla="*/ 42760 h 175170"/>
                <a:gd name="connsiteX806" fmla="*/ 22521 w 189841"/>
                <a:gd name="connsiteY806" fmla="*/ 41862 h 175170"/>
                <a:gd name="connsiteX807" fmla="*/ 23229 w 189841"/>
                <a:gd name="connsiteY807" fmla="*/ 39391 h 175170"/>
                <a:gd name="connsiteX808" fmla="*/ 23691 w 189841"/>
                <a:gd name="connsiteY808" fmla="*/ 38181 h 175170"/>
                <a:gd name="connsiteX809" fmla="*/ 24438 w 189841"/>
                <a:gd name="connsiteY809" fmla="*/ 37076 h 175170"/>
                <a:gd name="connsiteX810" fmla="*/ 24844 w 189841"/>
                <a:gd name="connsiteY810" fmla="*/ 35586 h 175170"/>
                <a:gd name="connsiteX811" fmla="*/ 25641 w 189841"/>
                <a:gd name="connsiteY811" fmla="*/ 34184 h 175170"/>
                <a:gd name="connsiteX812" fmla="*/ 27312 w 189841"/>
                <a:gd name="connsiteY812" fmla="*/ 33596 h 175170"/>
                <a:gd name="connsiteX813" fmla="*/ 28828 w 189841"/>
                <a:gd name="connsiteY813" fmla="*/ 32903 h 175170"/>
                <a:gd name="connsiteX814" fmla="*/ 29972 w 189841"/>
                <a:gd name="connsiteY814" fmla="*/ 31096 h 175170"/>
                <a:gd name="connsiteX815" fmla="*/ 30612 w 189841"/>
                <a:gd name="connsiteY815" fmla="*/ 29547 h 175170"/>
                <a:gd name="connsiteX816" fmla="*/ 30616 w 189841"/>
                <a:gd name="connsiteY816" fmla="*/ 28599 h 175170"/>
                <a:gd name="connsiteX817" fmla="*/ 29662 w 189841"/>
                <a:gd name="connsiteY817" fmla="*/ 27047 h 175170"/>
                <a:gd name="connsiteX818" fmla="*/ 28951 w 189841"/>
                <a:gd name="connsiteY818" fmla="*/ 25538 h 175170"/>
                <a:gd name="connsiteX819" fmla="*/ 29139 w 189841"/>
                <a:gd name="connsiteY819" fmla="*/ 23578 h 175170"/>
                <a:gd name="connsiteX820" fmla="*/ 32141 w 189841"/>
                <a:gd name="connsiteY820" fmla="*/ 23414 h 175170"/>
                <a:gd name="connsiteX821" fmla="*/ 33192 w 189841"/>
                <a:gd name="connsiteY821" fmla="*/ 23231 h 175170"/>
                <a:gd name="connsiteX822" fmla="*/ 37088 w 189841"/>
                <a:gd name="connsiteY822" fmla="*/ 23125 h 175170"/>
                <a:gd name="connsiteX823" fmla="*/ 38865 w 189841"/>
                <a:gd name="connsiteY823" fmla="*/ 22073 h 175170"/>
                <a:gd name="connsiteX824" fmla="*/ 40094 w 189841"/>
                <a:gd name="connsiteY824" fmla="*/ 22167 h 175170"/>
                <a:gd name="connsiteX825" fmla="*/ 42661 w 189841"/>
                <a:gd name="connsiteY825" fmla="*/ 23078 h 175170"/>
                <a:gd name="connsiteX826" fmla="*/ 43806 w 189841"/>
                <a:gd name="connsiteY826" fmla="*/ 22358 h 175170"/>
                <a:gd name="connsiteX827" fmla="*/ 47166 w 189841"/>
                <a:gd name="connsiteY827" fmla="*/ 20936 h 175170"/>
                <a:gd name="connsiteX828" fmla="*/ 50482 w 189841"/>
                <a:gd name="connsiteY828" fmla="*/ 16805 h 175170"/>
                <a:gd name="connsiteX829" fmla="*/ 51895 w 189841"/>
                <a:gd name="connsiteY829" fmla="*/ 16185 h 175170"/>
                <a:gd name="connsiteX830" fmla="*/ 55112 w 189841"/>
                <a:gd name="connsiteY830" fmla="*/ 15934 h 175170"/>
                <a:gd name="connsiteX831" fmla="*/ 56120 w 189841"/>
                <a:gd name="connsiteY831" fmla="*/ 15456 h 175170"/>
                <a:gd name="connsiteX832" fmla="*/ 57297 w 189841"/>
                <a:gd name="connsiteY832" fmla="*/ 15547 h 175170"/>
                <a:gd name="connsiteX833" fmla="*/ 60903 w 189841"/>
                <a:gd name="connsiteY833" fmla="*/ 16385 h 175170"/>
                <a:gd name="connsiteX834" fmla="*/ 62955 w 189841"/>
                <a:gd name="connsiteY834" fmla="*/ 16513 h 175170"/>
                <a:gd name="connsiteX835" fmla="*/ 65388 w 189841"/>
                <a:gd name="connsiteY835" fmla="*/ 15942 h 175170"/>
                <a:gd name="connsiteX836" fmla="*/ 68069 w 189841"/>
                <a:gd name="connsiteY836" fmla="*/ 14932 h 175170"/>
                <a:gd name="connsiteX837" fmla="*/ 68738 w 189841"/>
                <a:gd name="connsiteY837" fmla="*/ 11394 h 175170"/>
                <a:gd name="connsiteX838" fmla="*/ 69375 w 189841"/>
                <a:gd name="connsiteY838" fmla="*/ 10886 h 175170"/>
                <a:gd name="connsiteX839" fmla="*/ 71042 w 189841"/>
                <a:gd name="connsiteY839" fmla="*/ 10744 h 175170"/>
                <a:gd name="connsiteX840" fmla="*/ 72297 w 189841"/>
                <a:gd name="connsiteY840" fmla="*/ 10773 h 175170"/>
                <a:gd name="connsiteX841" fmla="*/ 74719 w 189841"/>
                <a:gd name="connsiteY841" fmla="*/ 11054 h 175170"/>
                <a:gd name="connsiteX842" fmla="*/ 77602 w 189841"/>
                <a:gd name="connsiteY842" fmla="*/ 11148 h 175170"/>
                <a:gd name="connsiteX843" fmla="*/ 79457 w 189841"/>
                <a:gd name="connsiteY843" fmla="*/ 9488 h 175170"/>
                <a:gd name="connsiteX844" fmla="*/ 82381 w 189841"/>
                <a:gd name="connsiteY844" fmla="*/ 9364 h 175170"/>
                <a:gd name="connsiteX845" fmla="*/ 83737 w 189841"/>
                <a:gd name="connsiteY845" fmla="*/ 9124 h 175170"/>
                <a:gd name="connsiteX846" fmla="*/ 86002 w 189841"/>
                <a:gd name="connsiteY846" fmla="*/ 9459 h 175170"/>
                <a:gd name="connsiteX847" fmla="*/ 88198 w 189841"/>
                <a:gd name="connsiteY847" fmla="*/ 9440 h 175170"/>
                <a:gd name="connsiteX848" fmla="*/ 91010 w 189841"/>
                <a:gd name="connsiteY848" fmla="*/ 8748 h 175170"/>
                <a:gd name="connsiteX849" fmla="*/ 93631 w 189841"/>
                <a:gd name="connsiteY849" fmla="*/ 7613 h 175170"/>
                <a:gd name="connsiteX850" fmla="*/ 95680 w 189841"/>
                <a:gd name="connsiteY850" fmla="*/ 7710 h 175170"/>
                <a:gd name="connsiteX851" fmla="*/ 96516 w 189841"/>
                <a:gd name="connsiteY851" fmla="*/ 7505 h 175170"/>
                <a:gd name="connsiteX852" fmla="*/ 96994 w 189841"/>
                <a:gd name="connsiteY852" fmla="*/ 7266 h 175170"/>
                <a:gd name="connsiteX853" fmla="*/ 97505 w 189841"/>
                <a:gd name="connsiteY853" fmla="*/ 5729 h 175170"/>
                <a:gd name="connsiteX854" fmla="*/ 101360 w 189841"/>
                <a:gd name="connsiteY854" fmla="*/ 5635 h 175170"/>
                <a:gd name="connsiteX855" fmla="*/ 102666 w 189841"/>
                <a:gd name="connsiteY855" fmla="*/ 5788 h 175170"/>
                <a:gd name="connsiteX856" fmla="*/ 104817 w 189841"/>
                <a:gd name="connsiteY856" fmla="*/ 5828 h 175170"/>
                <a:gd name="connsiteX857" fmla="*/ 107054 w 189841"/>
                <a:gd name="connsiteY857" fmla="*/ 4990 h 175170"/>
                <a:gd name="connsiteX858" fmla="*/ 107725 w 189841"/>
                <a:gd name="connsiteY858" fmla="*/ 5061 h 175170"/>
                <a:gd name="connsiteX859" fmla="*/ 108855 w 189841"/>
                <a:gd name="connsiteY859" fmla="*/ 7311 h 175170"/>
                <a:gd name="connsiteX860" fmla="*/ 109444 w 189841"/>
                <a:gd name="connsiteY860" fmla="*/ 7963 h 175170"/>
                <a:gd name="connsiteX861" fmla="*/ 110662 w 189841"/>
                <a:gd name="connsiteY861" fmla="*/ 8564 h 175170"/>
                <a:gd name="connsiteX862" fmla="*/ 113374 w 189841"/>
                <a:gd name="connsiteY862" fmla="*/ 10250 h 175170"/>
                <a:gd name="connsiteX863" fmla="*/ 113863 w 189841"/>
                <a:gd name="connsiteY863" fmla="*/ 9806 h 175170"/>
                <a:gd name="connsiteX864" fmla="*/ 114992 w 189841"/>
                <a:gd name="connsiteY864" fmla="*/ 9243 h 175170"/>
                <a:gd name="connsiteX865" fmla="*/ 118235 w 189841"/>
                <a:gd name="connsiteY865" fmla="*/ 10015 h 175170"/>
                <a:gd name="connsiteX866" fmla="*/ 121327 w 189841"/>
                <a:gd name="connsiteY866" fmla="*/ 11314 h 175170"/>
                <a:gd name="connsiteX867" fmla="*/ 123932 w 189841"/>
                <a:gd name="connsiteY867" fmla="*/ 13219 h 175170"/>
                <a:gd name="connsiteX868" fmla="*/ 126823 w 189841"/>
                <a:gd name="connsiteY868" fmla="*/ 12670 h 175170"/>
                <a:gd name="connsiteX869" fmla="*/ 130032 w 189841"/>
                <a:gd name="connsiteY869" fmla="*/ 11735 h 175170"/>
                <a:gd name="connsiteX870" fmla="*/ 132120 w 189841"/>
                <a:gd name="connsiteY870" fmla="*/ 11463 h 175170"/>
                <a:gd name="connsiteX871" fmla="*/ 134385 w 189841"/>
                <a:gd name="connsiteY871" fmla="*/ 11333 h 175170"/>
                <a:gd name="connsiteX872" fmla="*/ 135735 w 189841"/>
                <a:gd name="connsiteY872" fmla="*/ 10927 h 175170"/>
                <a:gd name="connsiteX873" fmla="*/ 138795 w 189841"/>
                <a:gd name="connsiteY873" fmla="*/ 11416 h 175170"/>
                <a:gd name="connsiteX874" fmla="*/ 141958 w 189841"/>
                <a:gd name="connsiteY874" fmla="*/ 10393 h 175170"/>
                <a:gd name="connsiteX875" fmla="*/ 143483 w 189841"/>
                <a:gd name="connsiteY875" fmla="*/ 9467 h 175170"/>
                <a:gd name="connsiteX876" fmla="*/ 143921 w 189841"/>
                <a:gd name="connsiteY876" fmla="*/ 8170 h 175170"/>
                <a:gd name="connsiteX877" fmla="*/ 143664 w 189841"/>
                <a:gd name="connsiteY877" fmla="*/ 5881 h 175170"/>
                <a:gd name="connsiteX878" fmla="*/ 142949 w 189841"/>
                <a:gd name="connsiteY878" fmla="*/ 3589 h 175170"/>
                <a:gd name="connsiteX879" fmla="*/ 142192 w 189841"/>
                <a:gd name="connsiteY879" fmla="*/ 2743 h 175170"/>
                <a:gd name="connsiteX880" fmla="*/ 141950 w 189841"/>
                <a:gd name="connsiteY880" fmla="*/ 1868 h 175170"/>
                <a:gd name="connsiteX881" fmla="*/ 142381 w 189841"/>
                <a:gd name="connsiteY881" fmla="*/ 1050 h 175170"/>
                <a:gd name="connsiteX882" fmla="*/ 142865 w 189841"/>
                <a:gd name="connsiteY882" fmla="*/ 479 h 175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Lst>
              <a:rect l="l" t="t" r="r" b="b"/>
              <a:pathLst>
                <a:path w="189841" h="175170">
                  <a:moveTo>
                    <a:pt x="90448" y="157073"/>
                  </a:moveTo>
                  <a:lnTo>
                    <a:pt x="91198" y="157609"/>
                  </a:lnTo>
                  <a:lnTo>
                    <a:pt x="91697" y="159571"/>
                  </a:lnTo>
                  <a:lnTo>
                    <a:pt x="92998" y="160093"/>
                  </a:lnTo>
                  <a:lnTo>
                    <a:pt x="94510" y="160276"/>
                  </a:lnTo>
                  <a:lnTo>
                    <a:pt x="96559" y="160244"/>
                  </a:lnTo>
                  <a:lnTo>
                    <a:pt x="97026" y="160094"/>
                  </a:lnTo>
                  <a:lnTo>
                    <a:pt x="98330" y="158624"/>
                  </a:lnTo>
                  <a:lnTo>
                    <a:pt x="99937" y="158590"/>
                  </a:lnTo>
                  <a:lnTo>
                    <a:pt x="100638" y="160043"/>
                  </a:lnTo>
                  <a:lnTo>
                    <a:pt x="99008" y="160712"/>
                  </a:lnTo>
                  <a:lnTo>
                    <a:pt x="98676" y="161090"/>
                  </a:lnTo>
                  <a:lnTo>
                    <a:pt x="98989" y="161396"/>
                  </a:lnTo>
                  <a:lnTo>
                    <a:pt x="100213" y="162002"/>
                  </a:lnTo>
                  <a:lnTo>
                    <a:pt x="101913" y="161773"/>
                  </a:lnTo>
                  <a:lnTo>
                    <a:pt x="101964" y="162916"/>
                  </a:lnTo>
                  <a:lnTo>
                    <a:pt x="102344" y="163849"/>
                  </a:lnTo>
                  <a:lnTo>
                    <a:pt x="103184" y="164406"/>
                  </a:lnTo>
                  <a:lnTo>
                    <a:pt x="104093" y="164515"/>
                  </a:lnTo>
                  <a:lnTo>
                    <a:pt x="106104" y="164350"/>
                  </a:lnTo>
                  <a:lnTo>
                    <a:pt x="108086" y="163980"/>
                  </a:lnTo>
                  <a:lnTo>
                    <a:pt x="110129" y="163248"/>
                  </a:lnTo>
                  <a:lnTo>
                    <a:pt x="112215" y="162874"/>
                  </a:lnTo>
                  <a:lnTo>
                    <a:pt x="118447" y="163249"/>
                  </a:lnTo>
                  <a:lnTo>
                    <a:pt x="120684" y="164830"/>
                  </a:lnTo>
                  <a:lnTo>
                    <a:pt x="124940" y="165020"/>
                  </a:lnTo>
                  <a:lnTo>
                    <a:pt x="128896" y="165852"/>
                  </a:lnTo>
                  <a:lnTo>
                    <a:pt x="130974" y="165303"/>
                  </a:lnTo>
                  <a:lnTo>
                    <a:pt x="134523" y="164788"/>
                  </a:lnTo>
                  <a:lnTo>
                    <a:pt x="135092" y="165346"/>
                  </a:lnTo>
                  <a:lnTo>
                    <a:pt x="134633" y="168918"/>
                  </a:lnTo>
                  <a:lnTo>
                    <a:pt x="134852" y="169953"/>
                  </a:lnTo>
                  <a:lnTo>
                    <a:pt x="135875" y="170451"/>
                  </a:lnTo>
                  <a:lnTo>
                    <a:pt x="136888" y="170208"/>
                  </a:lnTo>
                  <a:lnTo>
                    <a:pt x="138132" y="169039"/>
                  </a:lnTo>
                  <a:lnTo>
                    <a:pt x="141109" y="168134"/>
                  </a:lnTo>
                  <a:lnTo>
                    <a:pt x="144202" y="168139"/>
                  </a:lnTo>
                  <a:lnTo>
                    <a:pt x="146804" y="165763"/>
                  </a:lnTo>
                  <a:lnTo>
                    <a:pt x="147571" y="165628"/>
                  </a:lnTo>
                  <a:lnTo>
                    <a:pt x="147093" y="166796"/>
                  </a:lnTo>
                  <a:lnTo>
                    <a:pt x="146700" y="169539"/>
                  </a:lnTo>
                  <a:lnTo>
                    <a:pt x="146141" y="171145"/>
                  </a:lnTo>
                  <a:lnTo>
                    <a:pt x="145892" y="172410"/>
                  </a:lnTo>
                  <a:lnTo>
                    <a:pt x="144152" y="173063"/>
                  </a:lnTo>
                  <a:lnTo>
                    <a:pt x="141522" y="173175"/>
                  </a:lnTo>
                  <a:lnTo>
                    <a:pt x="136724" y="172898"/>
                  </a:lnTo>
                  <a:lnTo>
                    <a:pt x="131887" y="173346"/>
                  </a:lnTo>
                  <a:lnTo>
                    <a:pt x="122928" y="174549"/>
                  </a:lnTo>
                  <a:lnTo>
                    <a:pt x="113951" y="175170"/>
                  </a:lnTo>
                  <a:lnTo>
                    <a:pt x="112744" y="174765"/>
                  </a:lnTo>
                  <a:lnTo>
                    <a:pt x="112716" y="173170"/>
                  </a:lnTo>
                  <a:lnTo>
                    <a:pt x="112522" y="172069"/>
                  </a:lnTo>
                  <a:lnTo>
                    <a:pt x="111941" y="171298"/>
                  </a:lnTo>
                  <a:lnTo>
                    <a:pt x="109166" y="170640"/>
                  </a:lnTo>
                  <a:lnTo>
                    <a:pt x="106519" y="169511"/>
                  </a:lnTo>
                  <a:lnTo>
                    <a:pt x="96140" y="167967"/>
                  </a:lnTo>
                  <a:lnTo>
                    <a:pt x="93692" y="167361"/>
                  </a:lnTo>
                  <a:lnTo>
                    <a:pt x="89718" y="167677"/>
                  </a:lnTo>
                  <a:lnTo>
                    <a:pt x="88263" y="167635"/>
                  </a:lnTo>
                  <a:lnTo>
                    <a:pt x="87261" y="167081"/>
                  </a:lnTo>
                  <a:lnTo>
                    <a:pt x="86572" y="166129"/>
                  </a:lnTo>
                  <a:lnTo>
                    <a:pt x="86261" y="163106"/>
                  </a:lnTo>
                  <a:lnTo>
                    <a:pt x="86753" y="160110"/>
                  </a:lnTo>
                  <a:lnTo>
                    <a:pt x="87613" y="159318"/>
                  </a:lnTo>
                  <a:lnTo>
                    <a:pt x="88008" y="160221"/>
                  </a:lnTo>
                  <a:lnTo>
                    <a:pt x="89027" y="160634"/>
                  </a:lnTo>
                  <a:lnTo>
                    <a:pt x="89973" y="159724"/>
                  </a:lnTo>
                  <a:lnTo>
                    <a:pt x="89964" y="158350"/>
                  </a:lnTo>
                  <a:close/>
                  <a:moveTo>
                    <a:pt x="167536" y="152919"/>
                  </a:moveTo>
                  <a:lnTo>
                    <a:pt x="167180" y="155589"/>
                  </a:lnTo>
                  <a:lnTo>
                    <a:pt x="166078" y="157728"/>
                  </a:lnTo>
                  <a:lnTo>
                    <a:pt x="167221" y="159502"/>
                  </a:lnTo>
                  <a:lnTo>
                    <a:pt x="167767" y="161523"/>
                  </a:lnTo>
                  <a:lnTo>
                    <a:pt x="166495" y="161857"/>
                  </a:lnTo>
                  <a:lnTo>
                    <a:pt x="165651" y="163269"/>
                  </a:lnTo>
                  <a:lnTo>
                    <a:pt x="164794" y="162079"/>
                  </a:lnTo>
                  <a:lnTo>
                    <a:pt x="165163" y="160705"/>
                  </a:lnTo>
                  <a:lnTo>
                    <a:pt x="164165" y="158526"/>
                  </a:lnTo>
                  <a:lnTo>
                    <a:pt x="166053" y="155292"/>
                  </a:lnTo>
                  <a:lnTo>
                    <a:pt x="166096" y="153720"/>
                  </a:lnTo>
                  <a:close/>
                  <a:moveTo>
                    <a:pt x="73059" y="138689"/>
                  </a:moveTo>
                  <a:lnTo>
                    <a:pt x="74106" y="140102"/>
                  </a:lnTo>
                  <a:lnTo>
                    <a:pt x="76300" y="142164"/>
                  </a:lnTo>
                  <a:lnTo>
                    <a:pt x="75343" y="143599"/>
                  </a:lnTo>
                  <a:lnTo>
                    <a:pt x="75086" y="144696"/>
                  </a:lnTo>
                  <a:lnTo>
                    <a:pt x="72815" y="143942"/>
                  </a:lnTo>
                  <a:lnTo>
                    <a:pt x="72182" y="142810"/>
                  </a:lnTo>
                  <a:lnTo>
                    <a:pt x="72068" y="140299"/>
                  </a:lnTo>
                  <a:lnTo>
                    <a:pt x="72664" y="139074"/>
                  </a:lnTo>
                  <a:close/>
                  <a:moveTo>
                    <a:pt x="189841" y="137431"/>
                  </a:moveTo>
                  <a:lnTo>
                    <a:pt x="189801" y="139035"/>
                  </a:lnTo>
                  <a:lnTo>
                    <a:pt x="187899" y="143092"/>
                  </a:lnTo>
                  <a:lnTo>
                    <a:pt x="186211" y="145117"/>
                  </a:lnTo>
                  <a:lnTo>
                    <a:pt x="186655" y="146743"/>
                  </a:lnTo>
                  <a:lnTo>
                    <a:pt x="183952" y="147193"/>
                  </a:lnTo>
                  <a:lnTo>
                    <a:pt x="181238" y="150175"/>
                  </a:lnTo>
                  <a:lnTo>
                    <a:pt x="179642" y="150705"/>
                  </a:lnTo>
                  <a:lnTo>
                    <a:pt x="179091" y="150636"/>
                  </a:lnTo>
                  <a:lnTo>
                    <a:pt x="178424" y="149468"/>
                  </a:lnTo>
                  <a:lnTo>
                    <a:pt x="179348" y="146645"/>
                  </a:lnTo>
                  <a:lnTo>
                    <a:pt x="178493" y="144829"/>
                  </a:lnTo>
                  <a:lnTo>
                    <a:pt x="178441" y="144059"/>
                  </a:lnTo>
                  <a:lnTo>
                    <a:pt x="179726" y="142993"/>
                  </a:lnTo>
                  <a:lnTo>
                    <a:pt x="180629" y="141396"/>
                  </a:lnTo>
                  <a:lnTo>
                    <a:pt x="182822" y="139667"/>
                  </a:lnTo>
                  <a:lnTo>
                    <a:pt x="188506" y="137619"/>
                  </a:lnTo>
                  <a:close/>
                  <a:moveTo>
                    <a:pt x="127421" y="136416"/>
                  </a:moveTo>
                  <a:lnTo>
                    <a:pt x="128713" y="137395"/>
                  </a:lnTo>
                  <a:lnTo>
                    <a:pt x="129045" y="138469"/>
                  </a:lnTo>
                  <a:lnTo>
                    <a:pt x="128017" y="139799"/>
                  </a:lnTo>
                  <a:lnTo>
                    <a:pt x="126570" y="139322"/>
                  </a:lnTo>
                  <a:lnTo>
                    <a:pt x="127160" y="138816"/>
                  </a:lnTo>
                  <a:lnTo>
                    <a:pt x="127508" y="138159"/>
                  </a:lnTo>
                  <a:lnTo>
                    <a:pt x="127546" y="137212"/>
                  </a:lnTo>
                  <a:lnTo>
                    <a:pt x="127154" y="136629"/>
                  </a:lnTo>
                  <a:close/>
                  <a:moveTo>
                    <a:pt x="148672" y="132238"/>
                  </a:moveTo>
                  <a:lnTo>
                    <a:pt x="149805" y="132602"/>
                  </a:lnTo>
                  <a:lnTo>
                    <a:pt x="150676" y="133587"/>
                  </a:lnTo>
                  <a:lnTo>
                    <a:pt x="148929" y="134192"/>
                  </a:lnTo>
                  <a:lnTo>
                    <a:pt x="147819" y="135462"/>
                  </a:lnTo>
                  <a:lnTo>
                    <a:pt x="146461" y="134562"/>
                  </a:lnTo>
                  <a:lnTo>
                    <a:pt x="146456" y="133333"/>
                  </a:lnTo>
                  <a:lnTo>
                    <a:pt x="147942" y="133709"/>
                  </a:lnTo>
                  <a:lnTo>
                    <a:pt x="148985" y="133017"/>
                  </a:lnTo>
                  <a:close/>
                  <a:moveTo>
                    <a:pt x="181674" y="132173"/>
                  </a:moveTo>
                  <a:lnTo>
                    <a:pt x="181836" y="132646"/>
                  </a:lnTo>
                  <a:lnTo>
                    <a:pt x="181818" y="133656"/>
                  </a:lnTo>
                  <a:lnTo>
                    <a:pt x="181622" y="134385"/>
                  </a:lnTo>
                  <a:lnTo>
                    <a:pt x="181138" y="134788"/>
                  </a:lnTo>
                  <a:lnTo>
                    <a:pt x="180028" y="133630"/>
                  </a:lnTo>
                  <a:lnTo>
                    <a:pt x="179976" y="133026"/>
                  </a:lnTo>
                  <a:lnTo>
                    <a:pt x="181106" y="132333"/>
                  </a:lnTo>
                  <a:close/>
                  <a:moveTo>
                    <a:pt x="108112" y="129062"/>
                  </a:moveTo>
                  <a:lnTo>
                    <a:pt x="108151" y="130553"/>
                  </a:lnTo>
                  <a:lnTo>
                    <a:pt x="108000" y="131087"/>
                  </a:lnTo>
                  <a:lnTo>
                    <a:pt x="103474" y="131806"/>
                  </a:lnTo>
                  <a:lnTo>
                    <a:pt x="103893" y="130097"/>
                  </a:lnTo>
                  <a:lnTo>
                    <a:pt x="104169" y="129557"/>
                  </a:lnTo>
                  <a:lnTo>
                    <a:pt x="105668" y="130352"/>
                  </a:lnTo>
                  <a:lnTo>
                    <a:pt x="106220" y="129946"/>
                  </a:lnTo>
                  <a:lnTo>
                    <a:pt x="106445" y="129476"/>
                  </a:lnTo>
                  <a:close/>
                  <a:moveTo>
                    <a:pt x="124921" y="128417"/>
                  </a:moveTo>
                  <a:lnTo>
                    <a:pt x="127376" y="130240"/>
                  </a:lnTo>
                  <a:lnTo>
                    <a:pt x="126819" y="131339"/>
                  </a:lnTo>
                  <a:lnTo>
                    <a:pt x="126434" y="131737"/>
                  </a:lnTo>
                  <a:lnTo>
                    <a:pt x="124761" y="130134"/>
                  </a:lnTo>
                  <a:lnTo>
                    <a:pt x="124126" y="129197"/>
                  </a:lnTo>
                  <a:close/>
                  <a:moveTo>
                    <a:pt x="168476" y="125472"/>
                  </a:moveTo>
                  <a:lnTo>
                    <a:pt x="170389" y="126393"/>
                  </a:lnTo>
                  <a:lnTo>
                    <a:pt x="166873" y="127910"/>
                  </a:lnTo>
                  <a:lnTo>
                    <a:pt x="165940" y="128712"/>
                  </a:lnTo>
                  <a:lnTo>
                    <a:pt x="163345" y="128885"/>
                  </a:lnTo>
                  <a:lnTo>
                    <a:pt x="161488" y="129993"/>
                  </a:lnTo>
                  <a:lnTo>
                    <a:pt x="160797" y="130023"/>
                  </a:lnTo>
                  <a:lnTo>
                    <a:pt x="161619" y="128797"/>
                  </a:lnTo>
                  <a:lnTo>
                    <a:pt x="163954" y="127117"/>
                  </a:lnTo>
                  <a:lnTo>
                    <a:pt x="167355" y="125637"/>
                  </a:lnTo>
                  <a:close/>
                  <a:moveTo>
                    <a:pt x="140505" y="124652"/>
                  </a:moveTo>
                  <a:lnTo>
                    <a:pt x="141915" y="125533"/>
                  </a:lnTo>
                  <a:lnTo>
                    <a:pt x="140151" y="126118"/>
                  </a:lnTo>
                  <a:lnTo>
                    <a:pt x="137380" y="128386"/>
                  </a:lnTo>
                  <a:lnTo>
                    <a:pt x="135428" y="128594"/>
                  </a:lnTo>
                  <a:lnTo>
                    <a:pt x="134811" y="128403"/>
                  </a:lnTo>
                  <a:lnTo>
                    <a:pt x="135996" y="127964"/>
                  </a:lnTo>
                  <a:lnTo>
                    <a:pt x="136828" y="127498"/>
                  </a:lnTo>
                  <a:lnTo>
                    <a:pt x="137227" y="126934"/>
                  </a:lnTo>
                  <a:lnTo>
                    <a:pt x="139207" y="125943"/>
                  </a:lnTo>
                  <a:close/>
                  <a:moveTo>
                    <a:pt x="112100" y="122454"/>
                  </a:moveTo>
                  <a:lnTo>
                    <a:pt x="113141" y="124351"/>
                  </a:lnTo>
                  <a:lnTo>
                    <a:pt x="112206" y="125057"/>
                  </a:lnTo>
                  <a:lnTo>
                    <a:pt x="111802" y="125168"/>
                  </a:lnTo>
                  <a:lnTo>
                    <a:pt x="111224" y="124096"/>
                  </a:lnTo>
                  <a:lnTo>
                    <a:pt x="111103" y="123096"/>
                  </a:lnTo>
                  <a:lnTo>
                    <a:pt x="111334" y="122510"/>
                  </a:lnTo>
                  <a:close/>
                  <a:moveTo>
                    <a:pt x="160140" y="120840"/>
                  </a:moveTo>
                  <a:lnTo>
                    <a:pt x="161864" y="121735"/>
                  </a:lnTo>
                  <a:lnTo>
                    <a:pt x="162956" y="122814"/>
                  </a:lnTo>
                  <a:lnTo>
                    <a:pt x="163489" y="123020"/>
                  </a:lnTo>
                  <a:lnTo>
                    <a:pt x="163366" y="123671"/>
                  </a:lnTo>
                  <a:lnTo>
                    <a:pt x="163038" y="124102"/>
                  </a:lnTo>
                  <a:lnTo>
                    <a:pt x="160831" y="124453"/>
                  </a:lnTo>
                  <a:lnTo>
                    <a:pt x="161224" y="122434"/>
                  </a:lnTo>
                  <a:close/>
                  <a:moveTo>
                    <a:pt x="123575" y="119280"/>
                  </a:moveTo>
                  <a:lnTo>
                    <a:pt x="124465" y="119553"/>
                  </a:lnTo>
                  <a:lnTo>
                    <a:pt x="124381" y="120919"/>
                  </a:lnTo>
                  <a:lnTo>
                    <a:pt x="124545" y="121320"/>
                  </a:lnTo>
                  <a:lnTo>
                    <a:pt x="122787" y="123281"/>
                  </a:lnTo>
                  <a:lnTo>
                    <a:pt x="121325" y="123069"/>
                  </a:lnTo>
                  <a:lnTo>
                    <a:pt x="120710" y="122171"/>
                  </a:lnTo>
                  <a:lnTo>
                    <a:pt x="121617" y="120327"/>
                  </a:lnTo>
                  <a:close/>
                  <a:moveTo>
                    <a:pt x="129993" y="118062"/>
                  </a:moveTo>
                  <a:lnTo>
                    <a:pt x="130857" y="118349"/>
                  </a:lnTo>
                  <a:lnTo>
                    <a:pt x="131377" y="119179"/>
                  </a:lnTo>
                  <a:lnTo>
                    <a:pt x="131297" y="122060"/>
                  </a:lnTo>
                  <a:lnTo>
                    <a:pt x="130449" y="123885"/>
                  </a:lnTo>
                  <a:lnTo>
                    <a:pt x="128477" y="124848"/>
                  </a:lnTo>
                  <a:lnTo>
                    <a:pt x="127132" y="123458"/>
                  </a:lnTo>
                  <a:lnTo>
                    <a:pt x="126380" y="121269"/>
                  </a:lnTo>
                  <a:close/>
                  <a:moveTo>
                    <a:pt x="106963" y="117710"/>
                  </a:moveTo>
                  <a:lnTo>
                    <a:pt x="107965" y="118165"/>
                  </a:lnTo>
                  <a:lnTo>
                    <a:pt x="108116" y="118793"/>
                  </a:lnTo>
                  <a:lnTo>
                    <a:pt x="107842" y="119877"/>
                  </a:lnTo>
                  <a:lnTo>
                    <a:pt x="107024" y="120260"/>
                  </a:lnTo>
                  <a:lnTo>
                    <a:pt x="105659" y="119702"/>
                  </a:lnTo>
                  <a:lnTo>
                    <a:pt x="106022" y="118304"/>
                  </a:lnTo>
                  <a:close/>
                  <a:moveTo>
                    <a:pt x="105802" y="110953"/>
                  </a:moveTo>
                  <a:lnTo>
                    <a:pt x="106184" y="111607"/>
                  </a:lnTo>
                  <a:lnTo>
                    <a:pt x="106912" y="112667"/>
                  </a:lnTo>
                  <a:lnTo>
                    <a:pt x="105901" y="114289"/>
                  </a:lnTo>
                  <a:lnTo>
                    <a:pt x="104644" y="115062"/>
                  </a:lnTo>
                  <a:lnTo>
                    <a:pt x="105061" y="113294"/>
                  </a:lnTo>
                  <a:lnTo>
                    <a:pt x="104441" y="112371"/>
                  </a:lnTo>
                  <a:lnTo>
                    <a:pt x="104996" y="111586"/>
                  </a:lnTo>
                  <a:close/>
                  <a:moveTo>
                    <a:pt x="116311" y="110092"/>
                  </a:moveTo>
                  <a:lnTo>
                    <a:pt x="117114" y="110485"/>
                  </a:lnTo>
                  <a:lnTo>
                    <a:pt x="117004" y="113135"/>
                  </a:lnTo>
                  <a:lnTo>
                    <a:pt x="116421" y="113112"/>
                  </a:lnTo>
                  <a:lnTo>
                    <a:pt x="116082" y="112703"/>
                  </a:lnTo>
                  <a:lnTo>
                    <a:pt x="116063" y="111689"/>
                  </a:lnTo>
                  <a:close/>
                  <a:moveTo>
                    <a:pt x="126076" y="110085"/>
                  </a:moveTo>
                  <a:lnTo>
                    <a:pt x="128615" y="111057"/>
                  </a:lnTo>
                  <a:lnTo>
                    <a:pt x="128492" y="111670"/>
                  </a:lnTo>
                  <a:lnTo>
                    <a:pt x="127283" y="112383"/>
                  </a:lnTo>
                  <a:lnTo>
                    <a:pt x="125169" y="112540"/>
                  </a:lnTo>
                  <a:lnTo>
                    <a:pt x="125292" y="110592"/>
                  </a:lnTo>
                  <a:close/>
                  <a:moveTo>
                    <a:pt x="148259" y="105865"/>
                  </a:moveTo>
                  <a:lnTo>
                    <a:pt x="147054" y="107265"/>
                  </a:lnTo>
                  <a:lnTo>
                    <a:pt x="145020" y="108570"/>
                  </a:lnTo>
                  <a:lnTo>
                    <a:pt x="141138" y="109568"/>
                  </a:lnTo>
                  <a:lnTo>
                    <a:pt x="140101" y="109666"/>
                  </a:lnTo>
                  <a:lnTo>
                    <a:pt x="140418" y="108645"/>
                  </a:lnTo>
                  <a:lnTo>
                    <a:pt x="142399" y="106873"/>
                  </a:lnTo>
                  <a:lnTo>
                    <a:pt x="145167" y="106786"/>
                  </a:lnTo>
                  <a:lnTo>
                    <a:pt x="147689" y="105898"/>
                  </a:lnTo>
                  <a:close/>
                  <a:moveTo>
                    <a:pt x="119248" y="105703"/>
                  </a:moveTo>
                  <a:lnTo>
                    <a:pt x="120408" y="106538"/>
                  </a:lnTo>
                  <a:lnTo>
                    <a:pt x="123362" y="106981"/>
                  </a:lnTo>
                  <a:lnTo>
                    <a:pt x="124035" y="107775"/>
                  </a:lnTo>
                  <a:lnTo>
                    <a:pt x="123215" y="109423"/>
                  </a:lnTo>
                  <a:lnTo>
                    <a:pt x="121835" y="109169"/>
                  </a:lnTo>
                  <a:lnTo>
                    <a:pt x="119527" y="107396"/>
                  </a:lnTo>
                  <a:lnTo>
                    <a:pt x="118738" y="106591"/>
                  </a:lnTo>
                  <a:lnTo>
                    <a:pt x="118300" y="105799"/>
                  </a:lnTo>
                  <a:close/>
                  <a:moveTo>
                    <a:pt x="104648" y="105651"/>
                  </a:moveTo>
                  <a:lnTo>
                    <a:pt x="105128" y="106512"/>
                  </a:lnTo>
                  <a:lnTo>
                    <a:pt x="104136" y="108356"/>
                  </a:lnTo>
                  <a:lnTo>
                    <a:pt x="102655" y="109597"/>
                  </a:lnTo>
                  <a:lnTo>
                    <a:pt x="102401" y="107736"/>
                  </a:lnTo>
                  <a:lnTo>
                    <a:pt x="103350" y="105778"/>
                  </a:lnTo>
                  <a:close/>
                  <a:moveTo>
                    <a:pt x="158719" y="102358"/>
                  </a:moveTo>
                  <a:lnTo>
                    <a:pt x="161438" y="103201"/>
                  </a:lnTo>
                  <a:lnTo>
                    <a:pt x="162194" y="103111"/>
                  </a:lnTo>
                  <a:lnTo>
                    <a:pt x="163479" y="103417"/>
                  </a:lnTo>
                  <a:lnTo>
                    <a:pt x="163820" y="104971"/>
                  </a:lnTo>
                  <a:lnTo>
                    <a:pt x="162118" y="105196"/>
                  </a:lnTo>
                  <a:lnTo>
                    <a:pt x="159173" y="106622"/>
                  </a:lnTo>
                  <a:lnTo>
                    <a:pt x="157920" y="106309"/>
                  </a:lnTo>
                  <a:lnTo>
                    <a:pt x="156422" y="105069"/>
                  </a:lnTo>
                  <a:lnTo>
                    <a:pt x="154042" y="104940"/>
                  </a:lnTo>
                  <a:lnTo>
                    <a:pt x="153338" y="104602"/>
                  </a:lnTo>
                  <a:lnTo>
                    <a:pt x="154612" y="103140"/>
                  </a:lnTo>
                  <a:lnTo>
                    <a:pt x="156927" y="102400"/>
                  </a:lnTo>
                  <a:close/>
                  <a:moveTo>
                    <a:pt x="23108" y="99333"/>
                  </a:moveTo>
                  <a:lnTo>
                    <a:pt x="24593" y="101294"/>
                  </a:lnTo>
                  <a:lnTo>
                    <a:pt x="26388" y="101608"/>
                  </a:lnTo>
                  <a:lnTo>
                    <a:pt x="27463" y="102513"/>
                  </a:lnTo>
                  <a:lnTo>
                    <a:pt x="29795" y="105004"/>
                  </a:lnTo>
                  <a:lnTo>
                    <a:pt x="27919" y="104387"/>
                  </a:lnTo>
                  <a:lnTo>
                    <a:pt x="25917" y="106110"/>
                  </a:lnTo>
                  <a:lnTo>
                    <a:pt x="23380" y="104097"/>
                  </a:lnTo>
                  <a:lnTo>
                    <a:pt x="21860" y="102058"/>
                  </a:lnTo>
                  <a:lnTo>
                    <a:pt x="21516" y="101241"/>
                  </a:lnTo>
                  <a:close/>
                  <a:moveTo>
                    <a:pt x="113744" y="97780"/>
                  </a:moveTo>
                  <a:lnTo>
                    <a:pt x="115173" y="99739"/>
                  </a:lnTo>
                  <a:lnTo>
                    <a:pt x="117412" y="99967"/>
                  </a:lnTo>
                  <a:lnTo>
                    <a:pt x="117238" y="101174"/>
                  </a:lnTo>
                  <a:lnTo>
                    <a:pt x="117946" y="102729"/>
                  </a:lnTo>
                  <a:lnTo>
                    <a:pt x="118194" y="103684"/>
                  </a:lnTo>
                  <a:lnTo>
                    <a:pt x="117542" y="105403"/>
                  </a:lnTo>
                  <a:lnTo>
                    <a:pt x="115814" y="103405"/>
                  </a:lnTo>
                  <a:lnTo>
                    <a:pt x="113923" y="102035"/>
                  </a:lnTo>
                  <a:lnTo>
                    <a:pt x="113215" y="100840"/>
                  </a:lnTo>
                  <a:lnTo>
                    <a:pt x="112062" y="100118"/>
                  </a:lnTo>
                  <a:lnTo>
                    <a:pt x="111748" y="98509"/>
                  </a:lnTo>
                  <a:lnTo>
                    <a:pt x="113146" y="97847"/>
                  </a:lnTo>
                  <a:close/>
                  <a:moveTo>
                    <a:pt x="84849" y="97755"/>
                  </a:moveTo>
                  <a:lnTo>
                    <a:pt x="85553" y="97885"/>
                  </a:lnTo>
                  <a:lnTo>
                    <a:pt x="85981" y="98290"/>
                  </a:lnTo>
                  <a:lnTo>
                    <a:pt x="86337" y="99426"/>
                  </a:lnTo>
                  <a:lnTo>
                    <a:pt x="85462" y="100060"/>
                  </a:lnTo>
                  <a:lnTo>
                    <a:pt x="84475" y="100028"/>
                  </a:lnTo>
                  <a:lnTo>
                    <a:pt x="83778" y="99795"/>
                  </a:lnTo>
                  <a:lnTo>
                    <a:pt x="83426" y="99289"/>
                  </a:lnTo>
                  <a:lnTo>
                    <a:pt x="83862" y="99047"/>
                  </a:lnTo>
                  <a:lnTo>
                    <a:pt x="84374" y="98030"/>
                  </a:lnTo>
                  <a:close/>
                  <a:moveTo>
                    <a:pt x="20270" y="85327"/>
                  </a:moveTo>
                  <a:lnTo>
                    <a:pt x="21357" y="87684"/>
                  </a:lnTo>
                  <a:lnTo>
                    <a:pt x="21631" y="90652"/>
                  </a:lnTo>
                  <a:lnTo>
                    <a:pt x="23190" y="91209"/>
                  </a:lnTo>
                  <a:lnTo>
                    <a:pt x="25261" y="93882"/>
                  </a:lnTo>
                  <a:lnTo>
                    <a:pt x="25082" y="95249"/>
                  </a:lnTo>
                  <a:lnTo>
                    <a:pt x="24652" y="95717"/>
                  </a:lnTo>
                  <a:lnTo>
                    <a:pt x="21221" y="94456"/>
                  </a:lnTo>
                  <a:lnTo>
                    <a:pt x="20398" y="95022"/>
                  </a:lnTo>
                  <a:lnTo>
                    <a:pt x="19394" y="94792"/>
                  </a:lnTo>
                  <a:lnTo>
                    <a:pt x="18774" y="93316"/>
                  </a:lnTo>
                  <a:lnTo>
                    <a:pt x="18845" y="92797"/>
                  </a:lnTo>
                  <a:lnTo>
                    <a:pt x="18284" y="91913"/>
                  </a:lnTo>
                  <a:lnTo>
                    <a:pt x="17815" y="91518"/>
                  </a:lnTo>
                  <a:lnTo>
                    <a:pt x="16464" y="92692"/>
                  </a:lnTo>
                  <a:lnTo>
                    <a:pt x="15612" y="92912"/>
                  </a:lnTo>
                  <a:lnTo>
                    <a:pt x="15606" y="91837"/>
                  </a:lnTo>
                  <a:lnTo>
                    <a:pt x="16854" y="88881"/>
                  </a:lnTo>
                  <a:lnTo>
                    <a:pt x="17437" y="88382"/>
                  </a:lnTo>
                  <a:lnTo>
                    <a:pt x="18463" y="89358"/>
                  </a:lnTo>
                  <a:lnTo>
                    <a:pt x="19307" y="88995"/>
                  </a:lnTo>
                  <a:lnTo>
                    <a:pt x="19942" y="87396"/>
                  </a:lnTo>
                  <a:lnTo>
                    <a:pt x="19985" y="85801"/>
                  </a:lnTo>
                  <a:close/>
                  <a:moveTo>
                    <a:pt x="22184" y="85094"/>
                  </a:moveTo>
                  <a:lnTo>
                    <a:pt x="22739" y="85292"/>
                  </a:lnTo>
                  <a:lnTo>
                    <a:pt x="23324" y="85933"/>
                  </a:lnTo>
                  <a:lnTo>
                    <a:pt x="23319" y="86588"/>
                  </a:lnTo>
                  <a:lnTo>
                    <a:pt x="23553" y="87290"/>
                  </a:lnTo>
                  <a:lnTo>
                    <a:pt x="24162" y="88136"/>
                  </a:lnTo>
                  <a:lnTo>
                    <a:pt x="24593" y="89070"/>
                  </a:lnTo>
                  <a:lnTo>
                    <a:pt x="23501" y="89348"/>
                  </a:lnTo>
                  <a:lnTo>
                    <a:pt x="22110" y="86887"/>
                  </a:lnTo>
                  <a:lnTo>
                    <a:pt x="21607" y="85189"/>
                  </a:lnTo>
                  <a:close/>
                  <a:moveTo>
                    <a:pt x="140766" y="82063"/>
                  </a:moveTo>
                  <a:lnTo>
                    <a:pt x="142932" y="83533"/>
                  </a:lnTo>
                  <a:lnTo>
                    <a:pt x="144036" y="83634"/>
                  </a:lnTo>
                  <a:lnTo>
                    <a:pt x="143612" y="85038"/>
                  </a:lnTo>
                  <a:lnTo>
                    <a:pt x="143798" y="85494"/>
                  </a:lnTo>
                  <a:lnTo>
                    <a:pt x="143962" y="89751"/>
                  </a:lnTo>
                  <a:lnTo>
                    <a:pt x="142939" y="90350"/>
                  </a:lnTo>
                  <a:lnTo>
                    <a:pt x="142770" y="91518"/>
                  </a:lnTo>
                  <a:lnTo>
                    <a:pt x="142569" y="91932"/>
                  </a:lnTo>
                  <a:lnTo>
                    <a:pt x="140458" y="93383"/>
                  </a:lnTo>
                  <a:lnTo>
                    <a:pt x="138100" y="91283"/>
                  </a:lnTo>
                  <a:lnTo>
                    <a:pt x="137711" y="90607"/>
                  </a:lnTo>
                  <a:lnTo>
                    <a:pt x="139442" y="89759"/>
                  </a:lnTo>
                  <a:lnTo>
                    <a:pt x="140300" y="88451"/>
                  </a:lnTo>
                  <a:lnTo>
                    <a:pt x="139604" y="86844"/>
                  </a:lnTo>
                  <a:lnTo>
                    <a:pt x="137201" y="84466"/>
                  </a:lnTo>
                  <a:lnTo>
                    <a:pt x="137087" y="82776"/>
                  </a:lnTo>
                  <a:close/>
                  <a:moveTo>
                    <a:pt x="23166" y="75808"/>
                  </a:moveTo>
                  <a:lnTo>
                    <a:pt x="23730" y="76971"/>
                  </a:lnTo>
                  <a:lnTo>
                    <a:pt x="23624" y="81119"/>
                  </a:lnTo>
                  <a:lnTo>
                    <a:pt x="23002" y="81883"/>
                  </a:lnTo>
                  <a:lnTo>
                    <a:pt x="22143" y="82082"/>
                  </a:lnTo>
                  <a:lnTo>
                    <a:pt x="21402" y="81946"/>
                  </a:lnTo>
                  <a:lnTo>
                    <a:pt x="20730" y="82063"/>
                  </a:lnTo>
                  <a:lnTo>
                    <a:pt x="20083" y="82556"/>
                  </a:lnTo>
                  <a:lnTo>
                    <a:pt x="20154" y="80513"/>
                  </a:lnTo>
                  <a:lnTo>
                    <a:pt x="20918" y="77978"/>
                  </a:lnTo>
                  <a:lnTo>
                    <a:pt x="21851" y="76496"/>
                  </a:lnTo>
                  <a:close/>
                  <a:moveTo>
                    <a:pt x="107004" y="72294"/>
                  </a:moveTo>
                  <a:lnTo>
                    <a:pt x="108738" y="73277"/>
                  </a:lnTo>
                  <a:lnTo>
                    <a:pt x="109118" y="74914"/>
                  </a:lnTo>
                  <a:lnTo>
                    <a:pt x="111185" y="76712"/>
                  </a:lnTo>
                  <a:lnTo>
                    <a:pt x="108848" y="77341"/>
                  </a:lnTo>
                  <a:lnTo>
                    <a:pt x="108228" y="77242"/>
                  </a:lnTo>
                  <a:lnTo>
                    <a:pt x="108749" y="76448"/>
                  </a:lnTo>
                  <a:lnTo>
                    <a:pt x="108790" y="76114"/>
                  </a:lnTo>
                  <a:lnTo>
                    <a:pt x="106460" y="74662"/>
                  </a:lnTo>
                  <a:lnTo>
                    <a:pt x="106734" y="72775"/>
                  </a:lnTo>
                  <a:close/>
                  <a:moveTo>
                    <a:pt x="81068" y="70881"/>
                  </a:moveTo>
                  <a:lnTo>
                    <a:pt x="83340" y="72853"/>
                  </a:lnTo>
                  <a:lnTo>
                    <a:pt x="84590" y="75656"/>
                  </a:lnTo>
                  <a:lnTo>
                    <a:pt x="85762" y="76602"/>
                  </a:lnTo>
                  <a:lnTo>
                    <a:pt x="88222" y="77718"/>
                  </a:lnTo>
                  <a:lnTo>
                    <a:pt x="89377" y="77860"/>
                  </a:lnTo>
                  <a:lnTo>
                    <a:pt x="93573" y="79875"/>
                  </a:lnTo>
                  <a:lnTo>
                    <a:pt x="98455" y="80277"/>
                  </a:lnTo>
                  <a:lnTo>
                    <a:pt x="99086" y="80857"/>
                  </a:lnTo>
                  <a:lnTo>
                    <a:pt x="99686" y="82409"/>
                  </a:lnTo>
                  <a:lnTo>
                    <a:pt x="100682" y="83626"/>
                  </a:lnTo>
                  <a:lnTo>
                    <a:pt x="100932" y="84573"/>
                  </a:lnTo>
                  <a:lnTo>
                    <a:pt x="100412" y="85623"/>
                  </a:lnTo>
                  <a:lnTo>
                    <a:pt x="101133" y="88834"/>
                  </a:lnTo>
                  <a:lnTo>
                    <a:pt x="102364" y="91881"/>
                  </a:lnTo>
                  <a:lnTo>
                    <a:pt x="104219" y="93358"/>
                  </a:lnTo>
                  <a:lnTo>
                    <a:pt x="106525" y="93804"/>
                  </a:lnTo>
                  <a:lnTo>
                    <a:pt x="108721" y="93743"/>
                  </a:lnTo>
                  <a:lnTo>
                    <a:pt x="109276" y="94347"/>
                  </a:lnTo>
                  <a:lnTo>
                    <a:pt x="109058" y="97010"/>
                  </a:lnTo>
                  <a:lnTo>
                    <a:pt x="108129" y="98046"/>
                  </a:lnTo>
                  <a:lnTo>
                    <a:pt x="107374" y="98298"/>
                  </a:lnTo>
                  <a:lnTo>
                    <a:pt x="106717" y="98026"/>
                  </a:lnTo>
                  <a:lnTo>
                    <a:pt x="106123" y="97399"/>
                  </a:lnTo>
                  <a:lnTo>
                    <a:pt x="105476" y="97103"/>
                  </a:lnTo>
                  <a:lnTo>
                    <a:pt x="104214" y="97051"/>
                  </a:lnTo>
                  <a:lnTo>
                    <a:pt x="103292" y="95979"/>
                  </a:lnTo>
                  <a:lnTo>
                    <a:pt x="100954" y="94512"/>
                  </a:lnTo>
                  <a:lnTo>
                    <a:pt x="100524" y="93637"/>
                  </a:lnTo>
                  <a:lnTo>
                    <a:pt x="100446" y="92285"/>
                  </a:lnTo>
                  <a:lnTo>
                    <a:pt x="99453" y="91289"/>
                  </a:lnTo>
                  <a:lnTo>
                    <a:pt x="98540" y="89393"/>
                  </a:lnTo>
                  <a:lnTo>
                    <a:pt x="97671" y="88870"/>
                  </a:lnTo>
                  <a:lnTo>
                    <a:pt x="97192" y="87921"/>
                  </a:lnTo>
                  <a:lnTo>
                    <a:pt x="97153" y="87513"/>
                  </a:lnTo>
                  <a:lnTo>
                    <a:pt x="93750" y="87237"/>
                  </a:lnTo>
                  <a:lnTo>
                    <a:pt x="90932" y="87224"/>
                  </a:lnTo>
                  <a:lnTo>
                    <a:pt x="88544" y="86147"/>
                  </a:lnTo>
                  <a:lnTo>
                    <a:pt x="87805" y="83329"/>
                  </a:lnTo>
                  <a:lnTo>
                    <a:pt x="86389" y="82571"/>
                  </a:lnTo>
                  <a:lnTo>
                    <a:pt x="85326" y="81773"/>
                  </a:lnTo>
                  <a:lnTo>
                    <a:pt x="84441" y="80667"/>
                  </a:lnTo>
                  <a:lnTo>
                    <a:pt x="82204" y="78627"/>
                  </a:lnTo>
                  <a:lnTo>
                    <a:pt x="79729" y="76918"/>
                  </a:lnTo>
                  <a:lnTo>
                    <a:pt x="77337" y="75793"/>
                  </a:lnTo>
                  <a:lnTo>
                    <a:pt x="74797" y="75055"/>
                  </a:lnTo>
                  <a:lnTo>
                    <a:pt x="72733" y="75926"/>
                  </a:lnTo>
                  <a:lnTo>
                    <a:pt x="71530" y="75719"/>
                  </a:lnTo>
                  <a:lnTo>
                    <a:pt x="71286" y="75130"/>
                  </a:lnTo>
                  <a:lnTo>
                    <a:pt x="73851" y="73957"/>
                  </a:lnTo>
                  <a:lnTo>
                    <a:pt x="77378" y="71714"/>
                  </a:lnTo>
                  <a:lnTo>
                    <a:pt x="79863" y="70973"/>
                  </a:lnTo>
                  <a:close/>
                  <a:moveTo>
                    <a:pt x="87287" y="66387"/>
                  </a:moveTo>
                  <a:lnTo>
                    <a:pt x="91396" y="68825"/>
                  </a:lnTo>
                  <a:lnTo>
                    <a:pt x="90409" y="69700"/>
                  </a:lnTo>
                  <a:lnTo>
                    <a:pt x="88883" y="69317"/>
                  </a:lnTo>
                  <a:close/>
                  <a:moveTo>
                    <a:pt x="95622" y="64855"/>
                  </a:moveTo>
                  <a:lnTo>
                    <a:pt x="94933" y="66595"/>
                  </a:lnTo>
                  <a:lnTo>
                    <a:pt x="93789" y="67688"/>
                  </a:lnTo>
                  <a:lnTo>
                    <a:pt x="92755" y="67992"/>
                  </a:lnTo>
                  <a:lnTo>
                    <a:pt x="93791" y="65926"/>
                  </a:lnTo>
                  <a:close/>
                  <a:moveTo>
                    <a:pt x="148180" y="61866"/>
                  </a:moveTo>
                  <a:lnTo>
                    <a:pt x="149559" y="63255"/>
                  </a:lnTo>
                  <a:lnTo>
                    <a:pt x="149175" y="64793"/>
                  </a:lnTo>
                  <a:lnTo>
                    <a:pt x="152233" y="67340"/>
                  </a:lnTo>
                  <a:lnTo>
                    <a:pt x="153276" y="68951"/>
                  </a:lnTo>
                  <a:lnTo>
                    <a:pt x="153660" y="70521"/>
                  </a:lnTo>
                  <a:lnTo>
                    <a:pt x="153403" y="70971"/>
                  </a:lnTo>
                  <a:lnTo>
                    <a:pt x="152243" y="70120"/>
                  </a:lnTo>
                  <a:lnTo>
                    <a:pt x="151296" y="69849"/>
                  </a:lnTo>
                  <a:lnTo>
                    <a:pt x="151615" y="70971"/>
                  </a:lnTo>
                  <a:lnTo>
                    <a:pt x="152589" y="71935"/>
                  </a:lnTo>
                  <a:lnTo>
                    <a:pt x="150855" y="72487"/>
                  </a:lnTo>
                  <a:lnTo>
                    <a:pt x="149117" y="72458"/>
                  </a:lnTo>
                  <a:lnTo>
                    <a:pt x="144046" y="71115"/>
                  </a:lnTo>
                  <a:lnTo>
                    <a:pt x="142876" y="69688"/>
                  </a:lnTo>
                  <a:lnTo>
                    <a:pt x="145910" y="67538"/>
                  </a:lnTo>
                  <a:lnTo>
                    <a:pt x="146530" y="66672"/>
                  </a:lnTo>
                  <a:lnTo>
                    <a:pt x="144381" y="66757"/>
                  </a:lnTo>
                  <a:lnTo>
                    <a:pt x="142090" y="69311"/>
                  </a:lnTo>
                  <a:lnTo>
                    <a:pt x="138417" y="68189"/>
                  </a:lnTo>
                  <a:lnTo>
                    <a:pt x="137294" y="67162"/>
                  </a:lnTo>
                  <a:lnTo>
                    <a:pt x="137043" y="66608"/>
                  </a:lnTo>
                  <a:lnTo>
                    <a:pt x="138490" y="64341"/>
                  </a:lnTo>
                  <a:lnTo>
                    <a:pt x="141075" y="64417"/>
                  </a:lnTo>
                  <a:lnTo>
                    <a:pt x="142444" y="63907"/>
                  </a:lnTo>
                  <a:lnTo>
                    <a:pt x="144135" y="63190"/>
                  </a:lnTo>
                  <a:lnTo>
                    <a:pt x="144148" y="62112"/>
                  </a:lnTo>
                  <a:close/>
                  <a:moveTo>
                    <a:pt x="4248" y="50509"/>
                  </a:moveTo>
                  <a:lnTo>
                    <a:pt x="5422" y="51103"/>
                  </a:lnTo>
                  <a:lnTo>
                    <a:pt x="6182" y="51716"/>
                  </a:lnTo>
                  <a:lnTo>
                    <a:pt x="6420" y="52418"/>
                  </a:lnTo>
                  <a:lnTo>
                    <a:pt x="4770" y="53826"/>
                  </a:lnTo>
                  <a:lnTo>
                    <a:pt x="4427" y="54463"/>
                  </a:lnTo>
                  <a:lnTo>
                    <a:pt x="5697" y="55727"/>
                  </a:lnTo>
                  <a:lnTo>
                    <a:pt x="5675" y="56233"/>
                  </a:lnTo>
                  <a:lnTo>
                    <a:pt x="6211" y="58677"/>
                  </a:lnTo>
                  <a:lnTo>
                    <a:pt x="6828" y="59599"/>
                  </a:lnTo>
                  <a:lnTo>
                    <a:pt x="8430" y="60334"/>
                  </a:lnTo>
                  <a:lnTo>
                    <a:pt x="9540" y="60577"/>
                  </a:lnTo>
                  <a:lnTo>
                    <a:pt x="10020" y="62032"/>
                  </a:lnTo>
                  <a:lnTo>
                    <a:pt x="7265" y="61129"/>
                  </a:lnTo>
                  <a:lnTo>
                    <a:pt x="5252" y="59829"/>
                  </a:lnTo>
                  <a:lnTo>
                    <a:pt x="3591" y="56615"/>
                  </a:lnTo>
                  <a:lnTo>
                    <a:pt x="54" y="52953"/>
                  </a:lnTo>
                  <a:lnTo>
                    <a:pt x="0" y="51889"/>
                  </a:lnTo>
                  <a:lnTo>
                    <a:pt x="1345" y="51082"/>
                  </a:lnTo>
                  <a:close/>
                  <a:moveTo>
                    <a:pt x="128309" y="44914"/>
                  </a:moveTo>
                  <a:lnTo>
                    <a:pt x="128056" y="46257"/>
                  </a:lnTo>
                  <a:lnTo>
                    <a:pt x="127220" y="47137"/>
                  </a:lnTo>
                  <a:lnTo>
                    <a:pt x="126605" y="48654"/>
                  </a:lnTo>
                  <a:lnTo>
                    <a:pt x="126272" y="50821"/>
                  </a:lnTo>
                  <a:lnTo>
                    <a:pt x="124983" y="50873"/>
                  </a:lnTo>
                  <a:lnTo>
                    <a:pt x="124202" y="50435"/>
                  </a:lnTo>
                  <a:lnTo>
                    <a:pt x="123945" y="49616"/>
                  </a:lnTo>
                  <a:lnTo>
                    <a:pt x="123893" y="48581"/>
                  </a:lnTo>
                  <a:lnTo>
                    <a:pt x="123327" y="48621"/>
                  </a:lnTo>
                  <a:lnTo>
                    <a:pt x="122871" y="49746"/>
                  </a:lnTo>
                  <a:lnTo>
                    <a:pt x="122472" y="50253"/>
                  </a:lnTo>
                  <a:lnTo>
                    <a:pt x="121174" y="50360"/>
                  </a:lnTo>
                  <a:lnTo>
                    <a:pt x="119753" y="49668"/>
                  </a:lnTo>
                  <a:lnTo>
                    <a:pt x="119820" y="48171"/>
                  </a:lnTo>
                  <a:lnTo>
                    <a:pt x="119535" y="46438"/>
                  </a:lnTo>
                  <a:lnTo>
                    <a:pt x="119660" y="45831"/>
                  </a:lnTo>
                  <a:lnTo>
                    <a:pt x="123556" y="45681"/>
                  </a:lnTo>
                  <a:lnTo>
                    <a:pt x="124696" y="46961"/>
                  </a:lnTo>
                  <a:lnTo>
                    <a:pt x="126074" y="46219"/>
                  </a:lnTo>
                  <a:lnTo>
                    <a:pt x="126639" y="45417"/>
                  </a:lnTo>
                  <a:close/>
                  <a:moveTo>
                    <a:pt x="130950" y="32341"/>
                  </a:moveTo>
                  <a:lnTo>
                    <a:pt x="132183" y="32966"/>
                  </a:lnTo>
                  <a:lnTo>
                    <a:pt x="133066" y="33702"/>
                  </a:lnTo>
                  <a:lnTo>
                    <a:pt x="133541" y="34679"/>
                  </a:lnTo>
                  <a:lnTo>
                    <a:pt x="131040" y="35363"/>
                  </a:lnTo>
                  <a:lnTo>
                    <a:pt x="128285" y="33206"/>
                  </a:lnTo>
                  <a:close/>
                  <a:moveTo>
                    <a:pt x="110049" y="25075"/>
                  </a:moveTo>
                  <a:lnTo>
                    <a:pt x="112167" y="25249"/>
                  </a:lnTo>
                  <a:lnTo>
                    <a:pt x="113372" y="26719"/>
                  </a:lnTo>
                  <a:lnTo>
                    <a:pt x="113653" y="27413"/>
                  </a:lnTo>
                  <a:lnTo>
                    <a:pt x="113262" y="28592"/>
                  </a:lnTo>
                  <a:lnTo>
                    <a:pt x="113385" y="29738"/>
                  </a:lnTo>
                  <a:lnTo>
                    <a:pt x="110548" y="30675"/>
                  </a:lnTo>
                  <a:lnTo>
                    <a:pt x="107665" y="28903"/>
                  </a:lnTo>
                  <a:lnTo>
                    <a:pt x="107691" y="27849"/>
                  </a:lnTo>
                  <a:lnTo>
                    <a:pt x="109213" y="25709"/>
                  </a:lnTo>
                  <a:close/>
                  <a:moveTo>
                    <a:pt x="144925" y="0"/>
                  </a:moveTo>
                  <a:lnTo>
                    <a:pt x="147585" y="721"/>
                  </a:lnTo>
                  <a:lnTo>
                    <a:pt x="149568" y="1256"/>
                  </a:lnTo>
                  <a:lnTo>
                    <a:pt x="150717" y="2129"/>
                  </a:lnTo>
                  <a:lnTo>
                    <a:pt x="151436" y="2926"/>
                  </a:lnTo>
                  <a:lnTo>
                    <a:pt x="152530" y="3614"/>
                  </a:lnTo>
                  <a:lnTo>
                    <a:pt x="153345" y="3772"/>
                  </a:lnTo>
                  <a:lnTo>
                    <a:pt x="153973" y="6128"/>
                  </a:lnTo>
                  <a:lnTo>
                    <a:pt x="154308" y="9045"/>
                  </a:lnTo>
                  <a:lnTo>
                    <a:pt x="153809" y="10301"/>
                  </a:lnTo>
                  <a:lnTo>
                    <a:pt x="152351" y="10592"/>
                  </a:lnTo>
                  <a:lnTo>
                    <a:pt x="147802" y="13345"/>
                  </a:lnTo>
                  <a:lnTo>
                    <a:pt x="147692" y="15861"/>
                  </a:lnTo>
                  <a:lnTo>
                    <a:pt x="147752" y="17079"/>
                  </a:lnTo>
                  <a:lnTo>
                    <a:pt x="147845" y="17940"/>
                  </a:lnTo>
                  <a:lnTo>
                    <a:pt x="148320" y="18665"/>
                  </a:lnTo>
                  <a:lnTo>
                    <a:pt x="148320" y="19710"/>
                  </a:lnTo>
                  <a:lnTo>
                    <a:pt x="147810" y="20829"/>
                  </a:lnTo>
                  <a:lnTo>
                    <a:pt x="145823" y="22703"/>
                  </a:lnTo>
                  <a:lnTo>
                    <a:pt x="144446" y="24193"/>
                  </a:lnTo>
                  <a:lnTo>
                    <a:pt x="142904" y="26211"/>
                  </a:lnTo>
                  <a:lnTo>
                    <a:pt x="142032" y="26457"/>
                  </a:lnTo>
                  <a:lnTo>
                    <a:pt x="141352" y="26812"/>
                  </a:lnTo>
                  <a:lnTo>
                    <a:pt x="140727" y="25699"/>
                  </a:lnTo>
                  <a:lnTo>
                    <a:pt x="137298" y="23731"/>
                  </a:lnTo>
                  <a:lnTo>
                    <a:pt x="129362" y="22583"/>
                  </a:lnTo>
                  <a:lnTo>
                    <a:pt x="125571" y="21129"/>
                  </a:lnTo>
                  <a:lnTo>
                    <a:pt x="123908" y="21399"/>
                  </a:lnTo>
                  <a:lnTo>
                    <a:pt x="120688" y="19771"/>
                  </a:lnTo>
                  <a:lnTo>
                    <a:pt x="118481" y="20486"/>
                  </a:lnTo>
                  <a:lnTo>
                    <a:pt x="113800" y="23378"/>
                  </a:lnTo>
                  <a:lnTo>
                    <a:pt x="111273" y="23064"/>
                  </a:lnTo>
                  <a:lnTo>
                    <a:pt x="108572" y="21326"/>
                  </a:lnTo>
                  <a:lnTo>
                    <a:pt x="106814" y="21006"/>
                  </a:lnTo>
                  <a:lnTo>
                    <a:pt x="104752" y="21927"/>
                  </a:lnTo>
                  <a:lnTo>
                    <a:pt x="101448" y="25253"/>
                  </a:lnTo>
                  <a:lnTo>
                    <a:pt x="98086" y="26882"/>
                  </a:lnTo>
                  <a:lnTo>
                    <a:pt x="95074" y="26245"/>
                  </a:lnTo>
                  <a:lnTo>
                    <a:pt x="91021" y="26259"/>
                  </a:lnTo>
                  <a:lnTo>
                    <a:pt x="90588" y="28117"/>
                  </a:lnTo>
                  <a:lnTo>
                    <a:pt x="91373" y="29402"/>
                  </a:lnTo>
                  <a:lnTo>
                    <a:pt x="93588" y="31593"/>
                  </a:lnTo>
                  <a:lnTo>
                    <a:pt x="92549" y="33239"/>
                  </a:lnTo>
                  <a:lnTo>
                    <a:pt x="93320" y="34888"/>
                  </a:lnTo>
                  <a:lnTo>
                    <a:pt x="94763" y="35223"/>
                  </a:lnTo>
                  <a:lnTo>
                    <a:pt x="96942" y="35130"/>
                  </a:lnTo>
                  <a:lnTo>
                    <a:pt x="100971" y="37263"/>
                  </a:lnTo>
                  <a:lnTo>
                    <a:pt x="102733" y="39510"/>
                  </a:lnTo>
                  <a:lnTo>
                    <a:pt x="103858" y="41968"/>
                  </a:lnTo>
                  <a:lnTo>
                    <a:pt x="101405" y="40206"/>
                  </a:lnTo>
                  <a:lnTo>
                    <a:pt x="99777" y="38511"/>
                  </a:lnTo>
                  <a:lnTo>
                    <a:pt x="97505" y="37896"/>
                  </a:lnTo>
                  <a:lnTo>
                    <a:pt x="94346" y="36452"/>
                  </a:lnTo>
                  <a:lnTo>
                    <a:pt x="92362" y="36211"/>
                  </a:lnTo>
                  <a:lnTo>
                    <a:pt x="90250" y="37212"/>
                  </a:lnTo>
                  <a:lnTo>
                    <a:pt x="90085" y="38348"/>
                  </a:lnTo>
                  <a:lnTo>
                    <a:pt x="92362" y="40468"/>
                  </a:lnTo>
                  <a:lnTo>
                    <a:pt x="94443" y="41772"/>
                  </a:lnTo>
                  <a:lnTo>
                    <a:pt x="95547" y="42833"/>
                  </a:lnTo>
                  <a:lnTo>
                    <a:pt x="96283" y="45180"/>
                  </a:lnTo>
                  <a:lnTo>
                    <a:pt x="95864" y="45977"/>
                  </a:lnTo>
                  <a:lnTo>
                    <a:pt x="95095" y="46719"/>
                  </a:lnTo>
                  <a:lnTo>
                    <a:pt x="92625" y="45241"/>
                  </a:lnTo>
                  <a:lnTo>
                    <a:pt x="88848" y="39980"/>
                  </a:lnTo>
                  <a:lnTo>
                    <a:pt x="83579" y="38931"/>
                  </a:lnTo>
                  <a:lnTo>
                    <a:pt x="82698" y="40029"/>
                  </a:lnTo>
                  <a:lnTo>
                    <a:pt x="83733" y="42811"/>
                  </a:lnTo>
                  <a:lnTo>
                    <a:pt x="84482" y="43894"/>
                  </a:lnTo>
                  <a:lnTo>
                    <a:pt x="89060" y="46894"/>
                  </a:lnTo>
                  <a:lnTo>
                    <a:pt x="88693" y="47530"/>
                  </a:lnTo>
                  <a:lnTo>
                    <a:pt x="88025" y="47801"/>
                  </a:lnTo>
                  <a:lnTo>
                    <a:pt x="82901" y="46087"/>
                  </a:lnTo>
                  <a:lnTo>
                    <a:pt x="81411" y="43476"/>
                  </a:lnTo>
                  <a:lnTo>
                    <a:pt x="81053" y="40173"/>
                  </a:lnTo>
                  <a:lnTo>
                    <a:pt x="76324" y="37877"/>
                  </a:lnTo>
                  <a:lnTo>
                    <a:pt x="71864" y="35377"/>
                  </a:lnTo>
                  <a:lnTo>
                    <a:pt x="70867" y="33002"/>
                  </a:lnTo>
                  <a:lnTo>
                    <a:pt x="71785" y="32121"/>
                  </a:lnTo>
                  <a:lnTo>
                    <a:pt x="72435" y="30375"/>
                  </a:lnTo>
                  <a:lnTo>
                    <a:pt x="69984" y="30697"/>
                  </a:lnTo>
                  <a:lnTo>
                    <a:pt x="68446" y="31801"/>
                  </a:lnTo>
                  <a:lnTo>
                    <a:pt x="65961" y="32872"/>
                  </a:lnTo>
                  <a:lnTo>
                    <a:pt x="65859" y="34625"/>
                  </a:lnTo>
                  <a:lnTo>
                    <a:pt x="66252" y="36248"/>
                  </a:lnTo>
                  <a:lnTo>
                    <a:pt x="65430" y="38606"/>
                  </a:lnTo>
                  <a:lnTo>
                    <a:pt x="64631" y="42709"/>
                  </a:lnTo>
                  <a:lnTo>
                    <a:pt x="65136" y="44859"/>
                  </a:lnTo>
                  <a:lnTo>
                    <a:pt x="70521" y="51017"/>
                  </a:lnTo>
                  <a:lnTo>
                    <a:pt x="72363" y="55482"/>
                  </a:lnTo>
                  <a:lnTo>
                    <a:pt x="73685" y="57173"/>
                  </a:lnTo>
                  <a:lnTo>
                    <a:pt x="76441" y="59037"/>
                  </a:lnTo>
                  <a:lnTo>
                    <a:pt x="79314" y="62503"/>
                  </a:lnTo>
                  <a:lnTo>
                    <a:pt x="80533" y="64308"/>
                  </a:lnTo>
                  <a:lnTo>
                    <a:pt x="81400" y="67259"/>
                  </a:lnTo>
                  <a:lnTo>
                    <a:pt x="78982" y="69084"/>
                  </a:lnTo>
                  <a:lnTo>
                    <a:pt x="77574" y="69160"/>
                  </a:lnTo>
                  <a:lnTo>
                    <a:pt x="76794" y="68350"/>
                  </a:lnTo>
                  <a:lnTo>
                    <a:pt x="77885" y="66339"/>
                  </a:lnTo>
                  <a:lnTo>
                    <a:pt x="77730" y="65113"/>
                  </a:lnTo>
                  <a:lnTo>
                    <a:pt x="73996" y="63214"/>
                  </a:lnTo>
                  <a:lnTo>
                    <a:pt x="72415" y="63854"/>
                  </a:lnTo>
                  <a:lnTo>
                    <a:pt x="70593" y="65091"/>
                  </a:lnTo>
                  <a:lnTo>
                    <a:pt x="71633" y="67387"/>
                  </a:lnTo>
                  <a:lnTo>
                    <a:pt x="72804" y="68899"/>
                  </a:lnTo>
                  <a:lnTo>
                    <a:pt x="73391" y="70984"/>
                  </a:lnTo>
                  <a:lnTo>
                    <a:pt x="75629" y="70803"/>
                  </a:lnTo>
                  <a:lnTo>
                    <a:pt x="72616" y="73135"/>
                  </a:lnTo>
                  <a:lnTo>
                    <a:pt x="69789" y="74326"/>
                  </a:lnTo>
                  <a:lnTo>
                    <a:pt x="67008" y="74395"/>
                  </a:lnTo>
                  <a:lnTo>
                    <a:pt x="65237" y="74611"/>
                  </a:lnTo>
                  <a:lnTo>
                    <a:pt x="64627" y="75207"/>
                  </a:lnTo>
                  <a:lnTo>
                    <a:pt x="66067" y="75641"/>
                  </a:lnTo>
                  <a:lnTo>
                    <a:pt x="67243" y="75680"/>
                  </a:lnTo>
                  <a:lnTo>
                    <a:pt x="69157" y="76939"/>
                  </a:lnTo>
                  <a:lnTo>
                    <a:pt x="74603" y="78449"/>
                  </a:lnTo>
                  <a:lnTo>
                    <a:pt x="77198" y="80355"/>
                  </a:lnTo>
                  <a:lnTo>
                    <a:pt x="79747" y="80529"/>
                  </a:lnTo>
                  <a:lnTo>
                    <a:pt x="82312" y="84025"/>
                  </a:lnTo>
                  <a:lnTo>
                    <a:pt x="86749" y="84955"/>
                  </a:lnTo>
                  <a:lnTo>
                    <a:pt x="89278" y="88478"/>
                  </a:lnTo>
                  <a:lnTo>
                    <a:pt x="92640" y="89171"/>
                  </a:lnTo>
                  <a:lnTo>
                    <a:pt x="95536" y="90469"/>
                  </a:lnTo>
                  <a:lnTo>
                    <a:pt x="96384" y="91707"/>
                  </a:lnTo>
                  <a:lnTo>
                    <a:pt x="96807" y="93941"/>
                  </a:lnTo>
                  <a:lnTo>
                    <a:pt x="96995" y="98672"/>
                  </a:lnTo>
                  <a:lnTo>
                    <a:pt x="97622" y="102191"/>
                  </a:lnTo>
                  <a:lnTo>
                    <a:pt x="97643" y="103303"/>
                  </a:lnTo>
                  <a:lnTo>
                    <a:pt x="97490" y="104963"/>
                  </a:lnTo>
                  <a:lnTo>
                    <a:pt x="96702" y="105778"/>
                  </a:lnTo>
                  <a:lnTo>
                    <a:pt x="95637" y="105803"/>
                  </a:lnTo>
                  <a:lnTo>
                    <a:pt x="93553" y="103219"/>
                  </a:lnTo>
                  <a:lnTo>
                    <a:pt x="90357" y="100497"/>
                  </a:lnTo>
                  <a:lnTo>
                    <a:pt x="86989" y="97256"/>
                  </a:lnTo>
                  <a:lnTo>
                    <a:pt x="86032" y="96687"/>
                  </a:lnTo>
                  <a:lnTo>
                    <a:pt x="85249" y="96633"/>
                  </a:lnTo>
                  <a:lnTo>
                    <a:pt x="83446" y="97730"/>
                  </a:lnTo>
                  <a:lnTo>
                    <a:pt x="78436" y="98577"/>
                  </a:lnTo>
                  <a:lnTo>
                    <a:pt x="76086" y="99761"/>
                  </a:lnTo>
                  <a:lnTo>
                    <a:pt x="75203" y="100022"/>
                  </a:lnTo>
                  <a:lnTo>
                    <a:pt x="74957" y="100643"/>
                  </a:lnTo>
                  <a:lnTo>
                    <a:pt x="76058" y="101290"/>
                  </a:lnTo>
                  <a:lnTo>
                    <a:pt x="77408" y="102770"/>
                  </a:lnTo>
                  <a:lnTo>
                    <a:pt x="77408" y="104793"/>
                  </a:lnTo>
                  <a:lnTo>
                    <a:pt x="78522" y="107248"/>
                  </a:lnTo>
                  <a:lnTo>
                    <a:pt x="79962" y="107882"/>
                  </a:lnTo>
                  <a:lnTo>
                    <a:pt x="81839" y="107828"/>
                  </a:lnTo>
                  <a:lnTo>
                    <a:pt x="82914" y="108281"/>
                  </a:lnTo>
                  <a:lnTo>
                    <a:pt x="83193" y="109258"/>
                  </a:lnTo>
                  <a:lnTo>
                    <a:pt x="84283" y="110398"/>
                  </a:lnTo>
                  <a:lnTo>
                    <a:pt x="85002" y="111242"/>
                  </a:lnTo>
                  <a:lnTo>
                    <a:pt x="84972" y="111846"/>
                  </a:lnTo>
                  <a:lnTo>
                    <a:pt x="79738" y="113451"/>
                  </a:lnTo>
                  <a:lnTo>
                    <a:pt x="78643" y="114184"/>
                  </a:lnTo>
                  <a:lnTo>
                    <a:pt x="77725" y="114559"/>
                  </a:lnTo>
                  <a:lnTo>
                    <a:pt x="76365" y="113796"/>
                  </a:lnTo>
                  <a:lnTo>
                    <a:pt x="76287" y="111836"/>
                  </a:lnTo>
                  <a:lnTo>
                    <a:pt x="74488" y="110784"/>
                  </a:lnTo>
                  <a:lnTo>
                    <a:pt x="72838" y="109883"/>
                  </a:lnTo>
                  <a:lnTo>
                    <a:pt x="70861" y="109496"/>
                  </a:lnTo>
                  <a:lnTo>
                    <a:pt x="69178" y="108146"/>
                  </a:lnTo>
                  <a:lnTo>
                    <a:pt x="68081" y="109243"/>
                  </a:lnTo>
                  <a:lnTo>
                    <a:pt x="68958" y="113042"/>
                  </a:lnTo>
                  <a:lnTo>
                    <a:pt x="70861" y="115656"/>
                  </a:lnTo>
                  <a:lnTo>
                    <a:pt x="74043" y="122656"/>
                  </a:lnTo>
                  <a:lnTo>
                    <a:pt x="75488" y="126783"/>
                  </a:lnTo>
                  <a:lnTo>
                    <a:pt x="75780" y="128778"/>
                  </a:lnTo>
                  <a:lnTo>
                    <a:pt x="75060" y="132087"/>
                  </a:lnTo>
                  <a:lnTo>
                    <a:pt x="76624" y="134544"/>
                  </a:lnTo>
                  <a:lnTo>
                    <a:pt x="77695" y="137065"/>
                  </a:lnTo>
                  <a:lnTo>
                    <a:pt x="76516" y="136970"/>
                  </a:lnTo>
                  <a:lnTo>
                    <a:pt x="75493" y="136081"/>
                  </a:lnTo>
                  <a:lnTo>
                    <a:pt x="73776" y="135032"/>
                  </a:lnTo>
                  <a:lnTo>
                    <a:pt x="70446" y="131007"/>
                  </a:lnTo>
                  <a:lnTo>
                    <a:pt x="69286" y="128493"/>
                  </a:lnTo>
                  <a:lnTo>
                    <a:pt x="67900" y="128296"/>
                  </a:lnTo>
                  <a:lnTo>
                    <a:pt x="65494" y="128657"/>
                  </a:lnTo>
                  <a:lnTo>
                    <a:pt x="62856" y="134024"/>
                  </a:lnTo>
                  <a:lnTo>
                    <a:pt x="62864" y="137095"/>
                  </a:lnTo>
                  <a:lnTo>
                    <a:pt x="61500" y="136364"/>
                  </a:lnTo>
                  <a:lnTo>
                    <a:pt x="60329" y="135407"/>
                  </a:lnTo>
                  <a:lnTo>
                    <a:pt x="60472" y="132045"/>
                  </a:lnTo>
                  <a:lnTo>
                    <a:pt x="60355" y="130632"/>
                  </a:lnTo>
                  <a:lnTo>
                    <a:pt x="57153" y="126045"/>
                  </a:lnTo>
                  <a:lnTo>
                    <a:pt x="55684" y="125530"/>
                  </a:lnTo>
                  <a:lnTo>
                    <a:pt x="55000" y="123978"/>
                  </a:lnTo>
                  <a:lnTo>
                    <a:pt x="53821" y="122324"/>
                  </a:lnTo>
                  <a:lnTo>
                    <a:pt x="52301" y="122641"/>
                  </a:lnTo>
                  <a:lnTo>
                    <a:pt x="51059" y="123312"/>
                  </a:lnTo>
                  <a:lnTo>
                    <a:pt x="50716" y="125811"/>
                  </a:lnTo>
                  <a:lnTo>
                    <a:pt x="50588" y="128050"/>
                  </a:lnTo>
                  <a:lnTo>
                    <a:pt x="49662" y="129734"/>
                  </a:lnTo>
                  <a:lnTo>
                    <a:pt x="46250" y="126536"/>
                  </a:lnTo>
                  <a:lnTo>
                    <a:pt x="42819" y="121001"/>
                  </a:lnTo>
                  <a:lnTo>
                    <a:pt x="42728" y="117960"/>
                  </a:lnTo>
                  <a:lnTo>
                    <a:pt x="45242" y="115185"/>
                  </a:lnTo>
                  <a:lnTo>
                    <a:pt x="44941" y="113198"/>
                  </a:lnTo>
                  <a:lnTo>
                    <a:pt x="42562" y="109272"/>
                  </a:lnTo>
                  <a:lnTo>
                    <a:pt x="39133" y="106744"/>
                  </a:lnTo>
                  <a:lnTo>
                    <a:pt x="37211" y="105993"/>
                  </a:lnTo>
                  <a:lnTo>
                    <a:pt x="36308" y="103303"/>
                  </a:lnTo>
                  <a:lnTo>
                    <a:pt x="34468" y="101912"/>
                  </a:lnTo>
                  <a:lnTo>
                    <a:pt x="32980" y="101264"/>
                  </a:lnTo>
                  <a:lnTo>
                    <a:pt x="32687" y="100305"/>
                  </a:lnTo>
                  <a:lnTo>
                    <a:pt x="33136" y="99595"/>
                  </a:lnTo>
                  <a:lnTo>
                    <a:pt x="36742" y="96823"/>
                  </a:lnTo>
                  <a:lnTo>
                    <a:pt x="38856" y="92481"/>
                  </a:lnTo>
                  <a:lnTo>
                    <a:pt x="39906" y="92274"/>
                  </a:lnTo>
                  <a:lnTo>
                    <a:pt x="42063" y="93304"/>
                  </a:lnTo>
                  <a:lnTo>
                    <a:pt x="44488" y="93035"/>
                  </a:lnTo>
                  <a:lnTo>
                    <a:pt x="46479" y="90489"/>
                  </a:lnTo>
                  <a:lnTo>
                    <a:pt x="48165" y="89103"/>
                  </a:lnTo>
                  <a:lnTo>
                    <a:pt x="51009" y="89282"/>
                  </a:lnTo>
                  <a:lnTo>
                    <a:pt x="57431" y="92685"/>
                  </a:lnTo>
                  <a:lnTo>
                    <a:pt x="64333" y="94623"/>
                  </a:lnTo>
                  <a:lnTo>
                    <a:pt x="67775" y="96324"/>
                  </a:lnTo>
                  <a:lnTo>
                    <a:pt x="69722" y="98009"/>
                  </a:lnTo>
                  <a:lnTo>
                    <a:pt x="70757" y="98358"/>
                  </a:lnTo>
                  <a:lnTo>
                    <a:pt x="72392" y="98596"/>
                  </a:lnTo>
                  <a:lnTo>
                    <a:pt x="72318" y="97336"/>
                  </a:lnTo>
                  <a:lnTo>
                    <a:pt x="71791" y="96221"/>
                  </a:lnTo>
                  <a:lnTo>
                    <a:pt x="73154" y="95614"/>
                  </a:lnTo>
                  <a:lnTo>
                    <a:pt x="76853" y="95646"/>
                  </a:lnTo>
                  <a:lnTo>
                    <a:pt x="77526" y="95055"/>
                  </a:lnTo>
                  <a:lnTo>
                    <a:pt x="78211" y="94098"/>
                  </a:lnTo>
                  <a:lnTo>
                    <a:pt x="77447" y="93010"/>
                  </a:lnTo>
                  <a:lnTo>
                    <a:pt x="76222" y="92487"/>
                  </a:lnTo>
                  <a:lnTo>
                    <a:pt x="74913" y="92342"/>
                  </a:lnTo>
                  <a:lnTo>
                    <a:pt x="74052" y="91997"/>
                  </a:lnTo>
                  <a:lnTo>
                    <a:pt x="72661" y="92345"/>
                  </a:lnTo>
                  <a:lnTo>
                    <a:pt x="70491" y="91504"/>
                  </a:lnTo>
                  <a:lnTo>
                    <a:pt x="69370" y="90810"/>
                  </a:lnTo>
                  <a:lnTo>
                    <a:pt x="68712" y="90096"/>
                  </a:lnTo>
                  <a:lnTo>
                    <a:pt x="64942" y="88672"/>
                  </a:lnTo>
                  <a:lnTo>
                    <a:pt x="61366" y="86264"/>
                  </a:lnTo>
                  <a:lnTo>
                    <a:pt x="60560" y="87627"/>
                  </a:lnTo>
                  <a:lnTo>
                    <a:pt x="59116" y="88366"/>
                  </a:lnTo>
                  <a:lnTo>
                    <a:pt x="57058" y="88468"/>
                  </a:lnTo>
                  <a:lnTo>
                    <a:pt x="51275" y="86935"/>
                  </a:lnTo>
                  <a:lnTo>
                    <a:pt x="47722" y="88105"/>
                  </a:lnTo>
                  <a:lnTo>
                    <a:pt x="45786" y="88412"/>
                  </a:lnTo>
                  <a:lnTo>
                    <a:pt x="44304" y="88438"/>
                  </a:lnTo>
                  <a:lnTo>
                    <a:pt x="42482" y="88963"/>
                  </a:lnTo>
                  <a:lnTo>
                    <a:pt x="40379" y="89277"/>
                  </a:lnTo>
                  <a:lnTo>
                    <a:pt x="38556" y="87054"/>
                  </a:lnTo>
                  <a:lnTo>
                    <a:pt x="37789" y="85331"/>
                  </a:lnTo>
                  <a:lnTo>
                    <a:pt x="37249" y="85009"/>
                  </a:lnTo>
                  <a:lnTo>
                    <a:pt x="37222" y="86628"/>
                  </a:lnTo>
                  <a:lnTo>
                    <a:pt x="36636" y="87926"/>
                  </a:lnTo>
                  <a:lnTo>
                    <a:pt x="33968" y="88655"/>
                  </a:lnTo>
                  <a:lnTo>
                    <a:pt x="32432" y="87650"/>
                  </a:lnTo>
                  <a:lnTo>
                    <a:pt x="31251" y="84598"/>
                  </a:lnTo>
                  <a:lnTo>
                    <a:pt x="29757" y="80715"/>
                  </a:lnTo>
                  <a:lnTo>
                    <a:pt x="27126" y="77576"/>
                  </a:lnTo>
                  <a:lnTo>
                    <a:pt x="24995" y="76755"/>
                  </a:lnTo>
                  <a:lnTo>
                    <a:pt x="24811" y="75029"/>
                  </a:lnTo>
                  <a:lnTo>
                    <a:pt x="25006" y="73647"/>
                  </a:lnTo>
                  <a:lnTo>
                    <a:pt x="27567" y="73306"/>
                  </a:lnTo>
                  <a:lnTo>
                    <a:pt x="31570" y="74751"/>
                  </a:lnTo>
                  <a:lnTo>
                    <a:pt x="32397" y="74464"/>
                  </a:lnTo>
                  <a:lnTo>
                    <a:pt x="33298" y="73797"/>
                  </a:lnTo>
                  <a:lnTo>
                    <a:pt x="33125" y="72322"/>
                  </a:lnTo>
                  <a:lnTo>
                    <a:pt x="32547" y="71008"/>
                  </a:lnTo>
                  <a:lnTo>
                    <a:pt x="31445" y="70949"/>
                  </a:lnTo>
                  <a:lnTo>
                    <a:pt x="30683" y="71105"/>
                  </a:lnTo>
                  <a:lnTo>
                    <a:pt x="28221" y="70833"/>
                  </a:lnTo>
                  <a:lnTo>
                    <a:pt x="25058" y="71563"/>
                  </a:lnTo>
                  <a:lnTo>
                    <a:pt x="23591" y="70875"/>
                  </a:lnTo>
                  <a:lnTo>
                    <a:pt x="23103" y="70039"/>
                  </a:lnTo>
                  <a:lnTo>
                    <a:pt x="20458" y="67963"/>
                  </a:lnTo>
                  <a:lnTo>
                    <a:pt x="18172" y="65177"/>
                  </a:lnTo>
                  <a:lnTo>
                    <a:pt x="14468" y="63316"/>
                  </a:lnTo>
                  <a:lnTo>
                    <a:pt x="12049" y="57641"/>
                  </a:lnTo>
                  <a:lnTo>
                    <a:pt x="10015" y="55161"/>
                  </a:lnTo>
                  <a:lnTo>
                    <a:pt x="7845" y="53389"/>
                  </a:lnTo>
                  <a:lnTo>
                    <a:pt x="8316" y="53356"/>
                  </a:lnTo>
                  <a:lnTo>
                    <a:pt x="9139" y="53657"/>
                  </a:lnTo>
                  <a:lnTo>
                    <a:pt x="10715" y="54632"/>
                  </a:lnTo>
                  <a:lnTo>
                    <a:pt x="12391" y="54842"/>
                  </a:lnTo>
                  <a:lnTo>
                    <a:pt x="13306" y="54196"/>
                  </a:lnTo>
                  <a:lnTo>
                    <a:pt x="13833" y="53603"/>
                  </a:lnTo>
                  <a:lnTo>
                    <a:pt x="14176" y="52630"/>
                  </a:lnTo>
                  <a:lnTo>
                    <a:pt x="14315" y="51495"/>
                  </a:lnTo>
                  <a:lnTo>
                    <a:pt x="14587" y="51119"/>
                  </a:lnTo>
                  <a:lnTo>
                    <a:pt x="15867" y="51247"/>
                  </a:lnTo>
                  <a:lnTo>
                    <a:pt x="16273" y="50964"/>
                  </a:lnTo>
                  <a:lnTo>
                    <a:pt x="16256" y="49944"/>
                  </a:lnTo>
                  <a:lnTo>
                    <a:pt x="15429" y="48672"/>
                  </a:lnTo>
                  <a:lnTo>
                    <a:pt x="14701" y="47105"/>
                  </a:lnTo>
                  <a:lnTo>
                    <a:pt x="14697" y="46358"/>
                  </a:lnTo>
                  <a:lnTo>
                    <a:pt x="15302" y="46055"/>
                  </a:lnTo>
                  <a:lnTo>
                    <a:pt x="16302" y="45374"/>
                  </a:lnTo>
                  <a:lnTo>
                    <a:pt x="16839" y="44532"/>
                  </a:lnTo>
                  <a:lnTo>
                    <a:pt x="17901" y="44112"/>
                  </a:lnTo>
                  <a:lnTo>
                    <a:pt x="19472" y="44035"/>
                  </a:lnTo>
                  <a:lnTo>
                    <a:pt x="21223" y="43666"/>
                  </a:lnTo>
                  <a:lnTo>
                    <a:pt x="22354" y="42760"/>
                  </a:lnTo>
                  <a:lnTo>
                    <a:pt x="22521" y="41862"/>
                  </a:lnTo>
                  <a:lnTo>
                    <a:pt x="23229" y="39391"/>
                  </a:lnTo>
                  <a:lnTo>
                    <a:pt x="23691" y="38181"/>
                  </a:lnTo>
                  <a:lnTo>
                    <a:pt x="24438" y="37076"/>
                  </a:lnTo>
                  <a:lnTo>
                    <a:pt x="24844" y="35586"/>
                  </a:lnTo>
                  <a:lnTo>
                    <a:pt x="25641" y="34184"/>
                  </a:lnTo>
                  <a:lnTo>
                    <a:pt x="27312" y="33596"/>
                  </a:lnTo>
                  <a:lnTo>
                    <a:pt x="28828" y="32903"/>
                  </a:lnTo>
                  <a:lnTo>
                    <a:pt x="29972" y="31096"/>
                  </a:lnTo>
                  <a:lnTo>
                    <a:pt x="30612" y="29547"/>
                  </a:lnTo>
                  <a:lnTo>
                    <a:pt x="30616" y="28599"/>
                  </a:lnTo>
                  <a:lnTo>
                    <a:pt x="29662" y="27047"/>
                  </a:lnTo>
                  <a:lnTo>
                    <a:pt x="28951" y="25538"/>
                  </a:lnTo>
                  <a:lnTo>
                    <a:pt x="29139" y="23578"/>
                  </a:lnTo>
                  <a:lnTo>
                    <a:pt x="32141" y="23414"/>
                  </a:lnTo>
                  <a:lnTo>
                    <a:pt x="33192" y="23231"/>
                  </a:lnTo>
                  <a:lnTo>
                    <a:pt x="37088" y="23125"/>
                  </a:lnTo>
                  <a:lnTo>
                    <a:pt x="38865" y="22073"/>
                  </a:lnTo>
                  <a:lnTo>
                    <a:pt x="40094" y="22167"/>
                  </a:lnTo>
                  <a:lnTo>
                    <a:pt x="42661" y="23078"/>
                  </a:lnTo>
                  <a:lnTo>
                    <a:pt x="43806" y="22358"/>
                  </a:lnTo>
                  <a:lnTo>
                    <a:pt x="47166" y="20936"/>
                  </a:lnTo>
                  <a:lnTo>
                    <a:pt x="50482" y="16805"/>
                  </a:lnTo>
                  <a:lnTo>
                    <a:pt x="51895" y="16185"/>
                  </a:lnTo>
                  <a:lnTo>
                    <a:pt x="55112" y="15934"/>
                  </a:lnTo>
                  <a:lnTo>
                    <a:pt x="56120" y="15456"/>
                  </a:lnTo>
                  <a:lnTo>
                    <a:pt x="57297" y="15547"/>
                  </a:lnTo>
                  <a:lnTo>
                    <a:pt x="60903" y="16385"/>
                  </a:lnTo>
                  <a:lnTo>
                    <a:pt x="62955" y="16513"/>
                  </a:lnTo>
                  <a:lnTo>
                    <a:pt x="65388" y="15942"/>
                  </a:lnTo>
                  <a:lnTo>
                    <a:pt x="68069" y="14932"/>
                  </a:lnTo>
                  <a:lnTo>
                    <a:pt x="68738" y="11394"/>
                  </a:lnTo>
                  <a:lnTo>
                    <a:pt x="69375" y="10886"/>
                  </a:lnTo>
                  <a:lnTo>
                    <a:pt x="71042" y="10744"/>
                  </a:lnTo>
                  <a:lnTo>
                    <a:pt x="72297" y="10773"/>
                  </a:lnTo>
                  <a:lnTo>
                    <a:pt x="74719" y="11054"/>
                  </a:lnTo>
                  <a:lnTo>
                    <a:pt x="77602" y="11148"/>
                  </a:lnTo>
                  <a:lnTo>
                    <a:pt x="79457" y="9488"/>
                  </a:lnTo>
                  <a:lnTo>
                    <a:pt x="82381" y="9364"/>
                  </a:lnTo>
                  <a:lnTo>
                    <a:pt x="83737" y="9124"/>
                  </a:lnTo>
                  <a:lnTo>
                    <a:pt x="86002" y="9459"/>
                  </a:lnTo>
                  <a:lnTo>
                    <a:pt x="88198" y="9440"/>
                  </a:lnTo>
                  <a:lnTo>
                    <a:pt x="91010" y="8748"/>
                  </a:lnTo>
                  <a:lnTo>
                    <a:pt x="93631" y="7613"/>
                  </a:lnTo>
                  <a:lnTo>
                    <a:pt x="95680" y="7710"/>
                  </a:lnTo>
                  <a:lnTo>
                    <a:pt x="96516" y="7505"/>
                  </a:lnTo>
                  <a:lnTo>
                    <a:pt x="96994" y="7266"/>
                  </a:lnTo>
                  <a:lnTo>
                    <a:pt x="97505" y="5729"/>
                  </a:lnTo>
                  <a:lnTo>
                    <a:pt x="101360" y="5635"/>
                  </a:lnTo>
                  <a:lnTo>
                    <a:pt x="102666" y="5788"/>
                  </a:lnTo>
                  <a:lnTo>
                    <a:pt x="104817" y="5828"/>
                  </a:lnTo>
                  <a:lnTo>
                    <a:pt x="107054" y="4990"/>
                  </a:lnTo>
                  <a:lnTo>
                    <a:pt x="107725" y="5061"/>
                  </a:lnTo>
                  <a:lnTo>
                    <a:pt x="108855" y="7311"/>
                  </a:lnTo>
                  <a:lnTo>
                    <a:pt x="109444" y="7963"/>
                  </a:lnTo>
                  <a:lnTo>
                    <a:pt x="110662" y="8564"/>
                  </a:lnTo>
                  <a:lnTo>
                    <a:pt x="113374" y="10250"/>
                  </a:lnTo>
                  <a:lnTo>
                    <a:pt x="113863" y="9806"/>
                  </a:lnTo>
                  <a:lnTo>
                    <a:pt x="114992" y="9243"/>
                  </a:lnTo>
                  <a:lnTo>
                    <a:pt x="118235" y="10015"/>
                  </a:lnTo>
                  <a:lnTo>
                    <a:pt x="121327" y="11314"/>
                  </a:lnTo>
                  <a:lnTo>
                    <a:pt x="123932" y="13219"/>
                  </a:lnTo>
                  <a:lnTo>
                    <a:pt x="126823" y="12670"/>
                  </a:lnTo>
                  <a:lnTo>
                    <a:pt x="130032" y="11735"/>
                  </a:lnTo>
                  <a:lnTo>
                    <a:pt x="132120" y="11463"/>
                  </a:lnTo>
                  <a:lnTo>
                    <a:pt x="134385" y="11333"/>
                  </a:lnTo>
                  <a:lnTo>
                    <a:pt x="135735" y="10927"/>
                  </a:lnTo>
                  <a:lnTo>
                    <a:pt x="138795" y="11416"/>
                  </a:lnTo>
                  <a:lnTo>
                    <a:pt x="141958" y="10393"/>
                  </a:lnTo>
                  <a:lnTo>
                    <a:pt x="143483" y="9467"/>
                  </a:lnTo>
                  <a:lnTo>
                    <a:pt x="143921" y="8170"/>
                  </a:lnTo>
                  <a:lnTo>
                    <a:pt x="143664" y="5881"/>
                  </a:lnTo>
                  <a:lnTo>
                    <a:pt x="142949" y="3589"/>
                  </a:lnTo>
                  <a:lnTo>
                    <a:pt x="142192" y="2743"/>
                  </a:lnTo>
                  <a:lnTo>
                    <a:pt x="141950" y="1868"/>
                  </a:lnTo>
                  <a:lnTo>
                    <a:pt x="142381" y="1050"/>
                  </a:lnTo>
                  <a:lnTo>
                    <a:pt x="142865" y="479"/>
                  </a:lnTo>
                  <a:close/>
                </a:path>
              </a:pathLst>
            </a:custGeom>
            <a:solidFill>
              <a:srgbClr val="C7CDD0"/>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AT" sz="1600" err="1">
                <a:solidFill>
                  <a:schemeClr val="tx1"/>
                </a:solidFill>
                <a:latin typeface="Calibri" panose="020F0502020204030204" pitchFamily="34" charset="0"/>
                <a:cs typeface="Calibri" panose="020F0502020204030204" pitchFamily="34" charset="0"/>
              </a:endParaRPr>
            </a:p>
          </p:txBody>
        </p:sp>
        <p:sp>
          <p:nvSpPr>
            <p:cNvPr id="83" name="ee4p_HR_1_86241">
              <a:extLst>
                <a:ext uri="{FF2B5EF4-FFF2-40B4-BE49-F238E27FC236}">
                  <a16:creationId xmlns:a16="http://schemas.microsoft.com/office/drawing/2014/main" id="{4958F9D2-87C1-44C5-AD09-B098AE352712}"/>
                </a:ext>
              </a:extLst>
            </p:cNvPr>
            <p:cNvSpPr>
              <a:spLocks noChangeAspect="1"/>
            </p:cNvSpPr>
            <p:nvPr>
              <p:custDataLst>
                <p:tags r:id="rId21"/>
              </p:custDataLst>
            </p:nvPr>
          </p:nvSpPr>
          <p:spPr>
            <a:xfrm>
              <a:off x="7017802" y="3345630"/>
              <a:ext cx="394289" cy="347012"/>
            </a:xfrm>
            <a:custGeom>
              <a:avLst/>
              <a:gdLst>
                <a:gd name="connsiteX0" fmla="*/ 86563 w 130102"/>
                <a:gd name="connsiteY0" fmla="*/ 101746 h 111558"/>
                <a:gd name="connsiteX1" fmla="*/ 90452 w 130102"/>
                <a:gd name="connsiteY1" fmla="*/ 102584 h 111558"/>
                <a:gd name="connsiteX2" fmla="*/ 93469 w 130102"/>
                <a:gd name="connsiteY2" fmla="*/ 104421 h 111558"/>
                <a:gd name="connsiteX3" fmla="*/ 84622 w 130102"/>
                <a:gd name="connsiteY3" fmla="*/ 102014 h 111558"/>
                <a:gd name="connsiteX4" fmla="*/ 85626 w 130102"/>
                <a:gd name="connsiteY4" fmla="*/ 101793 h 111558"/>
                <a:gd name="connsiteX5" fmla="*/ 69288 w 130102"/>
                <a:gd name="connsiteY5" fmla="*/ 96494 h 111558"/>
                <a:gd name="connsiteX6" fmla="*/ 73375 w 130102"/>
                <a:gd name="connsiteY6" fmla="*/ 97242 h 111558"/>
                <a:gd name="connsiteX7" fmla="*/ 76373 w 130102"/>
                <a:gd name="connsiteY7" fmla="*/ 96898 h 111558"/>
                <a:gd name="connsiteX8" fmla="*/ 79083 w 130102"/>
                <a:gd name="connsiteY8" fmla="*/ 97357 h 111558"/>
                <a:gd name="connsiteX9" fmla="*/ 80767 w 130102"/>
                <a:gd name="connsiteY9" fmla="*/ 98207 h 111558"/>
                <a:gd name="connsiteX10" fmla="*/ 81175 w 130102"/>
                <a:gd name="connsiteY10" fmla="*/ 98624 h 111558"/>
                <a:gd name="connsiteX11" fmla="*/ 78988 w 130102"/>
                <a:gd name="connsiteY11" fmla="*/ 98682 h 111558"/>
                <a:gd name="connsiteX12" fmla="*/ 76515 w 130102"/>
                <a:gd name="connsiteY12" fmla="*/ 98337 h 111558"/>
                <a:gd name="connsiteX13" fmla="*/ 73710 w 130102"/>
                <a:gd name="connsiteY13" fmla="*/ 99201 h 111558"/>
                <a:gd name="connsiteX14" fmla="*/ 71238 w 130102"/>
                <a:gd name="connsiteY14" fmla="*/ 98739 h 111558"/>
                <a:gd name="connsiteX15" fmla="*/ 70298 w 130102"/>
                <a:gd name="connsiteY15" fmla="*/ 98178 h 111558"/>
                <a:gd name="connsiteX16" fmla="*/ 69633 w 130102"/>
                <a:gd name="connsiteY16" fmla="*/ 97476 h 111558"/>
                <a:gd name="connsiteX17" fmla="*/ 81872 w 130102"/>
                <a:gd name="connsiteY17" fmla="*/ 95708 h 111558"/>
                <a:gd name="connsiteX18" fmla="*/ 93013 w 130102"/>
                <a:gd name="connsiteY18" fmla="*/ 100400 h 111558"/>
                <a:gd name="connsiteX19" fmla="*/ 91773 w 130102"/>
                <a:gd name="connsiteY19" fmla="*/ 99158 h 111558"/>
                <a:gd name="connsiteX20" fmla="*/ 93380 w 130102"/>
                <a:gd name="connsiteY20" fmla="*/ 98666 h 111558"/>
                <a:gd name="connsiteX21" fmla="*/ 94745 w 130102"/>
                <a:gd name="connsiteY21" fmla="*/ 99020 h 111558"/>
                <a:gd name="connsiteX22" fmla="*/ 95615 w 130102"/>
                <a:gd name="connsiteY22" fmla="*/ 100551 h 111558"/>
                <a:gd name="connsiteX23" fmla="*/ 97330 w 130102"/>
                <a:gd name="connsiteY23" fmla="*/ 101558 h 111558"/>
                <a:gd name="connsiteX24" fmla="*/ 100109 w 130102"/>
                <a:gd name="connsiteY24" fmla="*/ 103327 h 111558"/>
                <a:gd name="connsiteX25" fmla="*/ 101864 w 130102"/>
                <a:gd name="connsiteY25" fmla="*/ 104682 h 111558"/>
                <a:gd name="connsiteX26" fmla="*/ 105846 w 130102"/>
                <a:gd name="connsiteY26" fmla="*/ 107117 h 111558"/>
                <a:gd name="connsiteX27" fmla="*/ 106788 w 130102"/>
                <a:gd name="connsiteY27" fmla="*/ 107457 h 111558"/>
                <a:gd name="connsiteX28" fmla="*/ 108772 w 130102"/>
                <a:gd name="connsiteY28" fmla="*/ 108176 h 111558"/>
                <a:gd name="connsiteX29" fmla="*/ 108811 w 130102"/>
                <a:gd name="connsiteY29" fmla="*/ 109157 h 111558"/>
                <a:gd name="connsiteX30" fmla="*/ 109664 w 130102"/>
                <a:gd name="connsiteY30" fmla="*/ 110273 h 111558"/>
                <a:gd name="connsiteX31" fmla="*/ 110566 w 130102"/>
                <a:gd name="connsiteY31" fmla="*/ 111558 h 111558"/>
                <a:gd name="connsiteX32" fmla="*/ 106488 w 130102"/>
                <a:gd name="connsiteY32" fmla="*/ 109026 h 111558"/>
                <a:gd name="connsiteX33" fmla="*/ 102676 w 130102"/>
                <a:gd name="connsiteY33" fmla="*/ 106192 h 111558"/>
                <a:gd name="connsiteX34" fmla="*/ 95229 w 130102"/>
                <a:gd name="connsiteY34" fmla="*/ 101826 h 111558"/>
                <a:gd name="connsiteX35" fmla="*/ 89946 w 130102"/>
                <a:gd name="connsiteY35" fmla="*/ 100762 h 111558"/>
                <a:gd name="connsiteX36" fmla="*/ 82721 w 130102"/>
                <a:gd name="connsiteY36" fmla="*/ 97247 h 111558"/>
                <a:gd name="connsiteX37" fmla="*/ 78016 w 130102"/>
                <a:gd name="connsiteY37" fmla="*/ 96003 h 111558"/>
                <a:gd name="connsiteX38" fmla="*/ 79808 w 130102"/>
                <a:gd name="connsiteY38" fmla="*/ 95716 h 111558"/>
                <a:gd name="connsiteX39" fmla="*/ 66429 w 130102"/>
                <a:gd name="connsiteY39" fmla="*/ 90251 h 111558"/>
                <a:gd name="connsiteX40" fmla="*/ 69404 w 130102"/>
                <a:gd name="connsiteY40" fmla="*/ 90667 h 111558"/>
                <a:gd name="connsiteX41" fmla="*/ 70318 w 130102"/>
                <a:gd name="connsiteY41" fmla="*/ 91709 h 111558"/>
                <a:gd name="connsiteX42" fmla="*/ 78364 w 130102"/>
                <a:gd name="connsiteY42" fmla="*/ 92543 h 111558"/>
                <a:gd name="connsiteX43" fmla="*/ 81302 w 130102"/>
                <a:gd name="connsiteY43" fmla="*/ 93029 h 111558"/>
                <a:gd name="connsiteX44" fmla="*/ 79756 w 130102"/>
                <a:gd name="connsiteY44" fmla="*/ 93307 h 111558"/>
                <a:gd name="connsiteX45" fmla="*/ 69918 w 130102"/>
                <a:gd name="connsiteY45" fmla="*/ 93100 h 111558"/>
                <a:gd name="connsiteX46" fmla="*/ 67057 w 130102"/>
                <a:gd name="connsiteY46" fmla="*/ 92543 h 111558"/>
                <a:gd name="connsiteX47" fmla="*/ 63874 w 130102"/>
                <a:gd name="connsiteY47" fmla="*/ 91108 h 111558"/>
                <a:gd name="connsiteX48" fmla="*/ 63224 w 130102"/>
                <a:gd name="connsiteY48" fmla="*/ 90667 h 111558"/>
                <a:gd name="connsiteX49" fmla="*/ 64827 w 130102"/>
                <a:gd name="connsiteY49" fmla="*/ 86010 h 111558"/>
                <a:gd name="connsiteX50" fmla="*/ 68202 w 130102"/>
                <a:gd name="connsiteY50" fmla="*/ 86149 h 111558"/>
                <a:gd name="connsiteX51" fmla="*/ 73350 w 130102"/>
                <a:gd name="connsiteY51" fmla="*/ 86984 h 111558"/>
                <a:gd name="connsiteX52" fmla="*/ 74609 w 130102"/>
                <a:gd name="connsiteY52" fmla="*/ 87957 h 111558"/>
                <a:gd name="connsiteX53" fmla="*/ 74218 w 130102"/>
                <a:gd name="connsiteY53" fmla="*/ 88406 h 111558"/>
                <a:gd name="connsiteX54" fmla="*/ 72263 w 130102"/>
                <a:gd name="connsiteY54" fmla="*/ 89139 h 111558"/>
                <a:gd name="connsiteX55" fmla="*/ 68774 w 130102"/>
                <a:gd name="connsiteY55" fmla="*/ 89209 h 111558"/>
                <a:gd name="connsiteX56" fmla="*/ 65742 w 130102"/>
                <a:gd name="connsiteY56" fmla="*/ 88722 h 111558"/>
                <a:gd name="connsiteX57" fmla="*/ 64256 w 130102"/>
                <a:gd name="connsiteY57" fmla="*/ 87887 h 111558"/>
                <a:gd name="connsiteX58" fmla="*/ 64367 w 130102"/>
                <a:gd name="connsiteY58" fmla="*/ 87184 h 111558"/>
                <a:gd name="connsiteX59" fmla="*/ 38758 w 130102"/>
                <a:gd name="connsiteY59" fmla="*/ 69183 h 111558"/>
                <a:gd name="connsiteX60" fmla="*/ 41000 w 130102"/>
                <a:gd name="connsiteY60" fmla="*/ 70181 h 111558"/>
                <a:gd name="connsiteX61" fmla="*/ 42455 w 130102"/>
                <a:gd name="connsiteY61" fmla="*/ 72191 h 111558"/>
                <a:gd name="connsiteX62" fmla="*/ 41063 w 130102"/>
                <a:gd name="connsiteY62" fmla="*/ 71778 h 111558"/>
                <a:gd name="connsiteX63" fmla="*/ 39611 w 130102"/>
                <a:gd name="connsiteY63" fmla="*/ 70534 h 111558"/>
                <a:gd name="connsiteX64" fmla="*/ 34243 w 130102"/>
                <a:gd name="connsiteY64" fmla="*/ 65203 h 111558"/>
                <a:gd name="connsiteX65" fmla="*/ 37897 w 130102"/>
                <a:gd name="connsiteY65" fmla="*/ 67787 h 111558"/>
                <a:gd name="connsiteX66" fmla="*/ 38242 w 130102"/>
                <a:gd name="connsiteY66" fmla="*/ 68741 h 111558"/>
                <a:gd name="connsiteX67" fmla="*/ 35483 w 130102"/>
                <a:gd name="connsiteY67" fmla="*/ 66947 h 111558"/>
                <a:gd name="connsiteX68" fmla="*/ 34437 w 130102"/>
                <a:gd name="connsiteY68" fmla="*/ 65741 h 111558"/>
                <a:gd name="connsiteX69" fmla="*/ 29804 w 130102"/>
                <a:gd name="connsiteY69" fmla="*/ 64924 h 111558"/>
                <a:gd name="connsiteX70" fmla="*/ 31738 w 130102"/>
                <a:gd name="connsiteY70" fmla="*/ 66300 h 111558"/>
                <a:gd name="connsiteX71" fmla="*/ 36962 w 130102"/>
                <a:gd name="connsiteY71" fmla="*/ 71573 h 111558"/>
                <a:gd name="connsiteX72" fmla="*/ 37277 w 130102"/>
                <a:gd name="connsiteY72" fmla="*/ 71969 h 111558"/>
                <a:gd name="connsiteX73" fmla="*/ 37247 w 130102"/>
                <a:gd name="connsiteY73" fmla="*/ 72239 h 111558"/>
                <a:gd name="connsiteX74" fmla="*/ 36100 w 130102"/>
                <a:gd name="connsiteY74" fmla="*/ 71858 h 111558"/>
                <a:gd name="connsiteX75" fmla="*/ 35791 w 130102"/>
                <a:gd name="connsiteY75" fmla="*/ 71981 h 111558"/>
                <a:gd name="connsiteX76" fmla="*/ 30384 w 130102"/>
                <a:gd name="connsiteY76" fmla="*/ 66074 h 111558"/>
                <a:gd name="connsiteX77" fmla="*/ 27080 w 130102"/>
                <a:gd name="connsiteY77" fmla="*/ 50537 h 111558"/>
                <a:gd name="connsiteX78" fmla="*/ 28449 w 130102"/>
                <a:gd name="connsiteY78" fmla="*/ 51863 h 111558"/>
                <a:gd name="connsiteX79" fmla="*/ 29590 w 130102"/>
                <a:gd name="connsiteY79" fmla="*/ 52692 h 111558"/>
                <a:gd name="connsiteX80" fmla="*/ 30533 w 130102"/>
                <a:gd name="connsiteY80" fmla="*/ 52894 h 111558"/>
                <a:gd name="connsiteX81" fmla="*/ 32930 w 130102"/>
                <a:gd name="connsiteY81" fmla="*/ 54978 h 111558"/>
                <a:gd name="connsiteX82" fmla="*/ 35286 w 130102"/>
                <a:gd name="connsiteY82" fmla="*/ 57656 h 111558"/>
                <a:gd name="connsiteX83" fmla="*/ 38093 w 130102"/>
                <a:gd name="connsiteY83" fmla="*/ 59980 h 111558"/>
                <a:gd name="connsiteX84" fmla="*/ 37510 w 130102"/>
                <a:gd name="connsiteY84" fmla="*/ 60052 h 111558"/>
                <a:gd name="connsiteX85" fmla="*/ 36955 w 130102"/>
                <a:gd name="connsiteY85" fmla="*/ 60373 h 111558"/>
                <a:gd name="connsiteX86" fmla="*/ 36383 w 130102"/>
                <a:gd name="connsiteY86" fmla="*/ 61094 h 111558"/>
                <a:gd name="connsiteX87" fmla="*/ 34954 w 130102"/>
                <a:gd name="connsiteY87" fmla="*/ 59765 h 111558"/>
                <a:gd name="connsiteX88" fmla="*/ 33641 w 130102"/>
                <a:gd name="connsiteY88" fmla="*/ 58817 h 111558"/>
                <a:gd name="connsiteX89" fmla="*/ 32701 w 130102"/>
                <a:gd name="connsiteY89" fmla="*/ 57695 h 111558"/>
                <a:gd name="connsiteX90" fmla="*/ 30859 w 130102"/>
                <a:gd name="connsiteY90" fmla="*/ 56295 h 111558"/>
                <a:gd name="connsiteX91" fmla="*/ 30237 w 130102"/>
                <a:gd name="connsiteY91" fmla="*/ 54693 h 111558"/>
                <a:gd name="connsiteX92" fmla="*/ 27491 w 130102"/>
                <a:gd name="connsiteY92" fmla="*/ 51425 h 111558"/>
                <a:gd name="connsiteX93" fmla="*/ 25944 w 130102"/>
                <a:gd name="connsiteY93" fmla="*/ 46425 h 111558"/>
                <a:gd name="connsiteX94" fmla="*/ 27353 w 130102"/>
                <a:gd name="connsiteY94" fmla="*/ 46516 h 111558"/>
                <a:gd name="connsiteX95" fmla="*/ 27564 w 130102"/>
                <a:gd name="connsiteY95" fmla="*/ 47155 h 111558"/>
                <a:gd name="connsiteX96" fmla="*/ 29061 w 130102"/>
                <a:gd name="connsiteY96" fmla="*/ 48859 h 111558"/>
                <a:gd name="connsiteX97" fmla="*/ 29618 w 130102"/>
                <a:gd name="connsiteY97" fmla="*/ 50061 h 111558"/>
                <a:gd name="connsiteX98" fmla="*/ 27536 w 130102"/>
                <a:gd name="connsiteY98" fmla="*/ 48976 h 111558"/>
                <a:gd name="connsiteX99" fmla="*/ 25672 w 130102"/>
                <a:gd name="connsiteY99" fmla="*/ 48561 h 111558"/>
                <a:gd name="connsiteX100" fmla="*/ 25277 w 130102"/>
                <a:gd name="connsiteY100" fmla="*/ 47744 h 111558"/>
                <a:gd name="connsiteX101" fmla="*/ 25545 w 130102"/>
                <a:gd name="connsiteY101" fmla="*/ 47074 h 111558"/>
                <a:gd name="connsiteX102" fmla="*/ 18596 w 130102"/>
                <a:gd name="connsiteY102" fmla="*/ 37698 h 111558"/>
                <a:gd name="connsiteX103" fmla="*/ 18838 w 130102"/>
                <a:gd name="connsiteY103" fmla="*/ 40065 h 111558"/>
                <a:gd name="connsiteX104" fmla="*/ 19382 w 130102"/>
                <a:gd name="connsiteY104" fmla="*/ 41424 h 111558"/>
                <a:gd name="connsiteX105" fmla="*/ 21010 w 130102"/>
                <a:gd name="connsiteY105" fmla="*/ 43092 h 111558"/>
                <a:gd name="connsiteX106" fmla="*/ 20682 w 130102"/>
                <a:gd name="connsiteY106" fmla="*/ 45851 h 111558"/>
                <a:gd name="connsiteX107" fmla="*/ 21015 w 130102"/>
                <a:gd name="connsiteY107" fmla="*/ 49774 h 111558"/>
                <a:gd name="connsiteX108" fmla="*/ 21345 w 130102"/>
                <a:gd name="connsiteY108" fmla="*/ 50646 h 111558"/>
                <a:gd name="connsiteX109" fmla="*/ 21468 w 130102"/>
                <a:gd name="connsiteY109" fmla="*/ 51553 h 111558"/>
                <a:gd name="connsiteX110" fmla="*/ 21297 w 130102"/>
                <a:gd name="connsiteY110" fmla="*/ 52610 h 111558"/>
                <a:gd name="connsiteX111" fmla="*/ 19952 w 130102"/>
                <a:gd name="connsiteY111" fmla="*/ 51274 h 111558"/>
                <a:gd name="connsiteX112" fmla="*/ 19274 w 130102"/>
                <a:gd name="connsiteY112" fmla="*/ 48876 h 111558"/>
                <a:gd name="connsiteX113" fmla="*/ 17583 w 130102"/>
                <a:gd name="connsiteY113" fmla="*/ 44999 h 111558"/>
                <a:gd name="connsiteX114" fmla="*/ 17365 w 130102"/>
                <a:gd name="connsiteY114" fmla="*/ 43906 h 111558"/>
                <a:gd name="connsiteX115" fmla="*/ 18242 w 130102"/>
                <a:gd name="connsiteY115" fmla="*/ 42826 h 111558"/>
                <a:gd name="connsiteX116" fmla="*/ 18195 w 130102"/>
                <a:gd name="connsiteY116" fmla="*/ 41732 h 111558"/>
                <a:gd name="connsiteX117" fmla="*/ 16996 w 130102"/>
                <a:gd name="connsiteY117" fmla="*/ 38322 h 111558"/>
                <a:gd name="connsiteX118" fmla="*/ 18000 w 130102"/>
                <a:gd name="connsiteY118" fmla="*/ 37765 h 111558"/>
                <a:gd name="connsiteX119" fmla="*/ 23304 w 130102"/>
                <a:gd name="connsiteY119" fmla="*/ 36128 h 111558"/>
                <a:gd name="connsiteX120" fmla="*/ 24606 w 130102"/>
                <a:gd name="connsiteY120" fmla="*/ 37408 h 111558"/>
                <a:gd name="connsiteX121" fmla="*/ 26180 w 130102"/>
                <a:gd name="connsiteY121" fmla="*/ 39816 h 111558"/>
                <a:gd name="connsiteX122" fmla="*/ 27020 w 130102"/>
                <a:gd name="connsiteY122" fmla="*/ 40488 h 111558"/>
                <a:gd name="connsiteX123" fmla="*/ 28592 w 130102"/>
                <a:gd name="connsiteY123" fmla="*/ 42905 h 111558"/>
                <a:gd name="connsiteX124" fmla="*/ 25867 w 130102"/>
                <a:gd name="connsiteY124" fmla="*/ 43491 h 111558"/>
                <a:gd name="connsiteX125" fmla="*/ 24569 w 130102"/>
                <a:gd name="connsiteY125" fmla="*/ 42443 h 111558"/>
                <a:gd name="connsiteX126" fmla="*/ 24230 w 130102"/>
                <a:gd name="connsiteY126" fmla="*/ 41583 h 111558"/>
                <a:gd name="connsiteX127" fmla="*/ 21991 w 130102"/>
                <a:gd name="connsiteY127" fmla="*/ 41310 h 111558"/>
                <a:gd name="connsiteX128" fmla="*/ 20635 w 130102"/>
                <a:gd name="connsiteY128" fmla="*/ 40112 h 111558"/>
                <a:gd name="connsiteX129" fmla="*/ 20358 w 130102"/>
                <a:gd name="connsiteY129" fmla="*/ 39581 h 111558"/>
                <a:gd name="connsiteX130" fmla="*/ 22276 w 130102"/>
                <a:gd name="connsiteY130" fmla="*/ 38262 h 111558"/>
                <a:gd name="connsiteX131" fmla="*/ 62002 w 130102"/>
                <a:gd name="connsiteY131" fmla="*/ 0 h 111558"/>
                <a:gd name="connsiteX132" fmla="*/ 64356 w 130102"/>
                <a:gd name="connsiteY132" fmla="*/ 284 h 111558"/>
                <a:gd name="connsiteX133" fmla="*/ 66314 w 130102"/>
                <a:gd name="connsiteY133" fmla="*/ 964 h 111558"/>
                <a:gd name="connsiteX134" fmla="*/ 67502 w 130102"/>
                <a:gd name="connsiteY134" fmla="*/ 1378 h 111558"/>
                <a:gd name="connsiteX135" fmla="*/ 71441 w 130102"/>
                <a:gd name="connsiteY135" fmla="*/ 3281 h 111558"/>
                <a:gd name="connsiteX136" fmla="*/ 74170 w 130102"/>
                <a:gd name="connsiteY136" fmla="*/ 5419 h 111558"/>
                <a:gd name="connsiteX137" fmla="*/ 75684 w 130102"/>
                <a:gd name="connsiteY137" fmla="*/ 7791 h 111558"/>
                <a:gd name="connsiteX138" fmla="*/ 77735 w 130102"/>
                <a:gd name="connsiteY138" fmla="*/ 9628 h 111558"/>
                <a:gd name="connsiteX139" fmla="*/ 80320 w 130102"/>
                <a:gd name="connsiteY139" fmla="*/ 10927 h 111558"/>
                <a:gd name="connsiteX140" fmla="*/ 82367 w 130102"/>
                <a:gd name="connsiteY140" fmla="*/ 12689 h 111558"/>
                <a:gd name="connsiteX141" fmla="*/ 83881 w 130102"/>
                <a:gd name="connsiteY141" fmla="*/ 14912 h 111558"/>
                <a:gd name="connsiteX142" fmla="*/ 85997 w 130102"/>
                <a:gd name="connsiteY142" fmla="*/ 16156 h 111558"/>
                <a:gd name="connsiteX143" fmla="*/ 88714 w 130102"/>
                <a:gd name="connsiteY143" fmla="*/ 16426 h 111558"/>
                <a:gd name="connsiteX144" fmla="*/ 90435 w 130102"/>
                <a:gd name="connsiteY144" fmla="*/ 17186 h 111558"/>
                <a:gd name="connsiteX145" fmla="*/ 91156 w 130102"/>
                <a:gd name="connsiteY145" fmla="*/ 18438 h 111558"/>
                <a:gd name="connsiteX146" fmla="*/ 92633 w 130102"/>
                <a:gd name="connsiteY146" fmla="*/ 19572 h 111558"/>
                <a:gd name="connsiteX147" fmla="*/ 94859 w 130102"/>
                <a:gd name="connsiteY147" fmla="*/ 20586 h 111558"/>
                <a:gd name="connsiteX148" fmla="*/ 98325 w 130102"/>
                <a:gd name="connsiteY148" fmla="*/ 21142 h 111558"/>
                <a:gd name="connsiteX149" fmla="*/ 104961 w 130102"/>
                <a:gd name="connsiteY149" fmla="*/ 21274 h 111558"/>
                <a:gd name="connsiteX150" fmla="*/ 105550 w 130102"/>
                <a:gd name="connsiteY150" fmla="*/ 21302 h 111558"/>
                <a:gd name="connsiteX151" fmla="*/ 107047 w 130102"/>
                <a:gd name="connsiteY151" fmla="*/ 21617 h 111558"/>
                <a:gd name="connsiteX152" fmla="*/ 108794 w 130102"/>
                <a:gd name="connsiteY152" fmla="*/ 21223 h 111558"/>
                <a:gd name="connsiteX153" fmla="*/ 110923 w 130102"/>
                <a:gd name="connsiteY153" fmla="*/ 20429 h 111558"/>
                <a:gd name="connsiteX154" fmla="*/ 111609 w 130102"/>
                <a:gd name="connsiteY154" fmla="*/ 19956 h 111558"/>
                <a:gd name="connsiteX155" fmla="*/ 113851 w 130102"/>
                <a:gd name="connsiteY155" fmla="*/ 17359 h 111558"/>
                <a:gd name="connsiteX156" fmla="*/ 115084 w 130102"/>
                <a:gd name="connsiteY156" fmla="*/ 17583 h 111558"/>
                <a:gd name="connsiteX157" fmla="*/ 117544 w 130102"/>
                <a:gd name="connsiteY157" fmla="*/ 17266 h 111558"/>
                <a:gd name="connsiteX158" fmla="*/ 119031 w 130102"/>
                <a:gd name="connsiteY158" fmla="*/ 16690 h 111558"/>
                <a:gd name="connsiteX159" fmla="*/ 119144 w 130102"/>
                <a:gd name="connsiteY159" fmla="*/ 16690 h 111558"/>
                <a:gd name="connsiteX160" fmla="*/ 119049 w 130102"/>
                <a:gd name="connsiteY160" fmla="*/ 17355 h 111558"/>
                <a:gd name="connsiteX161" fmla="*/ 118882 w 130102"/>
                <a:gd name="connsiteY161" fmla="*/ 18516 h 111558"/>
                <a:gd name="connsiteX162" fmla="*/ 117677 w 130102"/>
                <a:gd name="connsiteY162" fmla="*/ 19338 h 111558"/>
                <a:gd name="connsiteX163" fmla="*/ 118904 w 130102"/>
                <a:gd name="connsiteY163" fmla="*/ 21229 h 111558"/>
                <a:gd name="connsiteX164" fmla="*/ 120070 w 130102"/>
                <a:gd name="connsiteY164" fmla="*/ 24293 h 111558"/>
                <a:gd name="connsiteX165" fmla="*/ 119420 w 130102"/>
                <a:gd name="connsiteY165" fmla="*/ 25806 h 111558"/>
                <a:gd name="connsiteX166" fmla="*/ 120212 w 130102"/>
                <a:gd name="connsiteY166" fmla="*/ 26983 h 111558"/>
                <a:gd name="connsiteX167" fmla="*/ 122454 w 130102"/>
                <a:gd name="connsiteY167" fmla="*/ 27828 h 111558"/>
                <a:gd name="connsiteX168" fmla="*/ 122657 w 130102"/>
                <a:gd name="connsiteY168" fmla="*/ 28165 h 111558"/>
                <a:gd name="connsiteX169" fmla="*/ 121972 w 130102"/>
                <a:gd name="connsiteY169" fmla="*/ 28517 h 111558"/>
                <a:gd name="connsiteX170" fmla="*/ 121405 w 130102"/>
                <a:gd name="connsiteY170" fmla="*/ 29516 h 111558"/>
                <a:gd name="connsiteX171" fmla="*/ 121340 w 130102"/>
                <a:gd name="connsiteY171" fmla="*/ 31336 h 111558"/>
                <a:gd name="connsiteX172" fmla="*/ 123294 w 130102"/>
                <a:gd name="connsiteY172" fmla="*/ 33054 h 111558"/>
                <a:gd name="connsiteX173" fmla="*/ 127269 w 130102"/>
                <a:gd name="connsiteY173" fmla="*/ 34670 h 111558"/>
                <a:gd name="connsiteX174" fmla="*/ 128539 w 130102"/>
                <a:gd name="connsiteY174" fmla="*/ 34941 h 111558"/>
                <a:gd name="connsiteX175" fmla="*/ 129025 w 130102"/>
                <a:gd name="connsiteY175" fmla="*/ 35562 h 111558"/>
                <a:gd name="connsiteX176" fmla="*/ 129690 w 130102"/>
                <a:gd name="connsiteY176" fmla="*/ 35968 h 111558"/>
                <a:gd name="connsiteX177" fmla="*/ 130081 w 130102"/>
                <a:gd name="connsiteY177" fmla="*/ 36464 h 111558"/>
                <a:gd name="connsiteX178" fmla="*/ 130102 w 130102"/>
                <a:gd name="connsiteY178" fmla="*/ 37105 h 111558"/>
                <a:gd name="connsiteX179" fmla="*/ 129818 w 130102"/>
                <a:gd name="connsiteY179" fmla="*/ 37545 h 111558"/>
                <a:gd name="connsiteX180" fmla="*/ 127937 w 130102"/>
                <a:gd name="connsiteY180" fmla="*/ 37702 h 111558"/>
                <a:gd name="connsiteX181" fmla="*/ 125790 w 130102"/>
                <a:gd name="connsiteY181" fmla="*/ 37688 h 111558"/>
                <a:gd name="connsiteX182" fmla="*/ 124264 w 130102"/>
                <a:gd name="connsiteY182" fmla="*/ 36909 h 111558"/>
                <a:gd name="connsiteX183" fmla="*/ 124128 w 130102"/>
                <a:gd name="connsiteY183" fmla="*/ 37477 h 111558"/>
                <a:gd name="connsiteX184" fmla="*/ 124104 w 130102"/>
                <a:gd name="connsiteY184" fmla="*/ 38128 h 111558"/>
                <a:gd name="connsiteX185" fmla="*/ 122627 w 130102"/>
                <a:gd name="connsiteY185" fmla="*/ 38525 h 111558"/>
                <a:gd name="connsiteX186" fmla="*/ 123447 w 130102"/>
                <a:gd name="connsiteY186" fmla="*/ 42995 h 111558"/>
                <a:gd name="connsiteX187" fmla="*/ 123121 w 130102"/>
                <a:gd name="connsiteY187" fmla="*/ 44279 h 111558"/>
                <a:gd name="connsiteX188" fmla="*/ 122575 w 130102"/>
                <a:gd name="connsiteY188" fmla="*/ 44710 h 111558"/>
                <a:gd name="connsiteX189" fmla="*/ 122067 w 130102"/>
                <a:gd name="connsiteY189" fmla="*/ 44531 h 111558"/>
                <a:gd name="connsiteX190" fmla="*/ 121448 w 130102"/>
                <a:gd name="connsiteY190" fmla="*/ 44481 h 111558"/>
                <a:gd name="connsiteX191" fmla="*/ 121137 w 130102"/>
                <a:gd name="connsiteY191" fmla="*/ 44900 h 111558"/>
                <a:gd name="connsiteX192" fmla="*/ 121394 w 130102"/>
                <a:gd name="connsiteY192" fmla="*/ 45851 h 111558"/>
                <a:gd name="connsiteX193" fmla="*/ 119938 w 130102"/>
                <a:gd name="connsiteY193" fmla="*/ 45960 h 111558"/>
                <a:gd name="connsiteX194" fmla="*/ 117619 w 130102"/>
                <a:gd name="connsiteY194" fmla="*/ 45467 h 111558"/>
                <a:gd name="connsiteX195" fmla="*/ 116557 w 130102"/>
                <a:gd name="connsiteY195" fmla="*/ 44603 h 111558"/>
                <a:gd name="connsiteX196" fmla="*/ 116375 w 130102"/>
                <a:gd name="connsiteY196" fmla="*/ 43720 h 111558"/>
                <a:gd name="connsiteX197" fmla="*/ 116358 w 130102"/>
                <a:gd name="connsiteY197" fmla="*/ 42900 h 111558"/>
                <a:gd name="connsiteX198" fmla="*/ 115622 w 130102"/>
                <a:gd name="connsiteY198" fmla="*/ 41553 h 111558"/>
                <a:gd name="connsiteX199" fmla="*/ 113776 w 130102"/>
                <a:gd name="connsiteY199" fmla="*/ 40161 h 111558"/>
                <a:gd name="connsiteX200" fmla="*/ 109921 w 130102"/>
                <a:gd name="connsiteY200" fmla="*/ 39931 h 111558"/>
                <a:gd name="connsiteX201" fmla="*/ 108498 w 130102"/>
                <a:gd name="connsiteY201" fmla="*/ 39489 h 111558"/>
                <a:gd name="connsiteX202" fmla="*/ 107032 w 130102"/>
                <a:gd name="connsiteY202" fmla="*/ 38981 h 111558"/>
                <a:gd name="connsiteX203" fmla="*/ 105425 w 130102"/>
                <a:gd name="connsiteY203" fmla="*/ 38605 h 111558"/>
                <a:gd name="connsiteX204" fmla="*/ 103944 w 130102"/>
                <a:gd name="connsiteY204" fmla="*/ 38643 h 111558"/>
                <a:gd name="connsiteX205" fmla="*/ 102158 w 130102"/>
                <a:gd name="connsiteY205" fmla="*/ 39013 h 111558"/>
                <a:gd name="connsiteX206" fmla="*/ 99042 w 130102"/>
                <a:gd name="connsiteY206" fmla="*/ 38400 h 111558"/>
                <a:gd name="connsiteX207" fmla="*/ 97988 w 130102"/>
                <a:gd name="connsiteY207" fmla="*/ 39218 h 111558"/>
                <a:gd name="connsiteX208" fmla="*/ 96347 w 130102"/>
                <a:gd name="connsiteY208" fmla="*/ 40166 h 111558"/>
                <a:gd name="connsiteX209" fmla="*/ 94984 w 130102"/>
                <a:gd name="connsiteY209" fmla="*/ 40142 h 111558"/>
                <a:gd name="connsiteX210" fmla="*/ 92272 w 130102"/>
                <a:gd name="connsiteY210" fmla="*/ 37945 h 111558"/>
                <a:gd name="connsiteX211" fmla="*/ 91463 w 130102"/>
                <a:gd name="connsiteY211" fmla="*/ 37806 h 111558"/>
                <a:gd name="connsiteX212" fmla="*/ 89091 w 130102"/>
                <a:gd name="connsiteY212" fmla="*/ 38926 h 111558"/>
                <a:gd name="connsiteX213" fmla="*/ 88126 w 130102"/>
                <a:gd name="connsiteY213" fmla="*/ 38986 h 111558"/>
                <a:gd name="connsiteX214" fmla="*/ 87386 w 130102"/>
                <a:gd name="connsiteY214" fmla="*/ 38632 h 111558"/>
                <a:gd name="connsiteX215" fmla="*/ 84179 w 130102"/>
                <a:gd name="connsiteY215" fmla="*/ 37793 h 111558"/>
                <a:gd name="connsiteX216" fmla="*/ 82732 w 130102"/>
                <a:gd name="connsiteY216" fmla="*/ 37612 h 111558"/>
                <a:gd name="connsiteX217" fmla="*/ 81670 w 130102"/>
                <a:gd name="connsiteY217" fmla="*/ 38009 h 111558"/>
                <a:gd name="connsiteX218" fmla="*/ 79785 w 130102"/>
                <a:gd name="connsiteY218" fmla="*/ 37579 h 111558"/>
                <a:gd name="connsiteX219" fmla="*/ 75213 w 130102"/>
                <a:gd name="connsiteY219" fmla="*/ 34708 h 111558"/>
                <a:gd name="connsiteX220" fmla="*/ 72387 w 130102"/>
                <a:gd name="connsiteY220" fmla="*/ 36891 h 111558"/>
                <a:gd name="connsiteX221" fmla="*/ 66634 w 130102"/>
                <a:gd name="connsiteY221" fmla="*/ 36348 h 111558"/>
                <a:gd name="connsiteX222" fmla="*/ 64928 w 130102"/>
                <a:gd name="connsiteY222" fmla="*/ 37846 h 111558"/>
                <a:gd name="connsiteX223" fmla="*/ 62972 w 130102"/>
                <a:gd name="connsiteY223" fmla="*/ 40683 h 111558"/>
                <a:gd name="connsiteX224" fmla="*/ 61387 w 130102"/>
                <a:gd name="connsiteY224" fmla="*/ 42037 h 111558"/>
                <a:gd name="connsiteX225" fmla="*/ 60009 w 130102"/>
                <a:gd name="connsiteY225" fmla="*/ 41551 h 111558"/>
                <a:gd name="connsiteX226" fmla="*/ 58379 w 130102"/>
                <a:gd name="connsiteY226" fmla="*/ 40303 h 111558"/>
                <a:gd name="connsiteX227" fmla="*/ 55526 w 130102"/>
                <a:gd name="connsiteY227" fmla="*/ 37091 h 111558"/>
                <a:gd name="connsiteX228" fmla="*/ 54086 w 130102"/>
                <a:gd name="connsiteY228" fmla="*/ 36511 h 111558"/>
                <a:gd name="connsiteX229" fmla="*/ 52429 w 130102"/>
                <a:gd name="connsiteY229" fmla="*/ 36375 h 111558"/>
                <a:gd name="connsiteX230" fmla="*/ 50983 w 130102"/>
                <a:gd name="connsiteY230" fmla="*/ 36730 h 111558"/>
                <a:gd name="connsiteX231" fmla="*/ 50214 w 130102"/>
                <a:gd name="connsiteY231" fmla="*/ 37382 h 111558"/>
                <a:gd name="connsiteX232" fmla="*/ 49626 w 130102"/>
                <a:gd name="connsiteY232" fmla="*/ 42073 h 111558"/>
                <a:gd name="connsiteX233" fmla="*/ 49106 w 130102"/>
                <a:gd name="connsiteY233" fmla="*/ 46200 h 111558"/>
                <a:gd name="connsiteX234" fmla="*/ 49076 w 130102"/>
                <a:gd name="connsiteY234" fmla="*/ 48671 h 111558"/>
                <a:gd name="connsiteX235" fmla="*/ 52248 w 130102"/>
                <a:gd name="connsiteY235" fmla="*/ 50957 h 111558"/>
                <a:gd name="connsiteX236" fmla="*/ 55984 w 130102"/>
                <a:gd name="connsiteY236" fmla="*/ 54887 h 111558"/>
                <a:gd name="connsiteX237" fmla="*/ 57187 w 130102"/>
                <a:gd name="connsiteY237" fmla="*/ 55338 h 111558"/>
                <a:gd name="connsiteX238" fmla="*/ 57781 w 130102"/>
                <a:gd name="connsiteY238" fmla="*/ 56624 h 111558"/>
                <a:gd name="connsiteX239" fmla="*/ 58655 w 130102"/>
                <a:gd name="connsiteY239" fmla="*/ 59931 h 111558"/>
                <a:gd name="connsiteX240" fmla="*/ 59637 w 130102"/>
                <a:gd name="connsiteY240" fmla="*/ 63645 h 111558"/>
                <a:gd name="connsiteX241" fmla="*/ 61536 w 130102"/>
                <a:gd name="connsiteY241" fmla="*/ 66102 h 111558"/>
                <a:gd name="connsiteX242" fmla="*/ 63248 w 130102"/>
                <a:gd name="connsiteY242" fmla="*/ 67859 h 111558"/>
                <a:gd name="connsiteX243" fmla="*/ 65338 w 130102"/>
                <a:gd name="connsiteY243" fmla="*/ 69403 h 111558"/>
                <a:gd name="connsiteX244" fmla="*/ 67957 w 130102"/>
                <a:gd name="connsiteY244" fmla="*/ 71822 h 111558"/>
                <a:gd name="connsiteX245" fmla="*/ 70106 w 130102"/>
                <a:gd name="connsiteY245" fmla="*/ 74474 h 111558"/>
                <a:gd name="connsiteX246" fmla="*/ 70676 w 130102"/>
                <a:gd name="connsiteY246" fmla="*/ 75452 h 111558"/>
                <a:gd name="connsiteX247" fmla="*/ 74842 w 130102"/>
                <a:gd name="connsiteY247" fmla="*/ 78954 h 111558"/>
                <a:gd name="connsiteX248" fmla="*/ 78882 w 130102"/>
                <a:gd name="connsiteY248" fmla="*/ 82524 h 111558"/>
                <a:gd name="connsiteX249" fmla="*/ 82497 w 130102"/>
                <a:gd name="connsiteY249" fmla="*/ 83772 h 111558"/>
                <a:gd name="connsiteX250" fmla="*/ 83067 w 130102"/>
                <a:gd name="connsiteY250" fmla="*/ 84431 h 111558"/>
                <a:gd name="connsiteX251" fmla="*/ 83099 w 130102"/>
                <a:gd name="connsiteY251" fmla="*/ 87172 h 111558"/>
                <a:gd name="connsiteX252" fmla="*/ 83492 w 130102"/>
                <a:gd name="connsiteY252" fmla="*/ 88200 h 111558"/>
                <a:gd name="connsiteX253" fmla="*/ 85906 w 130102"/>
                <a:gd name="connsiteY253" fmla="*/ 91066 h 111558"/>
                <a:gd name="connsiteX254" fmla="*/ 90828 w 130102"/>
                <a:gd name="connsiteY254" fmla="*/ 95255 h 111558"/>
                <a:gd name="connsiteX255" fmla="*/ 91396 w 130102"/>
                <a:gd name="connsiteY255" fmla="*/ 96225 h 111558"/>
                <a:gd name="connsiteX256" fmla="*/ 91558 w 130102"/>
                <a:gd name="connsiteY256" fmla="*/ 96935 h 111558"/>
                <a:gd name="connsiteX257" fmla="*/ 91240 w 130102"/>
                <a:gd name="connsiteY257" fmla="*/ 97480 h 111558"/>
                <a:gd name="connsiteX258" fmla="*/ 89951 w 130102"/>
                <a:gd name="connsiteY258" fmla="*/ 98053 h 111558"/>
                <a:gd name="connsiteX259" fmla="*/ 88893 w 130102"/>
                <a:gd name="connsiteY259" fmla="*/ 97413 h 111558"/>
                <a:gd name="connsiteX260" fmla="*/ 84306 w 130102"/>
                <a:gd name="connsiteY260" fmla="*/ 93321 h 111558"/>
                <a:gd name="connsiteX261" fmla="*/ 79873 w 130102"/>
                <a:gd name="connsiteY261" fmla="*/ 90738 h 111558"/>
                <a:gd name="connsiteX262" fmla="*/ 74870 w 130102"/>
                <a:gd name="connsiteY262" fmla="*/ 85865 h 111558"/>
                <a:gd name="connsiteX263" fmla="*/ 68173 w 130102"/>
                <a:gd name="connsiteY263" fmla="*/ 83938 h 111558"/>
                <a:gd name="connsiteX264" fmla="*/ 63611 w 130102"/>
                <a:gd name="connsiteY264" fmla="*/ 81802 h 111558"/>
                <a:gd name="connsiteX265" fmla="*/ 60847 w 130102"/>
                <a:gd name="connsiteY265" fmla="*/ 82129 h 111558"/>
                <a:gd name="connsiteX266" fmla="*/ 57798 w 130102"/>
                <a:gd name="connsiteY266" fmla="*/ 82801 h 111558"/>
                <a:gd name="connsiteX267" fmla="*/ 55917 w 130102"/>
                <a:gd name="connsiteY267" fmla="*/ 82822 h 111558"/>
                <a:gd name="connsiteX268" fmla="*/ 54580 w 130102"/>
                <a:gd name="connsiteY268" fmla="*/ 82438 h 111558"/>
                <a:gd name="connsiteX269" fmla="*/ 53630 w 130102"/>
                <a:gd name="connsiteY269" fmla="*/ 81113 h 111558"/>
                <a:gd name="connsiteX270" fmla="*/ 53775 w 130102"/>
                <a:gd name="connsiteY270" fmla="*/ 80088 h 111558"/>
                <a:gd name="connsiteX271" fmla="*/ 53606 w 130102"/>
                <a:gd name="connsiteY271" fmla="*/ 78749 h 111558"/>
                <a:gd name="connsiteX272" fmla="*/ 50933 w 130102"/>
                <a:gd name="connsiteY272" fmla="*/ 76610 h 111558"/>
                <a:gd name="connsiteX273" fmla="*/ 47286 w 130102"/>
                <a:gd name="connsiteY273" fmla="*/ 74575 h 111558"/>
                <a:gd name="connsiteX274" fmla="*/ 43831 w 130102"/>
                <a:gd name="connsiteY274" fmla="*/ 71940 h 111558"/>
                <a:gd name="connsiteX275" fmla="*/ 36897 w 130102"/>
                <a:gd name="connsiteY275" fmla="*/ 64811 h 111558"/>
                <a:gd name="connsiteX276" fmla="*/ 35506 w 130102"/>
                <a:gd name="connsiteY276" fmla="*/ 62516 h 111558"/>
                <a:gd name="connsiteX277" fmla="*/ 36871 w 130102"/>
                <a:gd name="connsiteY277" fmla="*/ 62079 h 111558"/>
                <a:gd name="connsiteX278" fmla="*/ 37903 w 130102"/>
                <a:gd name="connsiteY278" fmla="*/ 62118 h 111558"/>
                <a:gd name="connsiteX279" fmla="*/ 39074 w 130102"/>
                <a:gd name="connsiteY279" fmla="*/ 61647 h 111558"/>
                <a:gd name="connsiteX280" fmla="*/ 40963 w 130102"/>
                <a:gd name="connsiteY280" fmla="*/ 61635 h 111558"/>
                <a:gd name="connsiteX281" fmla="*/ 43202 w 130102"/>
                <a:gd name="connsiteY281" fmla="*/ 62104 h 111558"/>
                <a:gd name="connsiteX282" fmla="*/ 41220 w 130102"/>
                <a:gd name="connsiteY282" fmla="*/ 60576 h 111558"/>
                <a:gd name="connsiteX283" fmla="*/ 38754 w 130102"/>
                <a:gd name="connsiteY283" fmla="*/ 59076 h 111558"/>
                <a:gd name="connsiteX284" fmla="*/ 32375 w 130102"/>
                <a:gd name="connsiteY284" fmla="*/ 53109 h 111558"/>
                <a:gd name="connsiteX285" fmla="*/ 30471 w 130102"/>
                <a:gd name="connsiteY285" fmla="*/ 50286 h 111558"/>
                <a:gd name="connsiteX286" fmla="*/ 30250 w 130102"/>
                <a:gd name="connsiteY286" fmla="*/ 47241 h 111558"/>
                <a:gd name="connsiteX287" fmla="*/ 30721 w 130102"/>
                <a:gd name="connsiteY287" fmla="*/ 43060 h 111558"/>
                <a:gd name="connsiteX288" fmla="*/ 29572 w 130102"/>
                <a:gd name="connsiteY288" fmla="*/ 40063 h 111558"/>
                <a:gd name="connsiteX289" fmla="*/ 24651 w 130102"/>
                <a:gd name="connsiteY289" fmla="*/ 36179 h 111558"/>
                <a:gd name="connsiteX290" fmla="*/ 22848 w 130102"/>
                <a:gd name="connsiteY290" fmla="*/ 34128 h 111558"/>
                <a:gd name="connsiteX291" fmla="*/ 19214 w 130102"/>
                <a:gd name="connsiteY291" fmla="*/ 32910 h 111558"/>
                <a:gd name="connsiteX292" fmla="*/ 17590 w 130102"/>
                <a:gd name="connsiteY292" fmla="*/ 33030 h 111558"/>
                <a:gd name="connsiteX293" fmla="*/ 16614 w 130102"/>
                <a:gd name="connsiteY293" fmla="*/ 34545 h 111558"/>
                <a:gd name="connsiteX294" fmla="*/ 15901 w 130102"/>
                <a:gd name="connsiteY294" fmla="*/ 37910 h 111558"/>
                <a:gd name="connsiteX295" fmla="*/ 12679 w 130102"/>
                <a:gd name="connsiteY295" fmla="*/ 42343 h 111558"/>
                <a:gd name="connsiteX296" fmla="*/ 11604 w 130102"/>
                <a:gd name="connsiteY296" fmla="*/ 44267 h 111558"/>
                <a:gd name="connsiteX297" fmla="*/ 9920 w 130102"/>
                <a:gd name="connsiteY297" fmla="*/ 46766 h 111558"/>
                <a:gd name="connsiteX298" fmla="*/ 8460 w 130102"/>
                <a:gd name="connsiteY298" fmla="*/ 46938 h 111558"/>
                <a:gd name="connsiteX299" fmla="*/ 7596 w 130102"/>
                <a:gd name="connsiteY299" fmla="*/ 46718 h 111558"/>
                <a:gd name="connsiteX300" fmla="*/ 4981 w 130102"/>
                <a:gd name="connsiteY300" fmla="*/ 42510 h 111558"/>
                <a:gd name="connsiteX301" fmla="*/ 2478 w 130102"/>
                <a:gd name="connsiteY301" fmla="*/ 39319 h 111558"/>
                <a:gd name="connsiteX302" fmla="*/ 2129 w 130102"/>
                <a:gd name="connsiteY302" fmla="*/ 37807 h 111558"/>
                <a:gd name="connsiteX303" fmla="*/ 1904 w 130102"/>
                <a:gd name="connsiteY303" fmla="*/ 35946 h 111558"/>
                <a:gd name="connsiteX304" fmla="*/ 0 w 130102"/>
                <a:gd name="connsiteY304" fmla="*/ 29077 h 111558"/>
                <a:gd name="connsiteX305" fmla="*/ 1343 w 130102"/>
                <a:gd name="connsiteY305" fmla="*/ 28113 h 111558"/>
                <a:gd name="connsiteX306" fmla="*/ 2168 w 130102"/>
                <a:gd name="connsiteY306" fmla="*/ 29216 h 111558"/>
                <a:gd name="connsiteX307" fmla="*/ 7994 w 130102"/>
                <a:gd name="connsiteY307" fmla="*/ 30544 h 111558"/>
                <a:gd name="connsiteX308" fmla="*/ 9252 w 130102"/>
                <a:gd name="connsiteY308" fmla="*/ 29955 h 111558"/>
                <a:gd name="connsiteX309" fmla="*/ 10015 w 130102"/>
                <a:gd name="connsiteY309" fmla="*/ 29055 h 111558"/>
                <a:gd name="connsiteX310" fmla="*/ 10019 w 130102"/>
                <a:gd name="connsiteY310" fmla="*/ 28485 h 111558"/>
                <a:gd name="connsiteX311" fmla="*/ 10516 w 130102"/>
                <a:gd name="connsiteY311" fmla="*/ 28318 h 111558"/>
                <a:gd name="connsiteX312" fmla="*/ 12567 w 130102"/>
                <a:gd name="connsiteY312" fmla="*/ 29186 h 111558"/>
                <a:gd name="connsiteX313" fmla="*/ 14241 w 130102"/>
                <a:gd name="connsiteY313" fmla="*/ 28985 h 111558"/>
                <a:gd name="connsiteX314" fmla="*/ 16933 w 130102"/>
                <a:gd name="connsiteY314" fmla="*/ 28945 h 111558"/>
                <a:gd name="connsiteX315" fmla="*/ 18855 w 130102"/>
                <a:gd name="connsiteY315" fmla="*/ 29087 h 111558"/>
                <a:gd name="connsiteX316" fmla="*/ 20125 w 130102"/>
                <a:gd name="connsiteY316" fmla="*/ 28419 h 111558"/>
                <a:gd name="connsiteX317" fmla="*/ 21846 w 130102"/>
                <a:gd name="connsiteY317" fmla="*/ 25960 h 111558"/>
                <a:gd name="connsiteX318" fmla="*/ 22483 w 130102"/>
                <a:gd name="connsiteY318" fmla="*/ 24583 h 111558"/>
                <a:gd name="connsiteX319" fmla="*/ 23254 w 130102"/>
                <a:gd name="connsiteY319" fmla="*/ 24254 h 111558"/>
                <a:gd name="connsiteX320" fmla="*/ 23761 w 130102"/>
                <a:gd name="connsiteY320" fmla="*/ 24418 h 111558"/>
                <a:gd name="connsiteX321" fmla="*/ 24133 w 130102"/>
                <a:gd name="connsiteY321" fmla="*/ 25550 h 111558"/>
                <a:gd name="connsiteX322" fmla="*/ 25038 w 130102"/>
                <a:gd name="connsiteY322" fmla="*/ 26613 h 111558"/>
                <a:gd name="connsiteX323" fmla="*/ 26897 w 130102"/>
                <a:gd name="connsiteY323" fmla="*/ 28344 h 111558"/>
                <a:gd name="connsiteX324" fmla="*/ 28212 w 130102"/>
                <a:gd name="connsiteY324" fmla="*/ 29175 h 111558"/>
                <a:gd name="connsiteX325" fmla="*/ 29406 w 130102"/>
                <a:gd name="connsiteY325" fmla="*/ 29474 h 111558"/>
                <a:gd name="connsiteX326" fmla="*/ 30576 w 130102"/>
                <a:gd name="connsiteY326" fmla="*/ 28778 h 111558"/>
                <a:gd name="connsiteX327" fmla="*/ 31784 w 130102"/>
                <a:gd name="connsiteY327" fmla="*/ 28580 h 111558"/>
                <a:gd name="connsiteX328" fmla="*/ 35230 w 130102"/>
                <a:gd name="connsiteY328" fmla="*/ 29929 h 111558"/>
                <a:gd name="connsiteX329" fmla="*/ 38141 w 130102"/>
                <a:gd name="connsiteY329" fmla="*/ 30186 h 111558"/>
                <a:gd name="connsiteX330" fmla="*/ 40294 w 130102"/>
                <a:gd name="connsiteY330" fmla="*/ 29482 h 111558"/>
                <a:gd name="connsiteX331" fmla="*/ 40011 w 130102"/>
                <a:gd name="connsiteY331" fmla="*/ 28514 h 111558"/>
                <a:gd name="connsiteX332" fmla="*/ 39227 w 130102"/>
                <a:gd name="connsiteY332" fmla="*/ 27435 h 111558"/>
                <a:gd name="connsiteX333" fmla="*/ 39058 w 130102"/>
                <a:gd name="connsiteY333" fmla="*/ 26387 h 111558"/>
                <a:gd name="connsiteX334" fmla="*/ 39203 w 130102"/>
                <a:gd name="connsiteY334" fmla="*/ 25481 h 111558"/>
                <a:gd name="connsiteX335" fmla="*/ 40680 w 130102"/>
                <a:gd name="connsiteY335" fmla="*/ 24577 h 111558"/>
                <a:gd name="connsiteX336" fmla="*/ 40609 w 130102"/>
                <a:gd name="connsiteY336" fmla="*/ 24180 h 111558"/>
                <a:gd name="connsiteX337" fmla="*/ 38823 w 130102"/>
                <a:gd name="connsiteY337" fmla="*/ 22589 h 111558"/>
                <a:gd name="connsiteX338" fmla="*/ 38914 w 130102"/>
                <a:gd name="connsiteY338" fmla="*/ 22179 h 111558"/>
                <a:gd name="connsiteX339" fmla="*/ 42829 w 130102"/>
                <a:gd name="connsiteY339" fmla="*/ 20389 h 111558"/>
                <a:gd name="connsiteX340" fmla="*/ 46603 w 130102"/>
                <a:gd name="connsiteY340" fmla="*/ 19384 h 111558"/>
                <a:gd name="connsiteX341" fmla="*/ 47208 w 130102"/>
                <a:gd name="connsiteY341" fmla="*/ 18609 h 111558"/>
                <a:gd name="connsiteX342" fmla="*/ 47560 w 130102"/>
                <a:gd name="connsiteY342" fmla="*/ 17443 h 111558"/>
                <a:gd name="connsiteX343" fmla="*/ 47726 w 130102"/>
                <a:gd name="connsiteY343" fmla="*/ 15256 h 111558"/>
                <a:gd name="connsiteX344" fmla="*/ 47519 w 130102"/>
                <a:gd name="connsiteY344" fmla="*/ 13466 h 111558"/>
                <a:gd name="connsiteX345" fmla="*/ 45986 w 130102"/>
                <a:gd name="connsiteY345" fmla="*/ 11787 h 111558"/>
                <a:gd name="connsiteX346" fmla="*/ 45891 w 130102"/>
                <a:gd name="connsiteY346" fmla="*/ 10937 h 111558"/>
                <a:gd name="connsiteX347" fmla="*/ 46254 w 130102"/>
                <a:gd name="connsiteY347" fmla="*/ 10054 h 111558"/>
                <a:gd name="connsiteX348" fmla="*/ 46849 w 130102"/>
                <a:gd name="connsiteY348" fmla="*/ 9256 h 111558"/>
                <a:gd name="connsiteX349" fmla="*/ 48359 w 130102"/>
                <a:gd name="connsiteY349" fmla="*/ 8910 h 111558"/>
                <a:gd name="connsiteX350" fmla="*/ 50130 w 130102"/>
                <a:gd name="connsiteY350" fmla="*/ 8336 h 111558"/>
                <a:gd name="connsiteX351" fmla="*/ 51529 w 130102"/>
                <a:gd name="connsiteY351" fmla="*/ 7675 h 111558"/>
                <a:gd name="connsiteX352" fmla="*/ 53425 w 130102"/>
                <a:gd name="connsiteY352" fmla="*/ 7127 h 111558"/>
                <a:gd name="connsiteX353" fmla="*/ 54915 w 130102"/>
                <a:gd name="connsiteY353" fmla="*/ 6359 h 111558"/>
                <a:gd name="connsiteX354" fmla="*/ 56370 w 130102"/>
                <a:gd name="connsiteY354" fmla="*/ 4531 h 111558"/>
                <a:gd name="connsiteX355" fmla="*/ 57253 w 130102"/>
                <a:gd name="connsiteY355" fmla="*/ 4229 h 111558"/>
                <a:gd name="connsiteX356" fmla="*/ 59929 w 130102"/>
                <a:gd name="connsiteY356" fmla="*/ 4489 h 111558"/>
                <a:gd name="connsiteX357" fmla="*/ 60501 w 130102"/>
                <a:gd name="connsiteY357" fmla="*/ 4038 h 111558"/>
                <a:gd name="connsiteX358" fmla="*/ 60134 w 130102"/>
                <a:gd name="connsiteY358" fmla="*/ 1410 h 111558"/>
                <a:gd name="connsiteX359" fmla="*/ 60613 w 130102"/>
                <a:gd name="connsiteY359" fmla="*/ 742 h 111558"/>
                <a:gd name="connsiteX360" fmla="*/ 61559 w 130102"/>
                <a:gd name="connsiteY360" fmla="*/ 368 h 11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Lst>
              <a:rect l="l" t="t" r="r" b="b"/>
              <a:pathLst>
                <a:path w="130102" h="111558">
                  <a:moveTo>
                    <a:pt x="86563" y="101746"/>
                  </a:moveTo>
                  <a:lnTo>
                    <a:pt x="90452" y="102584"/>
                  </a:lnTo>
                  <a:lnTo>
                    <a:pt x="93469" y="104421"/>
                  </a:lnTo>
                  <a:lnTo>
                    <a:pt x="84622" y="102014"/>
                  </a:lnTo>
                  <a:lnTo>
                    <a:pt x="85626" y="101793"/>
                  </a:lnTo>
                  <a:close/>
                  <a:moveTo>
                    <a:pt x="69288" y="96494"/>
                  </a:moveTo>
                  <a:lnTo>
                    <a:pt x="73375" y="97242"/>
                  </a:lnTo>
                  <a:lnTo>
                    <a:pt x="76373" y="96898"/>
                  </a:lnTo>
                  <a:lnTo>
                    <a:pt x="79083" y="97357"/>
                  </a:lnTo>
                  <a:lnTo>
                    <a:pt x="80767" y="98207"/>
                  </a:lnTo>
                  <a:lnTo>
                    <a:pt x="81175" y="98624"/>
                  </a:lnTo>
                  <a:lnTo>
                    <a:pt x="78988" y="98682"/>
                  </a:lnTo>
                  <a:lnTo>
                    <a:pt x="76515" y="98337"/>
                  </a:lnTo>
                  <a:lnTo>
                    <a:pt x="73710" y="99201"/>
                  </a:lnTo>
                  <a:lnTo>
                    <a:pt x="71238" y="98739"/>
                  </a:lnTo>
                  <a:lnTo>
                    <a:pt x="70298" y="98178"/>
                  </a:lnTo>
                  <a:lnTo>
                    <a:pt x="69633" y="97476"/>
                  </a:lnTo>
                  <a:close/>
                  <a:moveTo>
                    <a:pt x="81872" y="95708"/>
                  </a:moveTo>
                  <a:lnTo>
                    <a:pt x="93013" y="100400"/>
                  </a:lnTo>
                  <a:lnTo>
                    <a:pt x="91773" y="99158"/>
                  </a:lnTo>
                  <a:lnTo>
                    <a:pt x="93380" y="98666"/>
                  </a:lnTo>
                  <a:lnTo>
                    <a:pt x="94745" y="99020"/>
                  </a:lnTo>
                  <a:lnTo>
                    <a:pt x="95615" y="100551"/>
                  </a:lnTo>
                  <a:lnTo>
                    <a:pt x="97330" y="101558"/>
                  </a:lnTo>
                  <a:lnTo>
                    <a:pt x="100109" y="103327"/>
                  </a:lnTo>
                  <a:lnTo>
                    <a:pt x="101864" y="104682"/>
                  </a:lnTo>
                  <a:lnTo>
                    <a:pt x="105846" y="107117"/>
                  </a:lnTo>
                  <a:lnTo>
                    <a:pt x="106788" y="107457"/>
                  </a:lnTo>
                  <a:lnTo>
                    <a:pt x="108772" y="108176"/>
                  </a:lnTo>
                  <a:lnTo>
                    <a:pt x="108811" y="109157"/>
                  </a:lnTo>
                  <a:lnTo>
                    <a:pt x="109664" y="110273"/>
                  </a:lnTo>
                  <a:lnTo>
                    <a:pt x="110566" y="111558"/>
                  </a:lnTo>
                  <a:lnTo>
                    <a:pt x="106488" y="109026"/>
                  </a:lnTo>
                  <a:lnTo>
                    <a:pt x="102676" y="106192"/>
                  </a:lnTo>
                  <a:lnTo>
                    <a:pt x="95229" y="101826"/>
                  </a:lnTo>
                  <a:lnTo>
                    <a:pt x="89946" y="100762"/>
                  </a:lnTo>
                  <a:lnTo>
                    <a:pt x="82721" y="97247"/>
                  </a:lnTo>
                  <a:lnTo>
                    <a:pt x="78016" y="96003"/>
                  </a:lnTo>
                  <a:lnTo>
                    <a:pt x="79808" y="95716"/>
                  </a:lnTo>
                  <a:close/>
                  <a:moveTo>
                    <a:pt x="66429" y="90251"/>
                  </a:moveTo>
                  <a:lnTo>
                    <a:pt x="69404" y="90667"/>
                  </a:lnTo>
                  <a:lnTo>
                    <a:pt x="70318" y="91709"/>
                  </a:lnTo>
                  <a:lnTo>
                    <a:pt x="78364" y="92543"/>
                  </a:lnTo>
                  <a:lnTo>
                    <a:pt x="81302" y="93029"/>
                  </a:lnTo>
                  <a:lnTo>
                    <a:pt x="79756" y="93307"/>
                  </a:lnTo>
                  <a:lnTo>
                    <a:pt x="69918" y="93100"/>
                  </a:lnTo>
                  <a:lnTo>
                    <a:pt x="67057" y="92543"/>
                  </a:lnTo>
                  <a:lnTo>
                    <a:pt x="63874" y="91108"/>
                  </a:lnTo>
                  <a:lnTo>
                    <a:pt x="63224" y="90667"/>
                  </a:lnTo>
                  <a:close/>
                  <a:moveTo>
                    <a:pt x="64827" y="86010"/>
                  </a:moveTo>
                  <a:lnTo>
                    <a:pt x="68202" y="86149"/>
                  </a:lnTo>
                  <a:lnTo>
                    <a:pt x="73350" y="86984"/>
                  </a:lnTo>
                  <a:lnTo>
                    <a:pt x="74609" y="87957"/>
                  </a:lnTo>
                  <a:lnTo>
                    <a:pt x="74218" y="88406"/>
                  </a:lnTo>
                  <a:lnTo>
                    <a:pt x="72263" y="89139"/>
                  </a:lnTo>
                  <a:lnTo>
                    <a:pt x="68774" y="89209"/>
                  </a:lnTo>
                  <a:lnTo>
                    <a:pt x="65742" y="88722"/>
                  </a:lnTo>
                  <a:lnTo>
                    <a:pt x="64256" y="87887"/>
                  </a:lnTo>
                  <a:lnTo>
                    <a:pt x="64367" y="87184"/>
                  </a:lnTo>
                  <a:close/>
                  <a:moveTo>
                    <a:pt x="38758" y="69183"/>
                  </a:moveTo>
                  <a:lnTo>
                    <a:pt x="41000" y="70181"/>
                  </a:lnTo>
                  <a:lnTo>
                    <a:pt x="42455" y="72191"/>
                  </a:lnTo>
                  <a:lnTo>
                    <a:pt x="41063" y="71778"/>
                  </a:lnTo>
                  <a:lnTo>
                    <a:pt x="39611" y="70534"/>
                  </a:lnTo>
                  <a:close/>
                  <a:moveTo>
                    <a:pt x="34243" y="65203"/>
                  </a:moveTo>
                  <a:lnTo>
                    <a:pt x="37897" y="67787"/>
                  </a:lnTo>
                  <a:lnTo>
                    <a:pt x="38242" y="68741"/>
                  </a:lnTo>
                  <a:lnTo>
                    <a:pt x="35483" y="66947"/>
                  </a:lnTo>
                  <a:lnTo>
                    <a:pt x="34437" y="65741"/>
                  </a:lnTo>
                  <a:close/>
                  <a:moveTo>
                    <a:pt x="29804" y="64924"/>
                  </a:moveTo>
                  <a:lnTo>
                    <a:pt x="31738" y="66300"/>
                  </a:lnTo>
                  <a:lnTo>
                    <a:pt x="36962" y="71573"/>
                  </a:lnTo>
                  <a:lnTo>
                    <a:pt x="37277" y="71969"/>
                  </a:lnTo>
                  <a:lnTo>
                    <a:pt x="37247" y="72239"/>
                  </a:lnTo>
                  <a:lnTo>
                    <a:pt x="36100" y="71858"/>
                  </a:lnTo>
                  <a:lnTo>
                    <a:pt x="35791" y="71981"/>
                  </a:lnTo>
                  <a:lnTo>
                    <a:pt x="30384" y="66074"/>
                  </a:lnTo>
                  <a:close/>
                  <a:moveTo>
                    <a:pt x="27080" y="50537"/>
                  </a:moveTo>
                  <a:lnTo>
                    <a:pt x="28449" y="51863"/>
                  </a:lnTo>
                  <a:lnTo>
                    <a:pt x="29590" y="52692"/>
                  </a:lnTo>
                  <a:lnTo>
                    <a:pt x="30533" y="52894"/>
                  </a:lnTo>
                  <a:lnTo>
                    <a:pt x="32930" y="54978"/>
                  </a:lnTo>
                  <a:lnTo>
                    <a:pt x="35286" y="57656"/>
                  </a:lnTo>
                  <a:lnTo>
                    <a:pt x="38093" y="59980"/>
                  </a:lnTo>
                  <a:lnTo>
                    <a:pt x="37510" y="60052"/>
                  </a:lnTo>
                  <a:lnTo>
                    <a:pt x="36955" y="60373"/>
                  </a:lnTo>
                  <a:lnTo>
                    <a:pt x="36383" y="61094"/>
                  </a:lnTo>
                  <a:lnTo>
                    <a:pt x="34954" y="59765"/>
                  </a:lnTo>
                  <a:lnTo>
                    <a:pt x="33641" y="58817"/>
                  </a:lnTo>
                  <a:lnTo>
                    <a:pt x="32701" y="57695"/>
                  </a:lnTo>
                  <a:lnTo>
                    <a:pt x="30859" y="56295"/>
                  </a:lnTo>
                  <a:lnTo>
                    <a:pt x="30237" y="54693"/>
                  </a:lnTo>
                  <a:lnTo>
                    <a:pt x="27491" y="51425"/>
                  </a:lnTo>
                  <a:close/>
                  <a:moveTo>
                    <a:pt x="25944" y="46425"/>
                  </a:moveTo>
                  <a:lnTo>
                    <a:pt x="27353" y="46516"/>
                  </a:lnTo>
                  <a:lnTo>
                    <a:pt x="27564" y="47155"/>
                  </a:lnTo>
                  <a:lnTo>
                    <a:pt x="29061" y="48859"/>
                  </a:lnTo>
                  <a:lnTo>
                    <a:pt x="29618" y="50061"/>
                  </a:lnTo>
                  <a:lnTo>
                    <a:pt x="27536" y="48976"/>
                  </a:lnTo>
                  <a:lnTo>
                    <a:pt x="25672" y="48561"/>
                  </a:lnTo>
                  <a:lnTo>
                    <a:pt x="25277" y="47744"/>
                  </a:lnTo>
                  <a:lnTo>
                    <a:pt x="25545" y="47074"/>
                  </a:lnTo>
                  <a:close/>
                  <a:moveTo>
                    <a:pt x="18596" y="37698"/>
                  </a:moveTo>
                  <a:lnTo>
                    <a:pt x="18838" y="40065"/>
                  </a:lnTo>
                  <a:lnTo>
                    <a:pt x="19382" y="41424"/>
                  </a:lnTo>
                  <a:lnTo>
                    <a:pt x="21010" y="43092"/>
                  </a:lnTo>
                  <a:lnTo>
                    <a:pt x="20682" y="45851"/>
                  </a:lnTo>
                  <a:lnTo>
                    <a:pt x="21015" y="49774"/>
                  </a:lnTo>
                  <a:lnTo>
                    <a:pt x="21345" y="50646"/>
                  </a:lnTo>
                  <a:lnTo>
                    <a:pt x="21468" y="51553"/>
                  </a:lnTo>
                  <a:lnTo>
                    <a:pt x="21297" y="52610"/>
                  </a:lnTo>
                  <a:lnTo>
                    <a:pt x="19952" y="51274"/>
                  </a:lnTo>
                  <a:lnTo>
                    <a:pt x="19274" y="48876"/>
                  </a:lnTo>
                  <a:lnTo>
                    <a:pt x="17583" y="44999"/>
                  </a:lnTo>
                  <a:lnTo>
                    <a:pt x="17365" y="43906"/>
                  </a:lnTo>
                  <a:lnTo>
                    <a:pt x="18242" y="42826"/>
                  </a:lnTo>
                  <a:lnTo>
                    <a:pt x="18195" y="41732"/>
                  </a:lnTo>
                  <a:lnTo>
                    <a:pt x="16996" y="38322"/>
                  </a:lnTo>
                  <a:lnTo>
                    <a:pt x="18000" y="37765"/>
                  </a:lnTo>
                  <a:close/>
                  <a:moveTo>
                    <a:pt x="23304" y="36128"/>
                  </a:moveTo>
                  <a:lnTo>
                    <a:pt x="24606" y="37408"/>
                  </a:lnTo>
                  <a:lnTo>
                    <a:pt x="26180" y="39816"/>
                  </a:lnTo>
                  <a:lnTo>
                    <a:pt x="27020" y="40488"/>
                  </a:lnTo>
                  <a:lnTo>
                    <a:pt x="28592" y="42905"/>
                  </a:lnTo>
                  <a:lnTo>
                    <a:pt x="25867" y="43491"/>
                  </a:lnTo>
                  <a:lnTo>
                    <a:pt x="24569" y="42443"/>
                  </a:lnTo>
                  <a:lnTo>
                    <a:pt x="24230" y="41583"/>
                  </a:lnTo>
                  <a:lnTo>
                    <a:pt x="21991" y="41310"/>
                  </a:lnTo>
                  <a:lnTo>
                    <a:pt x="20635" y="40112"/>
                  </a:lnTo>
                  <a:lnTo>
                    <a:pt x="20358" y="39581"/>
                  </a:lnTo>
                  <a:lnTo>
                    <a:pt x="22276" y="38262"/>
                  </a:lnTo>
                  <a:close/>
                  <a:moveTo>
                    <a:pt x="62002" y="0"/>
                  </a:moveTo>
                  <a:lnTo>
                    <a:pt x="64356" y="284"/>
                  </a:lnTo>
                  <a:lnTo>
                    <a:pt x="66314" y="964"/>
                  </a:lnTo>
                  <a:lnTo>
                    <a:pt x="67502" y="1378"/>
                  </a:lnTo>
                  <a:lnTo>
                    <a:pt x="71441" y="3281"/>
                  </a:lnTo>
                  <a:lnTo>
                    <a:pt x="74170" y="5419"/>
                  </a:lnTo>
                  <a:lnTo>
                    <a:pt x="75684" y="7791"/>
                  </a:lnTo>
                  <a:lnTo>
                    <a:pt x="77735" y="9628"/>
                  </a:lnTo>
                  <a:lnTo>
                    <a:pt x="80320" y="10927"/>
                  </a:lnTo>
                  <a:lnTo>
                    <a:pt x="82367" y="12689"/>
                  </a:lnTo>
                  <a:lnTo>
                    <a:pt x="83881" y="14912"/>
                  </a:lnTo>
                  <a:lnTo>
                    <a:pt x="85997" y="16156"/>
                  </a:lnTo>
                  <a:lnTo>
                    <a:pt x="88714" y="16426"/>
                  </a:lnTo>
                  <a:lnTo>
                    <a:pt x="90435" y="17186"/>
                  </a:lnTo>
                  <a:lnTo>
                    <a:pt x="91156" y="18438"/>
                  </a:lnTo>
                  <a:lnTo>
                    <a:pt x="92633" y="19572"/>
                  </a:lnTo>
                  <a:lnTo>
                    <a:pt x="94859" y="20586"/>
                  </a:lnTo>
                  <a:lnTo>
                    <a:pt x="98325" y="21142"/>
                  </a:lnTo>
                  <a:lnTo>
                    <a:pt x="104961" y="21274"/>
                  </a:lnTo>
                  <a:lnTo>
                    <a:pt x="105550" y="21302"/>
                  </a:lnTo>
                  <a:lnTo>
                    <a:pt x="107047" y="21617"/>
                  </a:lnTo>
                  <a:lnTo>
                    <a:pt x="108794" y="21223"/>
                  </a:lnTo>
                  <a:lnTo>
                    <a:pt x="110923" y="20429"/>
                  </a:lnTo>
                  <a:lnTo>
                    <a:pt x="111609" y="19956"/>
                  </a:lnTo>
                  <a:lnTo>
                    <a:pt x="113851" y="17359"/>
                  </a:lnTo>
                  <a:lnTo>
                    <a:pt x="115084" y="17583"/>
                  </a:lnTo>
                  <a:lnTo>
                    <a:pt x="117544" y="17266"/>
                  </a:lnTo>
                  <a:lnTo>
                    <a:pt x="119031" y="16690"/>
                  </a:lnTo>
                  <a:lnTo>
                    <a:pt x="119144" y="16690"/>
                  </a:lnTo>
                  <a:lnTo>
                    <a:pt x="119049" y="17355"/>
                  </a:lnTo>
                  <a:lnTo>
                    <a:pt x="118882" y="18516"/>
                  </a:lnTo>
                  <a:lnTo>
                    <a:pt x="117677" y="19338"/>
                  </a:lnTo>
                  <a:lnTo>
                    <a:pt x="118904" y="21229"/>
                  </a:lnTo>
                  <a:lnTo>
                    <a:pt x="120070" y="24293"/>
                  </a:lnTo>
                  <a:lnTo>
                    <a:pt x="119420" y="25806"/>
                  </a:lnTo>
                  <a:lnTo>
                    <a:pt x="120212" y="26983"/>
                  </a:lnTo>
                  <a:lnTo>
                    <a:pt x="122454" y="27828"/>
                  </a:lnTo>
                  <a:lnTo>
                    <a:pt x="122657" y="28165"/>
                  </a:lnTo>
                  <a:lnTo>
                    <a:pt x="121972" y="28517"/>
                  </a:lnTo>
                  <a:lnTo>
                    <a:pt x="121405" y="29516"/>
                  </a:lnTo>
                  <a:lnTo>
                    <a:pt x="121340" y="31336"/>
                  </a:lnTo>
                  <a:lnTo>
                    <a:pt x="123294" y="33054"/>
                  </a:lnTo>
                  <a:lnTo>
                    <a:pt x="127269" y="34670"/>
                  </a:lnTo>
                  <a:lnTo>
                    <a:pt x="128539" y="34941"/>
                  </a:lnTo>
                  <a:lnTo>
                    <a:pt x="129025" y="35562"/>
                  </a:lnTo>
                  <a:lnTo>
                    <a:pt x="129690" y="35968"/>
                  </a:lnTo>
                  <a:lnTo>
                    <a:pt x="130081" y="36464"/>
                  </a:lnTo>
                  <a:lnTo>
                    <a:pt x="130102" y="37105"/>
                  </a:lnTo>
                  <a:lnTo>
                    <a:pt x="129818" y="37545"/>
                  </a:lnTo>
                  <a:lnTo>
                    <a:pt x="127937" y="37702"/>
                  </a:lnTo>
                  <a:lnTo>
                    <a:pt x="125790" y="37688"/>
                  </a:lnTo>
                  <a:lnTo>
                    <a:pt x="124264" y="36909"/>
                  </a:lnTo>
                  <a:lnTo>
                    <a:pt x="124128" y="37477"/>
                  </a:lnTo>
                  <a:lnTo>
                    <a:pt x="124104" y="38128"/>
                  </a:lnTo>
                  <a:lnTo>
                    <a:pt x="122627" y="38525"/>
                  </a:lnTo>
                  <a:lnTo>
                    <a:pt x="123447" y="42995"/>
                  </a:lnTo>
                  <a:lnTo>
                    <a:pt x="123121" y="44279"/>
                  </a:lnTo>
                  <a:lnTo>
                    <a:pt x="122575" y="44710"/>
                  </a:lnTo>
                  <a:lnTo>
                    <a:pt x="122067" y="44531"/>
                  </a:lnTo>
                  <a:lnTo>
                    <a:pt x="121448" y="44481"/>
                  </a:lnTo>
                  <a:lnTo>
                    <a:pt x="121137" y="44900"/>
                  </a:lnTo>
                  <a:lnTo>
                    <a:pt x="121394" y="45851"/>
                  </a:lnTo>
                  <a:lnTo>
                    <a:pt x="119938" y="45960"/>
                  </a:lnTo>
                  <a:lnTo>
                    <a:pt x="117619" y="45467"/>
                  </a:lnTo>
                  <a:lnTo>
                    <a:pt x="116557" y="44603"/>
                  </a:lnTo>
                  <a:lnTo>
                    <a:pt x="116375" y="43720"/>
                  </a:lnTo>
                  <a:lnTo>
                    <a:pt x="116358" y="42900"/>
                  </a:lnTo>
                  <a:lnTo>
                    <a:pt x="115622" y="41553"/>
                  </a:lnTo>
                  <a:lnTo>
                    <a:pt x="113776" y="40161"/>
                  </a:lnTo>
                  <a:lnTo>
                    <a:pt x="109921" y="39931"/>
                  </a:lnTo>
                  <a:lnTo>
                    <a:pt x="108498" y="39489"/>
                  </a:lnTo>
                  <a:lnTo>
                    <a:pt x="107032" y="38981"/>
                  </a:lnTo>
                  <a:lnTo>
                    <a:pt x="105425" y="38605"/>
                  </a:lnTo>
                  <a:lnTo>
                    <a:pt x="103944" y="38643"/>
                  </a:lnTo>
                  <a:lnTo>
                    <a:pt x="102158" y="39013"/>
                  </a:lnTo>
                  <a:lnTo>
                    <a:pt x="99042" y="38400"/>
                  </a:lnTo>
                  <a:lnTo>
                    <a:pt x="97988" y="39218"/>
                  </a:lnTo>
                  <a:lnTo>
                    <a:pt x="96347" y="40166"/>
                  </a:lnTo>
                  <a:lnTo>
                    <a:pt x="94984" y="40142"/>
                  </a:lnTo>
                  <a:lnTo>
                    <a:pt x="92272" y="37945"/>
                  </a:lnTo>
                  <a:lnTo>
                    <a:pt x="91463" y="37806"/>
                  </a:lnTo>
                  <a:lnTo>
                    <a:pt x="89091" y="38926"/>
                  </a:lnTo>
                  <a:lnTo>
                    <a:pt x="88126" y="38986"/>
                  </a:lnTo>
                  <a:lnTo>
                    <a:pt x="87386" y="38632"/>
                  </a:lnTo>
                  <a:lnTo>
                    <a:pt x="84179" y="37793"/>
                  </a:lnTo>
                  <a:lnTo>
                    <a:pt x="82732" y="37612"/>
                  </a:lnTo>
                  <a:lnTo>
                    <a:pt x="81670" y="38009"/>
                  </a:lnTo>
                  <a:lnTo>
                    <a:pt x="79785" y="37579"/>
                  </a:lnTo>
                  <a:lnTo>
                    <a:pt x="75213" y="34708"/>
                  </a:lnTo>
                  <a:lnTo>
                    <a:pt x="72387" y="36891"/>
                  </a:lnTo>
                  <a:lnTo>
                    <a:pt x="66634" y="36348"/>
                  </a:lnTo>
                  <a:lnTo>
                    <a:pt x="64928" y="37846"/>
                  </a:lnTo>
                  <a:lnTo>
                    <a:pt x="62972" y="40683"/>
                  </a:lnTo>
                  <a:lnTo>
                    <a:pt x="61387" y="42037"/>
                  </a:lnTo>
                  <a:lnTo>
                    <a:pt x="60009" y="41551"/>
                  </a:lnTo>
                  <a:lnTo>
                    <a:pt x="58379" y="40303"/>
                  </a:lnTo>
                  <a:lnTo>
                    <a:pt x="55526" y="37091"/>
                  </a:lnTo>
                  <a:lnTo>
                    <a:pt x="54086" y="36511"/>
                  </a:lnTo>
                  <a:lnTo>
                    <a:pt x="52429" y="36375"/>
                  </a:lnTo>
                  <a:lnTo>
                    <a:pt x="50983" y="36730"/>
                  </a:lnTo>
                  <a:lnTo>
                    <a:pt x="50214" y="37382"/>
                  </a:lnTo>
                  <a:lnTo>
                    <a:pt x="49626" y="42073"/>
                  </a:lnTo>
                  <a:lnTo>
                    <a:pt x="49106" y="46200"/>
                  </a:lnTo>
                  <a:lnTo>
                    <a:pt x="49076" y="48671"/>
                  </a:lnTo>
                  <a:lnTo>
                    <a:pt x="52248" y="50957"/>
                  </a:lnTo>
                  <a:lnTo>
                    <a:pt x="55984" y="54887"/>
                  </a:lnTo>
                  <a:lnTo>
                    <a:pt x="57187" y="55338"/>
                  </a:lnTo>
                  <a:lnTo>
                    <a:pt x="57781" y="56624"/>
                  </a:lnTo>
                  <a:lnTo>
                    <a:pt x="58655" y="59931"/>
                  </a:lnTo>
                  <a:lnTo>
                    <a:pt x="59637" y="63645"/>
                  </a:lnTo>
                  <a:lnTo>
                    <a:pt x="61536" y="66102"/>
                  </a:lnTo>
                  <a:lnTo>
                    <a:pt x="63248" y="67859"/>
                  </a:lnTo>
                  <a:lnTo>
                    <a:pt x="65338" y="69403"/>
                  </a:lnTo>
                  <a:lnTo>
                    <a:pt x="67957" y="71822"/>
                  </a:lnTo>
                  <a:lnTo>
                    <a:pt x="70106" y="74474"/>
                  </a:lnTo>
                  <a:lnTo>
                    <a:pt x="70676" y="75452"/>
                  </a:lnTo>
                  <a:lnTo>
                    <a:pt x="74842" y="78954"/>
                  </a:lnTo>
                  <a:lnTo>
                    <a:pt x="78882" y="82524"/>
                  </a:lnTo>
                  <a:lnTo>
                    <a:pt x="82497" y="83772"/>
                  </a:lnTo>
                  <a:lnTo>
                    <a:pt x="83067" y="84431"/>
                  </a:lnTo>
                  <a:lnTo>
                    <a:pt x="83099" y="87172"/>
                  </a:lnTo>
                  <a:lnTo>
                    <a:pt x="83492" y="88200"/>
                  </a:lnTo>
                  <a:lnTo>
                    <a:pt x="85906" y="91066"/>
                  </a:lnTo>
                  <a:lnTo>
                    <a:pt x="90828" y="95255"/>
                  </a:lnTo>
                  <a:lnTo>
                    <a:pt x="91396" y="96225"/>
                  </a:lnTo>
                  <a:lnTo>
                    <a:pt x="91558" y="96935"/>
                  </a:lnTo>
                  <a:lnTo>
                    <a:pt x="91240" y="97480"/>
                  </a:lnTo>
                  <a:lnTo>
                    <a:pt x="89951" y="98053"/>
                  </a:lnTo>
                  <a:lnTo>
                    <a:pt x="88893" y="97413"/>
                  </a:lnTo>
                  <a:lnTo>
                    <a:pt x="84306" y="93321"/>
                  </a:lnTo>
                  <a:lnTo>
                    <a:pt x="79873" y="90738"/>
                  </a:lnTo>
                  <a:lnTo>
                    <a:pt x="74870" y="85865"/>
                  </a:lnTo>
                  <a:lnTo>
                    <a:pt x="68173" y="83938"/>
                  </a:lnTo>
                  <a:lnTo>
                    <a:pt x="63611" y="81802"/>
                  </a:lnTo>
                  <a:lnTo>
                    <a:pt x="60847" y="82129"/>
                  </a:lnTo>
                  <a:lnTo>
                    <a:pt x="57798" y="82801"/>
                  </a:lnTo>
                  <a:lnTo>
                    <a:pt x="55917" y="82822"/>
                  </a:lnTo>
                  <a:lnTo>
                    <a:pt x="54580" y="82438"/>
                  </a:lnTo>
                  <a:lnTo>
                    <a:pt x="53630" y="81113"/>
                  </a:lnTo>
                  <a:lnTo>
                    <a:pt x="53775" y="80088"/>
                  </a:lnTo>
                  <a:lnTo>
                    <a:pt x="53606" y="78749"/>
                  </a:lnTo>
                  <a:lnTo>
                    <a:pt x="50933" y="76610"/>
                  </a:lnTo>
                  <a:lnTo>
                    <a:pt x="47286" y="74575"/>
                  </a:lnTo>
                  <a:lnTo>
                    <a:pt x="43831" y="71940"/>
                  </a:lnTo>
                  <a:lnTo>
                    <a:pt x="36897" y="64811"/>
                  </a:lnTo>
                  <a:lnTo>
                    <a:pt x="35506" y="62516"/>
                  </a:lnTo>
                  <a:lnTo>
                    <a:pt x="36871" y="62079"/>
                  </a:lnTo>
                  <a:lnTo>
                    <a:pt x="37903" y="62118"/>
                  </a:lnTo>
                  <a:lnTo>
                    <a:pt x="39074" y="61647"/>
                  </a:lnTo>
                  <a:lnTo>
                    <a:pt x="40963" y="61635"/>
                  </a:lnTo>
                  <a:lnTo>
                    <a:pt x="43202" y="62104"/>
                  </a:lnTo>
                  <a:lnTo>
                    <a:pt x="41220" y="60576"/>
                  </a:lnTo>
                  <a:lnTo>
                    <a:pt x="38754" y="59076"/>
                  </a:lnTo>
                  <a:lnTo>
                    <a:pt x="32375" y="53109"/>
                  </a:lnTo>
                  <a:lnTo>
                    <a:pt x="30471" y="50286"/>
                  </a:lnTo>
                  <a:lnTo>
                    <a:pt x="30250" y="47241"/>
                  </a:lnTo>
                  <a:lnTo>
                    <a:pt x="30721" y="43060"/>
                  </a:lnTo>
                  <a:lnTo>
                    <a:pt x="29572" y="40063"/>
                  </a:lnTo>
                  <a:lnTo>
                    <a:pt x="24651" y="36179"/>
                  </a:lnTo>
                  <a:lnTo>
                    <a:pt x="22848" y="34128"/>
                  </a:lnTo>
                  <a:lnTo>
                    <a:pt x="19214" y="32910"/>
                  </a:lnTo>
                  <a:lnTo>
                    <a:pt x="17590" y="33030"/>
                  </a:lnTo>
                  <a:lnTo>
                    <a:pt x="16614" y="34545"/>
                  </a:lnTo>
                  <a:lnTo>
                    <a:pt x="15901" y="37910"/>
                  </a:lnTo>
                  <a:lnTo>
                    <a:pt x="12679" y="42343"/>
                  </a:lnTo>
                  <a:lnTo>
                    <a:pt x="11604" y="44267"/>
                  </a:lnTo>
                  <a:lnTo>
                    <a:pt x="9920" y="46766"/>
                  </a:lnTo>
                  <a:lnTo>
                    <a:pt x="8460" y="46938"/>
                  </a:lnTo>
                  <a:lnTo>
                    <a:pt x="7596" y="46718"/>
                  </a:lnTo>
                  <a:lnTo>
                    <a:pt x="4981" y="42510"/>
                  </a:lnTo>
                  <a:lnTo>
                    <a:pt x="2478" y="39319"/>
                  </a:lnTo>
                  <a:lnTo>
                    <a:pt x="2129" y="37807"/>
                  </a:lnTo>
                  <a:lnTo>
                    <a:pt x="1904" y="35946"/>
                  </a:lnTo>
                  <a:lnTo>
                    <a:pt x="0" y="29077"/>
                  </a:lnTo>
                  <a:lnTo>
                    <a:pt x="1343" y="28113"/>
                  </a:lnTo>
                  <a:lnTo>
                    <a:pt x="2168" y="29216"/>
                  </a:lnTo>
                  <a:lnTo>
                    <a:pt x="7994" y="30544"/>
                  </a:lnTo>
                  <a:lnTo>
                    <a:pt x="9252" y="29955"/>
                  </a:lnTo>
                  <a:lnTo>
                    <a:pt x="10015" y="29055"/>
                  </a:lnTo>
                  <a:lnTo>
                    <a:pt x="10019" y="28485"/>
                  </a:lnTo>
                  <a:lnTo>
                    <a:pt x="10516" y="28318"/>
                  </a:lnTo>
                  <a:lnTo>
                    <a:pt x="12567" y="29186"/>
                  </a:lnTo>
                  <a:lnTo>
                    <a:pt x="14241" y="28985"/>
                  </a:lnTo>
                  <a:lnTo>
                    <a:pt x="16933" y="28945"/>
                  </a:lnTo>
                  <a:lnTo>
                    <a:pt x="18855" y="29087"/>
                  </a:lnTo>
                  <a:lnTo>
                    <a:pt x="20125" y="28419"/>
                  </a:lnTo>
                  <a:lnTo>
                    <a:pt x="21846" y="25960"/>
                  </a:lnTo>
                  <a:lnTo>
                    <a:pt x="22483" y="24583"/>
                  </a:lnTo>
                  <a:lnTo>
                    <a:pt x="23254" y="24254"/>
                  </a:lnTo>
                  <a:lnTo>
                    <a:pt x="23761" y="24418"/>
                  </a:lnTo>
                  <a:lnTo>
                    <a:pt x="24133" y="25550"/>
                  </a:lnTo>
                  <a:lnTo>
                    <a:pt x="25038" y="26613"/>
                  </a:lnTo>
                  <a:lnTo>
                    <a:pt x="26897" y="28344"/>
                  </a:lnTo>
                  <a:lnTo>
                    <a:pt x="28212" y="29175"/>
                  </a:lnTo>
                  <a:lnTo>
                    <a:pt x="29406" y="29474"/>
                  </a:lnTo>
                  <a:lnTo>
                    <a:pt x="30576" y="28778"/>
                  </a:lnTo>
                  <a:lnTo>
                    <a:pt x="31784" y="28580"/>
                  </a:lnTo>
                  <a:lnTo>
                    <a:pt x="35230" y="29929"/>
                  </a:lnTo>
                  <a:lnTo>
                    <a:pt x="38141" y="30186"/>
                  </a:lnTo>
                  <a:lnTo>
                    <a:pt x="40294" y="29482"/>
                  </a:lnTo>
                  <a:lnTo>
                    <a:pt x="40011" y="28514"/>
                  </a:lnTo>
                  <a:lnTo>
                    <a:pt x="39227" y="27435"/>
                  </a:lnTo>
                  <a:lnTo>
                    <a:pt x="39058" y="26387"/>
                  </a:lnTo>
                  <a:lnTo>
                    <a:pt x="39203" y="25481"/>
                  </a:lnTo>
                  <a:lnTo>
                    <a:pt x="40680" y="24577"/>
                  </a:lnTo>
                  <a:lnTo>
                    <a:pt x="40609" y="24180"/>
                  </a:lnTo>
                  <a:lnTo>
                    <a:pt x="38823" y="22589"/>
                  </a:lnTo>
                  <a:lnTo>
                    <a:pt x="38914" y="22179"/>
                  </a:lnTo>
                  <a:lnTo>
                    <a:pt x="42829" y="20389"/>
                  </a:lnTo>
                  <a:lnTo>
                    <a:pt x="46603" y="19384"/>
                  </a:lnTo>
                  <a:lnTo>
                    <a:pt x="47208" y="18609"/>
                  </a:lnTo>
                  <a:lnTo>
                    <a:pt x="47560" y="17443"/>
                  </a:lnTo>
                  <a:lnTo>
                    <a:pt x="47726" y="15256"/>
                  </a:lnTo>
                  <a:lnTo>
                    <a:pt x="47519" y="13466"/>
                  </a:lnTo>
                  <a:lnTo>
                    <a:pt x="45986" y="11787"/>
                  </a:lnTo>
                  <a:lnTo>
                    <a:pt x="45891" y="10937"/>
                  </a:lnTo>
                  <a:lnTo>
                    <a:pt x="46254" y="10054"/>
                  </a:lnTo>
                  <a:lnTo>
                    <a:pt x="46849" y="9256"/>
                  </a:lnTo>
                  <a:lnTo>
                    <a:pt x="48359" y="8910"/>
                  </a:lnTo>
                  <a:lnTo>
                    <a:pt x="50130" y="8336"/>
                  </a:lnTo>
                  <a:lnTo>
                    <a:pt x="51529" y="7675"/>
                  </a:lnTo>
                  <a:lnTo>
                    <a:pt x="53425" y="7127"/>
                  </a:lnTo>
                  <a:lnTo>
                    <a:pt x="54915" y="6359"/>
                  </a:lnTo>
                  <a:lnTo>
                    <a:pt x="56370" y="4531"/>
                  </a:lnTo>
                  <a:lnTo>
                    <a:pt x="57253" y="4229"/>
                  </a:lnTo>
                  <a:lnTo>
                    <a:pt x="59929" y="4489"/>
                  </a:lnTo>
                  <a:lnTo>
                    <a:pt x="60501" y="4038"/>
                  </a:lnTo>
                  <a:lnTo>
                    <a:pt x="60134" y="1410"/>
                  </a:lnTo>
                  <a:lnTo>
                    <a:pt x="60613" y="742"/>
                  </a:lnTo>
                  <a:lnTo>
                    <a:pt x="61559" y="368"/>
                  </a:lnTo>
                  <a:close/>
                </a:path>
              </a:pathLst>
            </a:custGeom>
            <a:solidFill>
              <a:srgbClr val="C7CDD0"/>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AT" sz="1600" err="1">
                <a:solidFill>
                  <a:schemeClr val="tx1"/>
                </a:solidFill>
                <a:latin typeface="Calibri" panose="020F0502020204030204" pitchFamily="34" charset="0"/>
                <a:cs typeface="Calibri" panose="020F0502020204030204" pitchFamily="34" charset="0"/>
              </a:endParaRPr>
            </a:p>
          </p:txBody>
        </p:sp>
        <p:sp>
          <p:nvSpPr>
            <p:cNvPr id="84" name="ee4p_HU_1_86241">
              <a:extLst>
                <a:ext uri="{FF2B5EF4-FFF2-40B4-BE49-F238E27FC236}">
                  <a16:creationId xmlns:a16="http://schemas.microsoft.com/office/drawing/2014/main" id="{964BC019-BD62-492D-99C6-7EFB5FAD4EFB}"/>
                </a:ext>
              </a:extLst>
            </p:cNvPr>
            <p:cNvSpPr>
              <a:spLocks noChangeAspect="1"/>
            </p:cNvSpPr>
            <p:nvPr>
              <p:custDataLst>
                <p:tags r:id="rId22"/>
              </p:custDataLst>
            </p:nvPr>
          </p:nvSpPr>
          <p:spPr>
            <a:xfrm>
              <a:off x="7190419" y="3169319"/>
              <a:ext cx="454593" cy="243556"/>
            </a:xfrm>
            <a:custGeom>
              <a:avLst/>
              <a:gdLst/>
              <a:ahLst/>
              <a:cxnLst/>
              <a:rect l="0" t="0" r="0" b="0"/>
              <a:pathLst>
                <a:path w="150000" h="78299">
                  <a:moveTo>
                    <a:pt x="133530" y="4202"/>
                  </a:moveTo>
                  <a:lnTo>
                    <a:pt x="135637" y="3973"/>
                  </a:lnTo>
                  <a:lnTo>
                    <a:pt x="135726" y="4008"/>
                  </a:lnTo>
                  <a:lnTo>
                    <a:pt x="136225" y="4144"/>
                  </a:lnTo>
                  <a:lnTo>
                    <a:pt x="136572" y="5461"/>
                  </a:lnTo>
                  <a:lnTo>
                    <a:pt x="136632" y="5543"/>
                  </a:lnTo>
                  <a:lnTo>
                    <a:pt x="137140" y="6413"/>
                  </a:lnTo>
                  <a:lnTo>
                    <a:pt x="137617" y="7564"/>
                  </a:lnTo>
                  <a:lnTo>
                    <a:pt x="138358" y="8429"/>
                  </a:lnTo>
                  <a:lnTo>
                    <a:pt x="139986" y="8790"/>
                  </a:lnTo>
                  <a:lnTo>
                    <a:pt x="142115" y="9863"/>
                  </a:lnTo>
                  <a:lnTo>
                    <a:pt x="143493" y="11880"/>
                  </a:lnTo>
                  <a:lnTo>
                    <a:pt x="145570" y="12717"/>
                  </a:lnTo>
                  <a:lnTo>
                    <a:pt x="145720" y="12739"/>
                  </a:lnTo>
                  <a:lnTo>
                    <a:pt x="146128" y="12643"/>
                  </a:lnTo>
                  <a:lnTo>
                    <a:pt x="147622" y="12569"/>
                  </a:lnTo>
                  <a:lnTo>
                    <a:pt x="147911" y="12976"/>
                  </a:lnTo>
                  <a:lnTo>
                    <a:pt x="149105" y="13962"/>
                  </a:lnTo>
                  <a:lnTo>
                    <a:pt x="149570" y="14830"/>
                  </a:lnTo>
                  <a:lnTo>
                    <a:pt x="149332" y="15747"/>
                  </a:lnTo>
                  <a:lnTo>
                    <a:pt x="149544" y="16784"/>
                  </a:lnTo>
                  <a:lnTo>
                    <a:pt x="149999" y="17152"/>
                  </a:lnTo>
                  <a:lnTo>
                    <a:pt x="149449" y="17848"/>
                  </a:lnTo>
                  <a:lnTo>
                    <a:pt x="145579" y="21328"/>
                  </a:lnTo>
                  <a:lnTo>
                    <a:pt x="144067" y="22249"/>
                  </a:lnTo>
                  <a:lnTo>
                    <a:pt x="143061" y="22439"/>
                  </a:lnTo>
                  <a:lnTo>
                    <a:pt x="141481" y="22073"/>
                  </a:lnTo>
                  <a:lnTo>
                    <a:pt x="139846" y="22352"/>
                  </a:lnTo>
                  <a:lnTo>
                    <a:pt x="138386" y="23096"/>
                  </a:lnTo>
                  <a:lnTo>
                    <a:pt x="137041" y="23332"/>
                  </a:lnTo>
                  <a:lnTo>
                    <a:pt x="136024" y="24216"/>
                  </a:lnTo>
                  <a:lnTo>
                    <a:pt x="134707" y="26109"/>
                  </a:lnTo>
                  <a:lnTo>
                    <a:pt x="133089" y="27711"/>
                  </a:lnTo>
                  <a:lnTo>
                    <a:pt x="131454" y="28705"/>
                  </a:lnTo>
                  <a:lnTo>
                    <a:pt x="130608" y="29592"/>
                  </a:lnTo>
                  <a:lnTo>
                    <a:pt x="130511" y="32658"/>
                  </a:lnTo>
                  <a:lnTo>
                    <a:pt x="129604" y="33539"/>
                  </a:lnTo>
                  <a:lnTo>
                    <a:pt x="128386" y="34427"/>
                  </a:lnTo>
                  <a:lnTo>
                    <a:pt x="127725" y="35211"/>
                  </a:lnTo>
                  <a:lnTo>
                    <a:pt x="125870" y="39867"/>
                  </a:lnTo>
                  <a:lnTo>
                    <a:pt x="124462" y="41357"/>
                  </a:lnTo>
                  <a:lnTo>
                    <a:pt x="123128" y="42500"/>
                  </a:lnTo>
                  <a:lnTo>
                    <a:pt x="122908" y="43543"/>
                  </a:lnTo>
                  <a:lnTo>
                    <a:pt x="122934" y="44736"/>
                  </a:lnTo>
                  <a:lnTo>
                    <a:pt x="121420" y="47118"/>
                  </a:lnTo>
                  <a:lnTo>
                    <a:pt x="119435" y="49587"/>
                  </a:lnTo>
                  <a:lnTo>
                    <a:pt x="119051" y="50600"/>
                  </a:lnTo>
                  <a:lnTo>
                    <a:pt x="119494" y="51965"/>
                  </a:lnTo>
                  <a:lnTo>
                    <a:pt x="117591" y="53535"/>
                  </a:lnTo>
                  <a:lnTo>
                    <a:pt x="116492" y="54288"/>
                  </a:lnTo>
                  <a:lnTo>
                    <a:pt x="115583" y="54648"/>
                  </a:lnTo>
                  <a:lnTo>
                    <a:pt x="115015" y="55630"/>
                  </a:lnTo>
                  <a:lnTo>
                    <a:pt x="114080" y="58021"/>
                  </a:lnTo>
                  <a:lnTo>
                    <a:pt x="114324" y="59093"/>
                  </a:lnTo>
                  <a:lnTo>
                    <a:pt x="114352" y="60076"/>
                  </a:lnTo>
                  <a:lnTo>
                    <a:pt x="112743" y="60652"/>
                  </a:lnTo>
                  <a:lnTo>
                    <a:pt x="112270" y="61729"/>
                  </a:lnTo>
                  <a:lnTo>
                    <a:pt x="111862" y="63069"/>
                  </a:lnTo>
                  <a:lnTo>
                    <a:pt x="111193" y="63676"/>
                  </a:lnTo>
                  <a:lnTo>
                    <a:pt x="109383" y="64789"/>
                  </a:lnTo>
                  <a:lnTo>
                    <a:pt x="104898" y="64305"/>
                  </a:lnTo>
                  <a:lnTo>
                    <a:pt x="103201" y="64678"/>
                  </a:lnTo>
                  <a:lnTo>
                    <a:pt x="102696" y="65474"/>
                  </a:lnTo>
                  <a:lnTo>
                    <a:pt x="102592" y="66112"/>
                  </a:lnTo>
                  <a:lnTo>
                    <a:pt x="102033" y="66710"/>
                  </a:lnTo>
                  <a:lnTo>
                    <a:pt x="101007" y="67461"/>
                  </a:lnTo>
                  <a:lnTo>
                    <a:pt x="99960" y="67797"/>
                  </a:lnTo>
                  <a:lnTo>
                    <a:pt x="97626" y="66872"/>
                  </a:lnTo>
                  <a:lnTo>
                    <a:pt x="92603" y="67811"/>
                  </a:lnTo>
                  <a:lnTo>
                    <a:pt x="91737" y="68486"/>
                  </a:lnTo>
                  <a:lnTo>
                    <a:pt x="91037" y="68004"/>
                  </a:lnTo>
                  <a:lnTo>
                    <a:pt x="89960" y="67565"/>
                  </a:lnTo>
                  <a:lnTo>
                    <a:pt x="84933" y="67023"/>
                  </a:lnTo>
                  <a:lnTo>
                    <a:pt x="82950" y="67454"/>
                  </a:lnTo>
                  <a:lnTo>
                    <a:pt x="80299" y="67288"/>
                  </a:lnTo>
                  <a:lnTo>
                    <a:pt x="77843" y="66810"/>
                  </a:lnTo>
                  <a:lnTo>
                    <a:pt x="76014" y="67198"/>
                  </a:lnTo>
                  <a:lnTo>
                    <a:pt x="74395" y="69073"/>
                  </a:lnTo>
                  <a:lnTo>
                    <a:pt x="73594" y="69706"/>
                  </a:lnTo>
                  <a:lnTo>
                    <a:pt x="72965" y="70111"/>
                  </a:lnTo>
                  <a:lnTo>
                    <a:pt x="71581" y="70699"/>
                  </a:lnTo>
                  <a:lnTo>
                    <a:pt x="70428" y="71407"/>
                  </a:lnTo>
                  <a:lnTo>
                    <a:pt x="68886" y="71916"/>
                  </a:lnTo>
                  <a:lnTo>
                    <a:pt x="67513" y="71845"/>
                  </a:lnTo>
                  <a:lnTo>
                    <a:pt x="66208" y="71040"/>
                  </a:lnTo>
                  <a:lnTo>
                    <a:pt x="65742" y="71223"/>
                  </a:lnTo>
                  <a:lnTo>
                    <a:pt x="65332" y="71965"/>
                  </a:lnTo>
                  <a:lnTo>
                    <a:pt x="64626" y="72599"/>
                  </a:lnTo>
                  <a:lnTo>
                    <a:pt x="62682" y="73380"/>
                  </a:lnTo>
                  <a:lnTo>
                    <a:pt x="62186" y="73371"/>
                  </a:lnTo>
                  <a:lnTo>
                    <a:pt x="62073" y="73371"/>
                  </a:lnTo>
                  <a:lnTo>
                    <a:pt x="60586" y="73947"/>
                  </a:lnTo>
                  <a:lnTo>
                    <a:pt x="58126" y="74264"/>
                  </a:lnTo>
                  <a:lnTo>
                    <a:pt x="56893" y="74040"/>
                  </a:lnTo>
                  <a:lnTo>
                    <a:pt x="54651" y="76637"/>
                  </a:lnTo>
                  <a:lnTo>
                    <a:pt x="53965" y="77110"/>
                  </a:lnTo>
                  <a:lnTo>
                    <a:pt x="51836" y="77904"/>
                  </a:lnTo>
                  <a:lnTo>
                    <a:pt x="50089" y="78298"/>
                  </a:lnTo>
                  <a:lnTo>
                    <a:pt x="48592" y="77983"/>
                  </a:lnTo>
                  <a:lnTo>
                    <a:pt x="48003" y="77955"/>
                  </a:lnTo>
                  <a:lnTo>
                    <a:pt x="41367" y="77823"/>
                  </a:lnTo>
                  <a:lnTo>
                    <a:pt x="37901" y="77267"/>
                  </a:lnTo>
                  <a:lnTo>
                    <a:pt x="35675" y="76253"/>
                  </a:lnTo>
                  <a:lnTo>
                    <a:pt x="34198" y="75119"/>
                  </a:lnTo>
                  <a:lnTo>
                    <a:pt x="33477" y="73867"/>
                  </a:lnTo>
                  <a:lnTo>
                    <a:pt x="31756" y="73107"/>
                  </a:lnTo>
                  <a:lnTo>
                    <a:pt x="29039" y="72837"/>
                  </a:lnTo>
                  <a:lnTo>
                    <a:pt x="26923" y="71593"/>
                  </a:lnTo>
                  <a:lnTo>
                    <a:pt x="25409" y="69370"/>
                  </a:lnTo>
                  <a:lnTo>
                    <a:pt x="23362" y="67608"/>
                  </a:lnTo>
                  <a:lnTo>
                    <a:pt x="20777" y="66309"/>
                  </a:lnTo>
                  <a:lnTo>
                    <a:pt x="18726" y="64472"/>
                  </a:lnTo>
                  <a:lnTo>
                    <a:pt x="17212" y="62100"/>
                  </a:lnTo>
                  <a:lnTo>
                    <a:pt x="14483" y="59962"/>
                  </a:lnTo>
                  <a:lnTo>
                    <a:pt x="10544" y="58059"/>
                  </a:lnTo>
                  <a:lnTo>
                    <a:pt x="9356" y="57645"/>
                  </a:lnTo>
                  <a:lnTo>
                    <a:pt x="9123" y="57030"/>
                  </a:lnTo>
                  <a:lnTo>
                    <a:pt x="7195" y="54664"/>
                  </a:lnTo>
                  <a:lnTo>
                    <a:pt x="6372" y="53790"/>
                  </a:lnTo>
                  <a:lnTo>
                    <a:pt x="6445" y="52618"/>
                  </a:lnTo>
                  <a:lnTo>
                    <a:pt x="6061" y="51951"/>
                  </a:lnTo>
                  <a:lnTo>
                    <a:pt x="5359" y="51483"/>
                  </a:lnTo>
                  <a:lnTo>
                    <a:pt x="4984" y="49788"/>
                  </a:lnTo>
                  <a:lnTo>
                    <a:pt x="4763" y="48522"/>
                  </a:lnTo>
                  <a:lnTo>
                    <a:pt x="4213" y="47706"/>
                  </a:lnTo>
                  <a:lnTo>
                    <a:pt x="0" y="47538"/>
                  </a:lnTo>
                  <a:lnTo>
                    <a:pt x="3526" y="44509"/>
                  </a:lnTo>
                  <a:lnTo>
                    <a:pt x="5279" y="43664"/>
                  </a:lnTo>
                  <a:lnTo>
                    <a:pt x="7316" y="43810"/>
                  </a:lnTo>
                  <a:lnTo>
                    <a:pt x="7968" y="43536"/>
                  </a:lnTo>
                  <a:lnTo>
                    <a:pt x="8141" y="43098"/>
                  </a:lnTo>
                  <a:lnTo>
                    <a:pt x="8488" y="42110"/>
                  </a:lnTo>
                  <a:lnTo>
                    <a:pt x="8661" y="41177"/>
                  </a:lnTo>
                  <a:lnTo>
                    <a:pt x="8836" y="40300"/>
                  </a:lnTo>
                  <a:lnTo>
                    <a:pt x="8618" y="39804"/>
                  </a:lnTo>
                  <a:lnTo>
                    <a:pt x="7635" y="39650"/>
                  </a:lnTo>
                  <a:lnTo>
                    <a:pt x="7160" y="37482"/>
                  </a:lnTo>
                  <a:lnTo>
                    <a:pt x="7666" y="36662"/>
                  </a:lnTo>
                  <a:lnTo>
                    <a:pt x="8171" y="36091"/>
                  </a:lnTo>
                  <a:lnTo>
                    <a:pt x="7547" y="33450"/>
                  </a:lnTo>
                  <a:lnTo>
                    <a:pt x="7735" y="32551"/>
                  </a:lnTo>
                  <a:lnTo>
                    <a:pt x="9324" y="32410"/>
                  </a:lnTo>
                  <a:lnTo>
                    <a:pt x="10643" y="31846"/>
                  </a:lnTo>
                  <a:lnTo>
                    <a:pt x="11719" y="31204"/>
                  </a:lnTo>
                  <a:lnTo>
                    <a:pt x="12019" y="30389"/>
                  </a:lnTo>
                  <a:lnTo>
                    <a:pt x="12902" y="28722"/>
                  </a:lnTo>
                  <a:lnTo>
                    <a:pt x="12088" y="26676"/>
                  </a:lnTo>
                  <a:lnTo>
                    <a:pt x="7497" y="25343"/>
                  </a:lnTo>
                  <a:lnTo>
                    <a:pt x="7257" y="24833"/>
                  </a:lnTo>
                  <a:lnTo>
                    <a:pt x="8326" y="24253"/>
                  </a:lnTo>
                  <a:lnTo>
                    <a:pt x="9464" y="23427"/>
                  </a:lnTo>
                  <a:lnTo>
                    <a:pt x="10125" y="22783"/>
                  </a:lnTo>
                  <a:lnTo>
                    <a:pt x="11008" y="22693"/>
                  </a:lnTo>
                  <a:lnTo>
                    <a:pt x="12259" y="23017"/>
                  </a:lnTo>
                  <a:lnTo>
                    <a:pt x="14472" y="24501"/>
                  </a:lnTo>
                  <a:lnTo>
                    <a:pt x="15320" y="24715"/>
                  </a:lnTo>
                  <a:lnTo>
                    <a:pt x="16141" y="24284"/>
                  </a:lnTo>
                  <a:lnTo>
                    <a:pt x="17018" y="24192"/>
                  </a:lnTo>
                  <a:lnTo>
                    <a:pt x="19466" y="24246"/>
                  </a:lnTo>
                  <a:lnTo>
                    <a:pt x="21527" y="23902"/>
                  </a:lnTo>
                  <a:lnTo>
                    <a:pt x="21062" y="22321"/>
                  </a:lnTo>
                  <a:lnTo>
                    <a:pt x="21069" y="21173"/>
                  </a:lnTo>
                  <a:lnTo>
                    <a:pt x="20719" y="20256"/>
                  </a:lnTo>
                  <a:lnTo>
                    <a:pt x="20937" y="19246"/>
                  </a:lnTo>
                  <a:lnTo>
                    <a:pt x="21773" y="18459"/>
                  </a:lnTo>
                  <a:lnTo>
                    <a:pt x="22023" y="16690"/>
                  </a:lnTo>
                  <a:lnTo>
                    <a:pt x="23312" y="15496"/>
                  </a:lnTo>
                  <a:lnTo>
                    <a:pt x="23915" y="15324"/>
                  </a:lnTo>
                  <a:lnTo>
                    <a:pt x="26185" y="15542"/>
                  </a:lnTo>
                  <a:lnTo>
                    <a:pt x="26722" y="15852"/>
                  </a:lnTo>
                  <a:lnTo>
                    <a:pt x="27070" y="15920"/>
                  </a:lnTo>
                  <a:lnTo>
                    <a:pt x="30682" y="18834"/>
                  </a:lnTo>
                  <a:lnTo>
                    <a:pt x="34101" y="21022"/>
                  </a:lnTo>
                  <a:lnTo>
                    <a:pt x="36901" y="22141"/>
                  </a:lnTo>
                  <a:lnTo>
                    <a:pt x="41015" y="22233"/>
                  </a:lnTo>
                  <a:lnTo>
                    <a:pt x="45386" y="22330"/>
                  </a:lnTo>
                  <a:lnTo>
                    <a:pt x="52697" y="21949"/>
                  </a:lnTo>
                  <a:lnTo>
                    <a:pt x="58180" y="21663"/>
                  </a:lnTo>
                  <a:lnTo>
                    <a:pt x="58543" y="21118"/>
                  </a:lnTo>
                  <a:lnTo>
                    <a:pt x="59370" y="19812"/>
                  </a:lnTo>
                  <a:lnTo>
                    <a:pt x="58713" y="18691"/>
                  </a:lnTo>
                  <a:lnTo>
                    <a:pt x="58752" y="17372"/>
                  </a:lnTo>
                  <a:lnTo>
                    <a:pt x="59676" y="15656"/>
                  </a:lnTo>
                  <a:lnTo>
                    <a:pt x="62380" y="14230"/>
                  </a:lnTo>
                  <a:lnTo>
                    <a:pt x="70141" y="13602"/>
                  </a:lnTo>
                  <a:lnTo>
                    <a:pt x="74604" y="12539"/>
                  </a:lnTo>
                  <a:lnTo>
                    <a:pt x="75278" y="11086"/>
                  </a:lnTo>
                  <a:lnTo>
                    <a:pt x="76755" y="9652"/>
                  </a:lnTo>
                  <a:lnTo>
                    <a:pt x="78107" y="9362"/>
                  </a:lnTo>
                  <a:lnTo>
                    <a:pt x="79960" y="10020"/>
                  </a:lnTo>
                  <a:lnTo>
                    <a:pt x="82190" y="11286"/>
                  </a:lnTo>
                  <a:lnTo>
                    <a:pt x="84149" y="11955"/>
                  </a:lnTo>
                  <a:lnTo>
                    <a:pt x="85293" y="11524"/>
                  </a:lnTo>
                  <a:lnTo>
                    <a:pt x="89234" y="9392"/>
                  </a:lnTo>
                  <a:lnTo>
                    <a:pt x="93771" y="7311"/>
                  </a:lnTo>
                  <a:lnTo>
                    <a:pt x="96893" y="1656"/>
                  </a:lnTo>
                  <a:lnTo>
                    <a:pt x="97226" y="754"/>
                  </a:lnTo>
                  <a:lnTo>
                    <a:pt x="100612" y="106"/>
                  </a:lnTo>
                  <a:lnTo>
                    <a:pt x="105553" y="222"/>
                  </a:lnTo>
                  <a:lnTo>
                    <a:pt x="108085" y="959"/>
                  </a:lnTo>
                  <a:lnTo>
                    <a:pt x="109990" y="1349"/>
                  </a:lnTo>
                  <a:lnTo>
                    <a:pt x="112845" y="1216"/>
                  </a:lnTo>
                  <a:lnTo>
                    <a:pt x="116958" y="0"/>
                  </a:lnTo>
                  <a:lnTo>
                    <a:pt x="118483" y="34"/>
                  </a:lnTo>
                  <a:lnTo>
                    <a:pt x="119662" y="897"/>
                  </a:lnTo>
                  <a:lnTo>
                    <a:pt x="120956" y="1639"/>
                  </a:lnTo>
                  <a:lnTo>
                    <a:pt x="121828" y="2548"/>
                  </a:lnTo>
                  <a:lnTo>
                    <a:pt x="122489" y="3828"/>
                  </a:lnTo>
                  <a:lnTo>
                    <a:pt x="122845" y="4311"/>
                  </a:lnTo>
                  <a:lnTo>
                    <a:pt x="123419" y="4966"/>
                  </a:lnTo>
                  <a:lnTo>
                    <a:pt x="124456" y="5867"/>
                  </a:lnTo>
                  <a:lnTo>
                    <a:pt x="125462" y="6107"/>
                  </a:lnTo>
                  <a:lnTo>
                    <a:pt x="133076" y="4541"/>
                  </a:lnTo>
                  <a:close/>
                </a:path>
              </a:pathLst>
            </a:custGeom>
            <a:solidFill>
              <a:srgbClr val="C7CDD0"/>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AT" sz="1600" err="1">
                <a:solidFill>
                  <a:schemeClr val="tx1"/>
                </a:solidFill>
                <a:latin typeface="Calibri" panose="020F0502020204030204" pitchFamily="34" charset="0"/>
                <a:cs typeface="Calibri" panose="020F0502020204030204" pitchFamily="34" charset="0"/>
              </a:endParaRPr>
            </a:p>
          </p:txBody>
        </p:sp>
        <p:sp>
          <p:nvSpPr>
            <p:cNvPr id="85" name="ee4p_IE_1_86241">
              <a:extLst>
                <a:ext uri="{FF2B5EF4-FFF2-40B4-BE49-F238E27FC236}">
                  <a16:creationId xmlns:a16="http://schemas.microsoft.com/office/drawing/2014/main" id="{AEDC5CFF-F35C-466F-B49B-79EC5C8891C7}"/>
                </a:ext>
              </a:extLst>
            </p:cNvPr>
            <p:cNvSpPr>
              <a:spLocks noChangeAspect="1"/>
            </p:cNvSpPr>
            <p:nvPr>
              <p:custDataLst>
                <p:tags r:id="rId23"/>
              </p:custDataLst>
            </p:nvPr>
          </p:nvSpPr>
          <p:spPr>
            <a:xfrm>
              <a:off x="5415688" y="2542429"/>
              <a:ext cx="292366" cy="364598"/>
            </a:xfrm>
            <a:custGeom>
              <a:avLst/>
              <a:gdLst>
                <a:gd name="connsiteX0" fmla="*/ 4626 w 96471"/>
                <a:gd name="connsiteY0" fmla="*/ 41297 h 117212"/>
                <a:gd name="connsiteX1" fmla="*/ 5539 w 96471"/>
                <a:gd name="connsiteY1" fmla="*/ 41650 h 117212"/>
                <a:gd name="connsiteX2" fmla="*/ 8709 w 96471"/>
                <a:gd name="connsiteY2" fmla="*/ 41699 h 117212"/>
                <a:gd name="connsiteX3" fmla="*/ 9599 w 96471"/>
                <a:gd name="connsiteY3" fmla="*/ 42196 h 117212"/>
                <a:gd name="connsiteX4" fmla="*/ 9774 w 96471"/>
                <a:gd name="connsiteY4" fmla="*/ 44442 h 117212"/>
                <a:gd name="connsiteX5" fmla="*/ 9681 w 96471"/>
                <a:gd name="connsiteY5" fmla="*/ 45307 h 117212"/>
                <a:gd name="connsiteX6" fmla="*/ 8043 w 96471"/>
                <a:gd name="connsiteY6" fmla="*/ 44217 h 117212"/>
                <a:gd name="connsiteX7" fmla="*/ 7247 w 96471"/>
                <a:gd name="connsiteY7" fmla="*/ 43030 h 117212"/>
                <a:gd name="connsiteX8" fmla="*/ 2753 w 96471"/>
                <a:gd name="connsiteY8" fmla="*/ 42485 h 117212"/>
                <a:gd name="connsiteX9" fmla="*/ 68137 w 96471"/>
                <a:gd name="connsiteY9" fmla="*/ 0 h 117212"/>
                <a:gd name="connsiteX10" fmla="*/ 69511 w 96471"/>
                <a:gd name="connsiteY10" fmla="*/ 395 h 117212"/>
                <a:gd name="connsiteX11" fmla="*/ 71531 w 96471"/>
                <a:gd name="connsiteY11" fmla="*/ 1873 h 117212"/>
                <a:gd name="connsiteX12" fmla="*/ 73633 w 96471"/>
                <a:gd name="connsiteY12" fmla="*/ 3031 h 117212"/>
                <a:gd name="connsiteX13" fmla="*/ 75813 w 96471"/>
                <a:gd name="connsiteY13" fmla="*/ 3949 h 117212"/>
                <a:gd name="connsiteX14" fmla="*/ 73718 w 96471"/>
                <a:gd name="connsiteY14" fmla="*/ 5785 h 117212"/>
                <a:gd name="connsiteX15" fmla="*/ 71143 w 96471"/>
                <a:gd name="connsiteY15" fmla="*/ 7058 h 117212"/>
                <a:gd name="connsiteX16" fmla="*/ 70130 w 96471"/>
                <a:gd name="connsiteY16" fmla="*/ 8444 h 117212"/>
                <a:gd name="connsiteX17" fmla="*/ 66631 w 96471"/>
                <a:gd name="connsiteY17" fmla="*/ 10422 h 117212"/>
                <a:gd name="connsiteX18" fmla="*/ 66089 w 96471"/>
                <a:gd name="connsiteY18" fmla="*/ 11171 h 117212"/>
                <a:gd name="connsiteX19" fmla="*/ 65103 w 96471"/>
                <a:gd name="connsiteY19" fmla="*/ 14188 h 117212"/>
                <a:gd name="connsiteX20" fmla="*/ 64987 w 96471"/>
                <a:gd name="connsiteY20" fmla="*/ 15048 h 117212"/>
                <a:gd name="connsiteX21" fmla="*/ 63861 w 96471"/>
                <a:gd name="connsiteY21" fmla="*/ 16633 h 117212"/>
                <a:gd name="connsiteX22" fmla="*/ 62795 w 96471"/>
                <a:gd name="connsiteY22" fmla="*/ 18395 h 117212"/>
                <a:gd name="connsiteX23" fmla="*/ 61555 w 96471"/>
                <a:gd name="connsiteY23" fmla="*/ 19077 h 117212"/>
                <a:gd name="connsiteX24" fmla="*/ 59708 w 96471"/>
                <a:gd name="connsiteY24" fmla="*/ 19618 h 117212"/>
                <a:gd name="connsiteX25" fmla="*/ 58658 w 96471"/>
                <a:gd name="connsiteY25" fmla="*/ 20156 h 117212"/>
                <a:gd name="connsiteX26" fmla="*/ 57336 w 96471"/>
                <a:gd name="connsiteY26" fmla="*/ 19886 h 117212"/>
                <a:gd name="connsiteX27" fmla="*/ 55662 w 96471"/>
                <a:gd name="connsiteY27" fmla="*/ 19929 h 117212"/>
                <a:gd name="connsiteX28" fmla="*/ 54830 w 96471"/>
                <a:gd name="connsiteY28" fmla="*/ 20527 h 117212"/>
                <a:gd name="connsiteX29" fmla="*/ 54871 w 96471"/>
                <a:gd name="connsiteY29" fmla="*/ 20986 h 117212"/>
                <a:gd name="connsiteX30" fmla="*/ 55371 w 96471"/>
                <a:gd name="connsiteY30" fmla="*/ 21515 h 117212"/>
                <a:gd name="connsiteX31" fmla="*/ 56837 w 96471"/>
                <a:gd name="connsiteY31" fmla="*/ 22322 h 117212"/>
                <a:gd name="connsiteX32" fmla="*/ 58463 w 96471"/>
                <a:gd name="connsiteY32" fmla="*/ 23052 h 117212"/>
                <a:gd name="connsiteX33" fmla="*/ 58284 w 96471"/>
                <a:gd name="connsiteY33" fmla="*/ 23691 h 117212"/>
                <a:gd name="connsiteX34" fmla="*/ 57413 w 96471"/>
                <a:gd name="connsiteY34" fmla="*/ 24415 h 117212"/>
                <a:gd name="connsiteX35" fmla="*/ 51873 w 96471"/>
                <a:gd name="connsiteY35" fmla="*/ 26211 h 117212"/>
                <a:gd name="connsiteX36" fmla="*/ 50223 w 96471"/>
                <a:gd name="connsiteY36" fmla="*/ 27295 h 117212"/>
                <a:gd name="connsiteX37" fmla="*/ 49651 w 96471"/>
                <a:gd name="connsiteY37" fmla="*/ 28010 h 117212"/>
                <a:gd name="connsiteX38" fmla="*/ 50238 w 96471"/>
                <a:gd name="connsiteY38" fmla="*/ 29208 h 117212"/>
                <a:gd name="connsiteX39" fmla="*/ 54656 w 96471"/>
                <a:gd name="connsiteY39" fmla="*/ 32794 h 117212"/>
                <a:gd name="connsiteX40" fmla="*/ 55408 w 96471"/>
                <a:gd name="connsiteY40" fmla="*/ 33184 h 117212"/>
                <a:gd name="connsiteX41" fmla="*/ 56061 w 96471"/>
                <a:gd name="connsiteY41" fmla="*/ 35268 h 117212"/>
                <a:gd name="connsiteX42" fmla="*/ 59956 w 96471"/>
                <a:gd name="connsiteY42" fmla="*/ 36139 h 117212"/>
                <a:gd name="connsiteX43" fmla="*/ 61553 w 96471"/>
                <a:gd name="connsiteY43" fmla="*/ 37440 h 117212"/>
                <a:gd name="connsiteX44" fmla="*/ 62927 w 96471"/>
                <a:gd name="connsiteY44" fmla="*/ 37752 h 117212"/>
                <a:gd name="connsiteX45" fmla="*/ 65912 w 96471"/>
                <a:gd name="connsiteY45" fmla="*/ 37639 h 117212"/>
                <a:gd name="connsiteX46" fmla="*/ 67112 w 96471"/>
                <a:gd name="connsiteY46" fmla="*/ 38128 h 117212"/>
                <a:gd name="connsiteX47" fmla="*/ 67790 w 96471"/>
                <a:gd name="connsiteY47" fmla="*/ 37757 h 117212"/>
                <a:gd name="connsiteX48" fmla="*/ 68183 w 96471"/>
                <a:gd name="connsiteY48" fmla="*/ 37071 h 117212"/>
                <a:gd name="connsiteX49" fmla="*/ 70696 w 96471"/>
                <a:gd name="connsiteY49" fmla="*/ 35304 h 117212"/>
                <a:gd name="connsiteX50" fmla="*/ 71527 w 96471"/>
                <a:gd name="connsiteY50" fmla="*/ 34532 h 117212"/>
                <a:gd name="connsiteX51" fmla="*/ 71028 w 96471"/>
                <a:gd name="connsiteY51" fmla="*/ 33454 h 117212"/>
                <a:gd name="connsiteX52" fmla="*/ 70485 w 96471"/>
                <a:gd name="connsiteY52" fmla="*/ 32635 h 117212"/>
                <a:gd name="connsiteX53" fmla="*/ 72013 w 96471"/>
                <a:gd name="connsiteY53" fmla="*/ 31003 h 117212"/>
                <a:gd name="connsiteX54" fmla="*/ 73866 w 96471"/>
                <a:gd name="connsiteY54" fmla="*/ 29391 h 117212"/>
                <a:gd name="connsiteX55" fmla="*/ 74795 w 96471"/>
                <a:gd name="connsiteY55" fmla="*/ 29439 h 117212"/>
                <a:gd name="connsiteX56" fmla="*/ 76377 w 96471"/>
                <a:gd name="connsiteY56" fmla="*/ 30426 h 117212"/>
                <a:gd name="connsiteX57" fmla="*/ 77680 w 96471"/>
                <a:gd name="connsiteY57" fmla="*/ 31804 h 117212"/>
                <a:gd name="connsiteX58" fmla="*/ 77857 w 96471"/>
                <a:gd name="connsiteY58" fmla="*/ 32871 h 117212"/>
                <a:gd name="connsiteX59" fmla="*/ 78097 w 96471"/>
                <a:gd name="connsiteY59" fmla="*/ 33645 h 117212"/>
                <a:gd name="connsiteX60" fmla="*/ 79330 w 96471"/>
                <a:gd name="connsiteY60" fmla="*/ 35297 h 117212"/>
                <a:gd name="connsiteX61" fmla="*/ 80126 w 96471"/>
                <a:gd name="connsiteY61" fmla="*/ 35867 h 117212"/>
                <a:gd name="connsiteX62" fmla="*/ 82273 w 96471"/>
                <a:gd name="connsiteY62" fmla="*/ 36198 h 117212"/>
                <a:gd name="connsiteX63" fmla="*/ 82773 w 96471"/>
                <a:gd name="connsiteY63" fmla="*/ 36846 h 117212"/>
                <a:gd name="connsiteX64" fmla="*/ 82390 w 96471"/>
                <a:gd name="connsiteY64" fmla="*/ 39235 h 117212"/>
                <a:gd name="connsiteX65" fmla="*/ 82709 w 96471"/>
                <a:gd name="connsiteY65" fmla="*/ 40029 h 117212"/>
                <a:gd name="connsiteX66" fmla="*/ 84957 w 96471"/>
                <a:gd name="connsiteY66" fmla="*/ 40070 h 117212"/>
                <a:gd name="connsiteX67" fmla="*/ 87342 w 96471"/>
                <a:gd name="connsiteY67" fmla="*/ 39877 h 117212"/>
                <a:gd name="connsiteX68" fmla="*/ 88175 w 96471"/>
                <a:gd name="connsiteY68" fmla="*/ 39968 h 117212"/>
                <a:gd name="connsiteX69" fmla="*/ 89036 w 96471"/>
                <a:gd name="connsiteY69" fmla="*/ 39468 h 117212"/>
                <a:gd name="connsiteX70" fmla="*/ 90363 w 96471"/>
                <a:gd name="connsiteY70" fmla="*/ 38929 h 117212"/>
                <a:gd name="connsiteX71" fmla="*/ 92257 w 96471"/>
                <a:gd name="connsiteY71" fmla="*/ 39115 h 117212"/>
                <a:gd name="connsiteX72" fmla="*/ 93191 w 96471"/>
                <a:gd name="connsiteY72" fmla="*/ 40184 h 117212"/>
                <a:gd name="connsiteX73" fmla="*/ 93607 w 96471"/>
                <a:gd name="connsiteY73" fmla="*/ 41285 h 117212"/>
                <a:gd name="connsiteX74" fmla="*/ 91977 w 96471"/>
                <a:gd name="connsiteY74" fmla="*/ 41699 h 117212"/>
                <a:gd name="connsiteX75" fmla="*/ 90275 w 96471"/>
                <a:gd name="connsiteY75" fmla="*/ 41473 h 117212"/>
                <a:gd name="connsiteX76" fmla="*/ 89445 w 96471"/>
                <a:gd name="connsiteY76" fmla="*/ 42196 h 117212"/>
                <a:gd name="connsiteX77" fmla="*/ 89391 w 96471"/>
                <a:gd name="connsiteY77" fmla="*/ 43588 h 117212"/>
                <a:gd name="connsiteX78" fmla="*/ 89966 w 96471"/>
                <a:gd name="connsiteY78" fmla="*/ 45379 h 117212"/>
                <a:gd name="connsiteX79" fmla="*/ 91104 w 96471"/>
                <a:gd name="connsiteY79" fmla="*/ 46649 h 117212"/>
                <a:gd name="connsiteX80" fmla="*/ 92014 w 96471"/>
                <a:gd name="connsiteY80" fmla="*/ 49509 h 117212"/>
                <a:gd name="connsiteX81" fmla="*/ 92768 w 96471"/>
                <a:gd name="connsiteY81" fmla="*/ 52676 h 117212"/>
                <a:gd name="connsiteX82" fmla="*/ 93941 w 96471"/>
                <a:gd name="connsiteY82" fmla="*/ 54588 h 117212"/>
                <a:gd name="connsiteX83" fmla="*/ 94182 w 96471"/>
                <a:gd name="connsiteY83" fmla="*/ 56958 h 117212"/>
                <a:gd name="connsiteX84" fmla="*/ 94009 w 96471"/>
                <a:gd name="connsiteY84" fmla="*/ 58122 h 117212"/>
                <a:gd name="connsiteX85" fmla="*/ 94223 w 96471"/>
                <a:gd name="connsiteY85" fmla="*/ 60212 h 117212"/>
                <a:gd name="connsiteX86" fmla="*/ 93724 w 96471"/>
                <a:gd name="connsiteY86" fmla="*/ 60948 h 117212"/>
                <a:gd name="connsiteX87" fmla="*/ 94098 w 96471"/>
                <a:gd name="connsiteY87" fmla="*/ 62908 h 117212"/>
                <a:gd name="connsiteX88" fmla="*/ 95479 w 96471"/>
                <a:gd name="connsiteY88" fmla="*/ 66960 h 117212"/>
                <a:gd name="connsiteX89" fmla="*/ 96082 w 96471"/>
                <a:gd name="connsiteY89" fmla="*/ 69214 h 117212"/>
                <a:gd name="connsiteX90" fmla="*/ 96471 w 96471"/>
                <a:gd name="connsiteY90" fmla="*/ 74127 h 117212"/>
                <a:gd name="connsiteX91" fmla="*/ 95497 w 96471"/>
                <a:gd name="connsiteY91" fmla="*/ 75966 h 117212"/>
                <a:gd name="connsiteX92" fmla="*/ 94188 w 96471"/>
                <a:gd name="connsiteY92" fmla="*/ 77709 h 117212"/>
                <a:gd name="connsiteX93" fmla="*/ 93333 w 96471"/>
                <a:gd name="connsiteY93" fmla="*/ 79774 h 117212"/>
                <a:gd name="connsiteX94" fmla="*/ 92672 w 96471"/>
                <a:gd name="connsiteY94" fmla="*/ 82001 h 117212"/>
                <a:gd name="connsiteX95" fmla="*/ 92274 w 96471"/>
                <a:gd name="connsiteY95" fmla="*/ 85587 h 117212"/>
                <a:gd name="connsiteX96" fmla="*/ 89440 w 96471"/>
                <a:gd name="connsiteY96" fmla="*/ 89784 h 117212"/>
                <a:gd name="connsiteX97" fmla="*/ 88234 w 96471"/>
                <a:gd name="connsiteY97" fmla="*/ 90826 h 117212"/>
                <a:gd name="connsiteX98" fmla="*/ 86835 w 96471"/>
                <a:gd name="connsiteY98" fmla="*/ 91467 h 117212"/>
                <a:gd name="connsiteX99" fmla="*/ 89891 w 96471"/>
                <a:gd name="connsiteY99" fmla="*/ 94395 h 117212"/>
                <a:gd name="connsiteX100" fmla="*/ 87394 w 96471"/>
                <a:gd name="connsiteY100" fmla="*/ 95700 h 117212"/>
                <a:gd name="connsiteX101" fmla="*/ 84671 w 96471"/>
                <a:gd name="connsiteY101" fmla="*/ 96111 h 117212"/>
                <a:gd name="connsiteX102" fmla="*/ 81658 w 96471"/>
                <a:gd name="connsiteY102" fmla="*/ 95379 h 117212"/>
                <a:gd name="connsiteX103" fmla="*/ 79781 w 96471"/>
                <a:gd name="connsiteY103" fmla="*/ 95468 h 117212"/>
                <a:gd name="connsiteX104" fmla="*/ 78067 w 96471"/>
                <a:gd name="connsiteY104" fmla="*/ 96415 h 117212"/>
                <a:gd name="connsiteX105" fmla="*/ 77392 w 96471"/>
                <a:gd name="connsiteY105" fmla="*/ 96988 h 117212"/>
                <a:gd name="connsiteX106" fmla="*/ 76853 w 96471"/>
                <a:gd name="connsiteY106" fmla="*/ 96711 h 117212"/>
                <a:gd name="connsiteX107" fmla="*/ 75722 w 96471"/>
                <a:gd name="connsiteY107" fmla="*/ 94311 h 117212"/>
                <a:gd name="connsiteX108" fmla="*/ 74893 w 96471"/>
                <a:gd name="connsiteY108" fmla="*/ 96790 h 117212"/>
                <a:gd name="connsiteX109" fmla="*/ 73157 w 96471"/>
                <a:gd name="connsiteY109" fmla="*/ 97578 h 117212"/>
                <a:gd name="connsiteX110" fmla="*/ 70184 w 96471"/>
                <a:gd name="connsiteY110" fmla="*/ 97410 h 117212"/>
                <a:gd name="connsiteX111" fmla="*/ 65217 w 96471"/>
                <a:gd name="connsiteY111" fmla="*/ 98070 h 117212"/>
                <a:gd name="connsiteX112" fmla="*/ 63306 w 96471"/>
                <a:gd name="connsiteY112" fmla="*/ 98775 h 117212"/>
                <a:gd name="connsiteX113" fmla="*/ 62512 w 96471"/>
                <a:gd name="connsiteY113" fmla="*/ 99878 h 117212"/>
                <a:gd name="connsiteX114" fmla="*/ 61922 w 96471"/>
                <a:gd name="connsiteY114" fmla="*/ 101152 h 117212"/>
                <a:gd name="connsiteX115" fmla="*/ 61147 w 96471"/>
                <a:gd name="connsiteY115" fmla="*/ 101904 h 117212"/>
                <a:gd name="connsiteX116" fmla="*/ 60271 w 96471"/>
                <a:gd name="connsiteY116" fmla="*/ 102300 h 117212"/>
                <a:gd name="connsiteX117" fmla="*/ 56436 w 96471"/>
                <a:gd name="connsiteY117" fmla="*/ 103238 h 117212"/>
                <a:gd name="connsiteX118" fmla="*/ 55680 w 96471"/>
                <a:gd name="connsiteY118" fmla="*/ 103613 h 117212"/>
                <a:gd name="connsiteX119" fmla="*/ 53904 w 96471"/>
                <a:gd name="connsiteY119" fmla="*/ 105667 h 117212"/>
                <a:gd name="connsiteX120" fmla="*/ 51575 w 96471"/>
                <a:gd name="connsiteY120" fmla="*/ 106853 h 117212"/>
                <a:gd name="connsiteX121" fmla="*/ 49646 w 96471"/>
                <a:gd name="connsiteY121" fmla="*/ 107208 h 117212"/>
                <a:gd name="connsiteX122" fmla="*/ 47934 w 96471"/>
                <a:gd name="connsiteY122" fmla="*/ 106014 h 117212"/>
                <a:gd name="connsiteX123" fmla="*/ 47230 w 96471"/>
                <a:gd name="connsiteY123" fmla="*/ 105296 h 117212"/>
                <a:gd name="connsiteX124" fmla="*/ 46435 w 96471"/>
                <a:gd name="connsiteY124" fmla="*/ 104931 h 117212"/>
                <a:gd name="connsiteX125" fmla="*/ 43805 w 96471"/>
                <a:gd name="connsiteY125" fmla="*/ 104987 h 117212"/>
                <a:gd name="connsiteX126" fmla="*/ 44636 w 96471"/>
                <a:gd name="connsiteY126" fmla="*/ 105357 h 117212"/>
                <a:gd name="connsiteX127" fmla="*/ 45172 w 96471"/>
                <a:gd name="connsiteY127" fmla="*/ 106200 h 117212"/>
                <a:gd name="connsiteX128" fmla="*/ 45432 w 96471"/>
                <a:gd name="connsiteY128" fmla="*/ 107815 h 117212"/>
                <a:gd name="connsiteX129" fmla="*/ 45133 w 96471"/>
                <a:gd name="connsiteY129" fmla="*/ 109397 h 117212"/>
                <a:gd name="connsiteX130" fmla="*/ 43836 w 96471"/>
                <a:gd name="connsiteY130" fmla="*/ 110200 h 117212"/>
                <a:gd name="connsiteX131" fmla="*/ 42287 w 96471"/>
                <a:gd name="connsiteY131" fmla="*/ 110348 h 117212"/>
                <a:gd name="connsiteX132" fmla="*/ 39845 w 96471"/>
                <a:gd name="connsiteY132" fmla="*/ 111987 h 117212"/>
                <a:gd name="connsiteX133" fmla="*/ 36612 w 96471"/>
                <a:gd name="connsiteY133" fmla="*/ 112435 h 117212"/>
                <a:gd name="connsiteX134" fmla="*/ 34866 w 96471"/>
                <a:gd name="connsiteY134" fmla="*/ 113943 h 117212"/>
                <a:gd name="connsiteX135" fmla="*/ 24185 w 96471"/>
                <a:gd name="connsiteY135" fmla="*/ 116492 h 117212"/>
                <a:gd name="connsiteX136" fmla="*/ 23579 w 96471"/>
                <a:gd name="connsiteY136" fmla="*/ 116522 h 117212"/>
                <a:gd name="connsiteX137" fmla="*/ 22105 w 96471"/>
                <a:gd name="connsiteY137" fmla="*/ 115873 h 117212"/>
                <a:gd name="connsiteX138" fmla="*/ 20506 w 96471"/>
                <a:gd name="connsiteY138" fmla="*/ 115586 h 117212"/>
                <a:gd name="connsiteX139" fmla="*/ 18914 w 96471"/>
                <a:gd name="connsiteY139" fmla="*/ 115789 h 117212"/>
                <a:gd name="connsiteX140" fmla="*/ 14438 w 96471"/>
                <a:gd name="connsiteY140" fmla="*/ 117212 h 117212"/>
                <a:gd name="connsiteX141" fmla="*/ 12270 w 96471"/>
                <a:gd name="connsiteY141" fmla="*/ 116929 h 117212"/>
                <a:gd name="connsiteX142" fmla="*/ 15033 w 96471"/>
                <a:gd name="connsiteY142" fmla="*/ 113390 h 117212"/>
                <a:gd name="connsiteX143" fmla="*/ 18748 w 96471"/>
                <a:gd name="connsiteY143" fmla="*/ 111602 h 117212"/>
                <a:gd name="connsiteX144" fmla="*/ 19134 w 96471"/>
                <a:gd name="connsiteY144" fmla="*/ 111112 h 117212"/>
                <a:gd name="connsiteX145" fmla="*/ 17920 w 96471"/>
                <a:gd name="connsiteY145" fmla="*/ 110872 h 117212"/>
                <a:gd name="connsiteX146" fmla="*/ 10862 w 96471"/>
                <a:gd name="connsiteY146" fmla="*/ 112114 h 117212"/>
                <a:gd name="connsiteX147" fmla="*/ 8410 w 96471"/>
                <a:gd name="connsiteY147" fmla="*/ 113172 h 117212"/>
                <a:gd name="connsiteX148" fmla="*/ 5959 w 96471"/>
                <a:gd name="connsiteY148" fmla="*/ 113479 h 117212"/>
                <a:gd name="connsiteX149" fmla="*/ 7094 w 96471"/>
                <a:gd name="connsiteY149" fmla="*/ 111864 h 117212"/>
                <a:gd name="connsiteX150" fmla="*/ 10256 w 96471"/>
                <a:gd name="connsiteY150" fmla="*/ 109650 h 117212"/>
                <a:gd name="connsiteX151" fmla="*/ 11952 w 96471"/>
                <a:gd name="connsiteY151" fmla="*/ 108607 h 117212"/>
                <a:gd name="connsiteX152" fmla="*/ 12987 w 96471"/>
                <a:gd name="connsiteY152" fmla="*/ 108193 h 117212"/>
                <a:gd name="connsiteX153" fmla="*/ 14168 w 96471"/>
                <a:gd name="connsiteY153" fmla="*/ 106891 h 117212"/>
                <a:gd name="connsiteX154" fmla="*/ 17500 w 96471"/>
                <a:gd name="connsiteY154" fmla="*/ 105411 h 117212"/>
                <a:gd name="connsiteX155" fmla="*/ 6767 w 96471"/>
                <a:gd name="connsiteY155" fmla="*/ 108463 h 117212"/>
                <a:gd name="connsiteX156" fmla="*/ 3947 w 96471"/>
                <a:gd name="connsiteY156" fmla="*/ 108091 h 117212"/>
                <a:gd name="connsiteX157" fmla="*/ 3283 w 96471"/>
                <a:gd name="connsiteY157" fmla="*/ 107240 h 117212"/>
                <a:gd name="connsiteX158" fmla="*/ 1087 w 96471"/>
                <a:gd name="connsiteY158" fmla="*/ 107639 h 117212"/>
                <a:gd name="connsiteX159" fmla="*/ 255 w 96471"/>
                <a:gd name="connsiteY159" fmla="*/ 105579 h 117212"/>
                <a:gd name="connsiteX160" fmla="*/ 3508 w 96471"/>
                <a:gd name="connsiteY160" fmla="*/ 102454 h 117212"/>
                <a:gd name="connsiteX161" fmla="*/ 5404 w 96471"/>
                <a:gd name="connsiteY161" fmla="*/ 101109 h 117212"/>
                <a:gd name="connsiteX162" fmla="*/ 7655 w 96471"/>
                <a:gd name="connsiteY162" fmla="*/ 100382 h 117212"/>
                <a:gd name="connsiteX163" fmla="*/ 9822 w 96471"/>
                <a:gd name="connsiteY163" fmla="*/ 99339 h 117212"/>
                <a:gd name="connsiteX164" fmla="*/ 10626 w 96471"/>
                <a:gd name="connsiteY164" fmla="*/ 98063 h 117212"/>
                <a:gd name="connsiteX165" fmla="*/ 9606 w 96471"/>
                <a:gd name="connsiteY165" fmla="*/ 97656 h 117212"/>
                <a:gd name="connsiteX166" fmla="*/ 3112 w 96471"/>
                <a:gd name="connsiteY166" fmla="*/ 97980 h 117212"/>
                <a:gd name="connsiteX167" fmla="*/ 0 w 96471"/>
                <a:gd name="connsiteY167" fmla="*/ 97708 h 117212"/>
                <a:gd name="connsiteX168" fmla="*/ 168 w 96471"/>
                <a:gd name="connsiteY168" fmla="*/ 96696 h 117212"/>
                <a:gd name="connsiteX169" fmla="*/ 742 w 96471"/>
                <a:gd name="connsiteY169" fmla="*/ 95574 h 117212"/>
                <a:gd name="connsiteX170" fmla="*/ 3965 w 96471"/>
                <a:gd name="connsiteY170" fmla="*/ 93654 h 117212"/>
                <a:gd name="connsiteX171" fmla="*/ 5708 w 96471"/>
                <a:gd name="connsiteY171" fmla="*/ 93345 h 117212"/>
                <a:gd name="connsiteX172" fmla="*/ 7263 w 96471"/>
                <a:gd name="connsiteY172" fmla="*/ 93528 h 117212"/>
                <a:gd name="connsiteX173" fmla="*/ 8781 w 96471"/>
                <a:gd name="connsiteY173" fmla="*/ 94020 h 117212"/>
                <a:gd name="connsiteX174" fmla="*/ 10015 w 96471"/>
                <a:gd name="connsiteY174" fmla="*/ 94663 h 117212"/>
                <a:gd name="connsiteX175" fmla="*/ 13668 w 96471"/>
                <a:gd name="connsiteY175" fmla="*/ 94294 h 117212"/>
                <a:gd name="connsiteX176" fmla="*/ 12143 w 96471"/>
                <a:gd name="connsiteY176" fmla="*/ 93067 h 117212"/>
                <a:gd name="connsiteX177" fmla="*/ 11874 w 96471"/>
                <a:gd name="connsiteY177" fmla="*/ 90572 h 117212"/>
                <a:gd name="connsiteX178" fmla="*/ 10706 w 96471"/>
                <a:gd name="connsiteY178" fmla="*/ 89733 h 117212"/>
                <a:gd name="connsiteX179" fmla="*/ 12201 w 96471"/>
                <a:gd name="connsiteY179" fmla="*/ 88575 h 117212"/>
                <a:gd name="connsiteX180" fmla="*/ 13911 w 96471"/>
                <a:gd name="connsiteY180" fmla="*/ 87871 h 117212"/>
                <a:gd name="connsiteX181" fmla="*/ 16761 w 96471"/>
                <a:gd name="connsiteY181" fmla="*/ 85473 h 117212"/>
                <a:gd name="connsiteX182" fmla="*/ 17776 w 96471"/>
                <a:gd name="connsiteY182" fmla="*/ 85108 h 117212"/>
                <a:gd name="connsiteX183" fmla="*/ 23416 w 96471"/>
                <a:gd name="connsiteY183" fmla="*/ 84525 h 117212"/>
                <a:gd name="connsiteX184" fmla="*/ 29499 w 96471"/>
                <a:gd name="connsiteY184" fmla="*/ 83263 h 117212"/>
                <a:gd name="connsiteX185" fmla="*/ 35529 w 96471"/>
                <a:gd name="connsiteY185" fmla="*/ 81519 h 117212"/>
                <a:gd name="connsiteX186" fmla="*/ 32437 w 96471"/>
                <a:gd name="connsiteY186" fmla="*/ 80544 h 117212"/>
                <a:gd name="connsiteX187" fmla="*/ 30956 w 96471"/>
                <a:gd name="connsiteY187" fmla="*/ 79257 h 117212"/>
                <a:gd name="connsiteX188" fmla="*/ 28576 w 96471"/>
                <a:gd name="connsiteY188" fmla="*/ 81858 h 117212"/>
                <a:gd name="connsiteX189" fmla="*/ 26863 w 96471"/>
                <a:gd name="connsiteY189" fmla="*/ 82852 h 117212"/>
                <a:gd name="connsiteX190" fmla="*/ 22024 w 96471"/>
                <a:gd name="connsiteY190" fmla="*/ 83383 h 117212"/>
                <a:gd name="connsiteX191" fmla="*/ 20492 w 96471"/>
                <a:gd name="connsiteY191" fmla="*/ 83091 h 117212"/>
                <a:gd name="connsiteX192" fmla="*/ 18335 w 96471"/>
                <a:gd name="connsiteY192" fmla="*/ 82284 h 117212"/>
                <a:gd name="connsiteX193" fmla="*/ 17665 w 96471"/>
                <a:gd name="connsiteY193" fmla="*/ 82592 h 117212"/>
                <a:gd name="connsiteX194" fmla="*/ 17042 w 96471"/>
                <a:gd name="connsiteY194" fmla="*/ 83215 h 117212"/>
                <a:gd name="connsiteX195" fmla="*/ 13839 w 96471"/>
                <a:gd name="connsiteY195" fmla="*/ 84489 h 117212"/>
                <a:gd name="connsiteX196" fmla="*/ 10473 w 96471"/>
                <a:gd name="connsiteY196" fmla="*/ 84794 h 117212"/>
                <a:gd name="connsiteX197" fmla="*/ 14387 w 96471"/>
                <a:gd name="connsiteY197" fmla="*/ 82456 h 117212"/>
                <a:gd name="connsiteX198" fmla="*/ 19353 w 96471"/>
                <a:gd name="connsiteY198" fmla="*/ 78489 h 117212"/>
                <a:gd name="connsiteX199" fmla="*/ 20461 w 96471"/>
                <a:gd name="connsiteY199" fmla="*/ 77234 h 117212"/>
                <a:gd name="connsiteX200" fmla="*/ 22037 w 96471"/>
                <a:gd name="connsiteY200" fmla="*/ 75050 h 117212"/>
                <a:gd name="connsiteX201" fmla="*/ 21549 w 96471"/>
                <a:gd name="connsiteY201" fmla="*/ 74078 h 117212"/>
                <a:gd name="connsiteX202" fmla="*/ 20526 w 96471"/>
                <a:gd name="connsiteY202" fmla="*/ 73524 h 117212"/>
                <a:gd name="connsiteX203" fmla="*/ 24125 w 96471"/>
                <a:gd name="connsiteY203" fmla="*/ 69022 h 117212"/>
                <a:gd name="connsiteX204" fmla="*/ 25392 w 96471"/>
                <a:gd name="connsiteY204" fmla="*/ 68204 h 117212"/>
                <a:gd name="connsiteX205" fmla="*/ 27699 w 96471"/>
                <a:gd name="connsiteY205" fmla="*/ 68072 h 117212"/>
                <a:gd name="connsiteX206" fmla="*/ 29389 w 96471"/>
                <a:gd name="connsiteY206" fmla="*/ 67357 h 117212"/>
                <a:gd name="connsiteX207" fmla="*/ 30134 w 96471"/>
                <a:gd name="connsiteY207" fmla="*/ 67354 h 117212"/>
                <a:gd name="connsiteX208" fmla="*/ 30804 w 96471"/>
                <a:gd name="connsiteY208" fmla="*/ 67088 h 117212"/>
                <a:gd name="connsiteX209" fmla="*/ 32286 w 96471"/>
                <a:gd name="connsiteY209" fmla="*/ 65736 h 117212"/>
                <a:gd name="connsiteX210" fmla="*/ 29999 w 96471"/>
                <a:gd name="connsiteY210" fmla="*/ 64876 h 117212"/>
                <a:gd name="connsiteX211" fmla="*/ 27638 w 96471"/>
                <a:gd name="connsiteY211" fmla="*/ 64433 h 117212"/>
                <a:gd name="connsiteX212" fmla="*/ 20332 w 96471"/>
                <a:gd name="connsiteY212" fmla="*/ 64902 h 117212"/>
                <a:gd name="connsiteX213" fmla="*/ 19371 w 96471"/>
                <a:gd name="connsiteY213" fmla="*/ 64801 h 117212"/>
                <a:gd name="connsiteX214" fmla="*/ 18465 w 96471"/>
                <a:gd name="connsiteY214" fmla="*/ 64386 h 117212"/>
                <a:gd name="connsiteX215" fmla="*/ 17877 w 96471"/>
                <a:gd name="connsiteY215" fmla="*/ 63787 h 117212"/>
                <a:gd name="connsiteX216" fmla="*/ 17435 w 96471"/>
                <a:gd name="connsiteY216" fmla="*/ 62252 h 117212"/>
                <a:gd name="connsiteX217" fmla="*/ 16899 w 96471"/>
                <a:gd name="connsiteY217" fmla="*/ 61909 h 117212"/>
                <a:gd name="connsiteX218" fmla="*/ 15250 w 96471"/>
                <a:gd name="connsiteY218" fmla="*/ 61909 h 117212"/>
                <a:gd name="connsiteX219" fmla="*/ 13625 w 96471"/>
                <a:gd name="connsiteY219" fmla="*/ 62378 h 117212"/>
                <a:gd name="connsiteX220" fmla="*/ 12490 w 96471"/>
                <a:gd name="connsiteY220" fmla="*/ 62333 h 117212"/>
                <a:gd name="connsiteX221" fmla="*/ 11376 w 96471"/>
                <a:gd name="connsiteY221" fmla="*/ 61660 h 117212"/>
                <a:gd name="connsiteX222" fmla="*/ 13153 w 96471"/>
                <a:gd name="connsiteY222" fmla="*/ 60088 h 117212"/>
                <a:gd name="connsiteX223" fmla="*/ 10862 w 96471"/>
                <a:gd name="connsiteY223" fmla="*/ 59718 h 117212"/>
                <a:gd name="connsiteX224" fmla="*/ 8542 w 96471"/>
                <a:gd name="connsiteY224" fmla="*/ 60027 h 117212"/>
                <a:gd name="connsiteX225" fmla="*/ 6611 w 96471"/>
                <a:gd name="connsiteY225" fmla="*/ 59551 h 117212"/>
                <a:gd name="connsiteX226" fmla="*/ 6551 w 96471"/>
                <a:gd name="connsiteY226" fmla="*/ 58564 h 117212"/>
                <a:gd name="connsiteX227" fmla="*/ 7426 w 96471"/>
                <a:gd name="connsiteY227" fmla="*/ 57579 h 117212"/>
                <a:gd name="connsiteX228" fmla="*/ 6279 w 96471"/>
                <a:gd name="connsiteY228" fmla="*/ 56644 h 117212"/>
                <a:gd name="connsiteX229" fmla="*/ 6042 w 96471"/>
                <a:gd name="connsiteY229" fmla="*/ 55462 h 117212"/>
                <a:gd name="connsiteX230" fmla="*/ 7264 w 96471"/>
                <a:gd name="connsiteY230" fmla="*/ 54881 h 117212"/>
                <a:gd name="connsiteX231" fmla="*/ 8599 w 96471"/>
                <a:gd name="connsiteY231" fmla="*/ 55074 h 117212"/>
                <a:gd name="connsiteX232" fmla="*/ 11320 w 96471"/>
                <a:gd name="connsiteY232" fmla="*/ 54199 h 117212"/>
                <a:gd name="connsiteX233" fmla="*/ 14806 w 96471"/>
                <a:gd name="connsiteY233" fmla="*/ 53774 h 117212"/>
                <a:gd name="connsiteX234" fmla="*/ 11816 w 96471"/>
                <a:gd name="connsiteY234" fmla="*/ 52911 h 117212"/>
                <a:gd name="connsiteX235" fmla="*/ 10625 w 96471"/>
                <a:gd name="connsiteY235" fmla="*/ 52171 h 117212"/>
                <a:gd name="connsiteX236" fmla="*/ 10568 w 96471"/>
                <a:gd name="connsiteY236" fmla="*/ 51038 h 117212"/>
                <a:gd name="connsiteX237" fmla="*/ 10805 w 96471"/>
                <a:gd name="connsiteY237" fmla="*/ 50068 h 117212"/>
                <a:gd name="connsiteX238" fmla="*/ 14266 w 96471"/>
                <a:gd name="connsiteY238" fmla="*/ 48427 h 117212"/>
                <a:gd name="connsiteX239" fmla="*/ 17955 w 96471"/>
                <a:gd name="connsiteY239" fmla="*/ 47703 h 117212"/>
                <a:gd name="connsiteX240" fmla="*/ 17683 w 96471"/>
                <a:gd name="connsiteY240" fmla="*/ 46621 h 117212"/>
                <a:gd name="connsiteX241" fmla="*/ 17941 w 96471"/>
                <a:gd name="connsiteY241" fmla="*/ 45450 h 117212"/>
                <a:gd name="connsiteX242" fmla="*/ 14212 w 96471"/>
                <a:gd name="connsiteY242" fmla="*/ 45112 h 117212"/>
                <a:gd name="connsiteX243" fmla="*/ 10529 w 96471"/>
                <a:gd name="connsiteY243" fmla="*/ 45938 h 117212"/>
                <a:gd name="connsiteX244" fmla="*/ 10923 w 96471"/>
                <a:gd name="connsiteY244" fmla="*/ 43700 h 117212"/>
                <a:gd name="connsiteX245" fmla="*/ 11805 w 96471"/>
                <a:gd name="connsiteY245" fmla="*/ 41678 h 117212"/>
                <a:gd name="connsiteX246" fmla="*/ 11979 w 96471"/>
                <a:gd name="connsiteY246" fmla="*/ 40343 h 117212"/>
                <a:gd name="connsiteX247" fmla="*/ 11803 w 96471"/>
                <a:gd name="connsiteY247" fmla="*/ 38914 h 117212"/>
                <a:gd name="connsiteX248" fmla="*/ 10078 w 96471"/>
                <a:gd name="connsiteY248" fmla="*/ 39525 h 117212"/>
                <a:gd name="connsiteX249" fmla="*/ 9876 w 96471"/>
                <a:gd name="connsiteY249" fmla="*/ 37509 h 117212"/>
                <a:gd name="connsiteX250" fmla="*/ 9135 w 96471"/>
                <a:gd name="connsiteY250" fmla="*/ 36125 h 117212"/>
                <a:gd name="connsiteX251" fmla="*/ 6580 w 96471"/>
                <a:gd name="connsiteY251" fmla="*/ 37078 h 117212"/>
                <a:gd name="connsiteX252" fmla="*/ 6646 w 96471"/>
                <a:gd name="connsiteY252" fmla="*/ 35252 h 117212"/>
                <a:gd name="connsiteX253" fmla="*/ 7382 w 96471"/>
                <a:gd name="connsiteY253" fmla="*/ 33975 h 117212"/>
                <a:gd name="connsiteX254" fmla="*/ 8718 w 96471"/>
                <a:gd name="connsiteY254" fmla="*/ 33420 h 117212"/>
                <a:gd name="connsiteX255" fmla="*/ 10045 w 96471"/>
                <a:gd name="connsiteY255" fmla="*/ 33661 h 117212"/>
                <a:gd name="connsiteX256" fmla="*/ 12508 w 96471"/>
                <a:gd name="connsiteY256" fmla="*/ 33637 h 117212"/>
                <a:gd name="connsiteX257" fmla="*/ 14883 w 96471"/>
                <a:gd name="connsiteY257" fmla="*/ 32677 h 117212"/>
                <a:gd name="connsiteX258" fmla="*/ 18307 w 96471"/>
                <a:gd name="connsiteY258" fmla="*/ 32430 h 117212"/>
                <a:gd name="connsiteX259" fmla="*/ 23764 w 96471"/>
                <a:gd name="connsiteY259" fmla="*/ 32732 h 117212"/>
                <a:gd name="connsiteX260" fmla="*/ 27515 w 96471"/>
                <a:gd name="connsiteY260" fmla="*/ 35441 h 117212"/>
                <a:gd name="connsiteX261" fmla="*/ 28483 w 96471"/>
                <a:gd name="connsiteY261" fmla="*/ 34957 h 117212"/>
                <a:gd name="connsiteX262" fmla="*/ 29983 w 96471"/>
                <a:gd name="connsiteY262" fmla="*/ 33245 h 117212"/>
                <a:gd name="connsiteX263" fmla="*/ 30687 w 96471"/>
                <a:gd name="connsiteY263" fmla="*/ 33056 h 117212"/>
                <a:gd name="connsiteX264" fmla="*/ 36340 w 96471"/>
                <a:gd name="connsiteY264" fmla="*/ 33802 h 117212"/>
                <a:gd name="connsiteX265" fmla="*/ 39851 w 96471"/>
                <a:gd name="connsiteY265" fmla="*/ 34787 h 117212"/>
                <a:gd name="connsiteX266" fmla="*/ 40790 w 96471"/>
                <a:gd name="connsiteY266" fmla="*/ 34480 h 117212"/>
                <a:gd name="connsiteX267" fmla="*/ 40283 w 96471"/>
                <a:gd name="connsiteY267" fmla="*/ 32580 h 117212"/>
                <a:gd name="connsiteX268" fmla="*/ 39074 w 96471"/>
                <a:gd name="connsiteY268" fmla="*/ 31262 h 117212"/>
                <a:gd name="connsiteX269" fmla="*/ 40593 w 96471"/>
                <a:gd name="connsiteY269" fmla="*/ 29534 h 117212"/>
                <a:gd name="connsiteX270" fmla="*/ 42438 w 96471"/>
                <a:gd name="connsiteY270" fmla="*/ 28363 h 117212"/>
                <a:gd name="connsiteX271" fmla="*/ 43671 w 96471"/>
                <a:gd name="connsiteY271" fmla="*/ 27779 h 117212"/>
                <a:gd name="connsiteX272" fmla="*/ 46518 w 96471"/>
                <a:gd name="connsiteY272" fmla="*/ 27053 h 117212"/>
                <a:gd name="connsiteX273" fmla="*/ 47759 w 96471"/>
                <a:gd name="connsiteY273" fmla="*/ 26369 h 117212"/>
                <a:gd name="connsiteX274" fmla="*/ 48586 w 96471"/>
                <a:gd name="connsiteY274" fmla="*/ 24143 h 117212"/>
                <a:gd name="connsiteX275" fmla="*/ 49902 w 96471"/>
                <a:gd name="connsiteY275" fmla="*/ 22287 h 117212"/>
                <a:gd name="connsiteX276" fmla="*/ 42758 w 96471"/>
                <a:gd name="connsiteY276" fmla="*/ 23252 h 117212"/>
                <a:gd name="connsiteX277" fmla="*/ 35961 w 96471"/>
                <a:gd name="connsiteY277" fmla="*/ 21052 h 117212"/>
                <a:gd name="connsiteX278" fmla="*/ 37039 w 96471"/>
                <a:gd name="connsiteY278" fmla="*/ 19495 h 117212"/>
                <a:gd name="connsiteX279" fmla="*/ 38474 w 96471"/>
                <a:gd name="connsiteY279" fmla="*/ 18612 h 117212"/>
                <a:gd name="connsiteX280" fmla="*/ 40950 w 96471"/>
                <a:gd name="connsiteY280" fmla="*/ 17935 h 117212"/>
                <a:gd name="connsiteX281" fmla="*/ 41185 w 96471"/>
                <a:gd name="connsiteY281" fmla="*/ 17122 h 117212"/>
                <a:gd name="connsiteX282" fmla="*/ 42438 w 96471"/>
                <a:gd name="connsiteY282" fmla="*/ 16446 h 117212"/>
                <a:gd name="connsiteX283" fmla="*/ 44510 w 96471"/>
                <a:gd name="connsiteY283" fmla="*/ 14669 h 117212"/>
                <a:gd name="connsiteX284" fmla="*/ 43749 w 96471"/>
                <a:gd name="connsiteY284" fmla="*/ 12346 h 117212"/>
                <a:gd name="connsiteX285" fmla="*/ 44157 w 96471"/>
                <a:gd name="connsiteY285" fmla="*/ 10646 h 117212"/>
                <a:gd name="connsiteX286" fmla="*/ 45649 w 96471"/>
                <a:gd name="connsiteY286" fmla="*/ 9537 h 117212"/>
                <a:gd name="connsiteX287" fmla="*/ 46116 w 96471"/>
                <a:gd name="connsiteY287" fmla="*/ 7945 h 117212"/>
                <a:gd name="connsiteX288" fmla="*/ 46781 w 96471"/>
                <a:gd name="connsiteY288" fmla="*/ 6772 h 117212"/>
                <a:gd name="connsiteX289" fmla="*/ 49808 w 96471"/>
                <a:gd name="connsiteY289" fmla="*/ 6352 h 117212"/>
                <a:gd name="connsiteX290" fmla="*/ 52718 w 96471"/>
                <a:gd name="connsiteY290" fmla="*/ 5261 h 117212"/>
                <a:gd name="connsiteX291" fmla="*/ 53769 w 96471"/>
                <a:gd name="connsiteY291" fmla="*/ 5367 h 117212"/>
                <a:gd name="connsiteX292" fmla="*/ 57205 w 96471"/>
                <a:gd name="connsiteY292" fmla="*/ 5115 h 117212"/>
                <a:gd name="connsiteX293" fmla="*/ 58369 w 96471"/>
                <a:gd name="connsiteY293" fmla="*/ 5555 h 117212"/>
                <a:gd name="connsiteX294" fmla="*/ 58104 w 96471"/>
                <a:gd name="connsiteY294" fmla="*/ 3626 h 117212"/>
                <a:gd name="connsiteX295" fmla="*/ 60214 w 96471"/>
                <a:gd name="connsiteY295" fmla="*/ 3375 h 117212"/>
                <a:gd name="connsiteX296" fmla="*/ 61039 w 96471"/>
                <a:gd name="connsiteY296" fmla="*/ 3760 h 117212"/>
                <a:gd name="connsiteX297" fmla="*/ 61402 w 96471"/>
                <a:gd name="connsiteY297" fmla="*/ 5127 h 117212"/>
                <a:gd name="connsiteX298" fmla="*/ 62361 w 96471"/>
                <a:gd name="connsiteY298" fmla="*/ 5999 h 117212"/>
                <a:gd name="connsiteX299" fmla="*/ 62657 w 96471"/>
                <a:gd name="connsiteY299" fmla="*/ 7513 h 117212"/>
                <a:gd name="connsiteX300" fmla="*/ 62014 w 96471"/>
                <a:gd name="connsiteY300" fmla="*/ 8682 h 117212"/>
                <a:gd name="connsiteX301" fmla="*/ 60940 w 96471"/>
                <a:gd name="connsiteY301" fmla="*/ 9582 h 117212"/>
                <a:gd name="connsiteX302" fmla="*/ 61922 w 96471"/>
                <a:gd name="connsiteY302" fmla="*/ 10503 h 117212"/>
                <a:gd name="connsiteX303" fmla="*/ 60399 w 96471"/>
                <a:gd name="connsiteY303" fmla="*/ 12166 h 117212"/>
                <a:gd name="connsiteX304" fmla="*/ 62043 w 96471"/>
                <a:gd name="connsiteY304" fmla="*/ 11458 h 117212"/>
                <a:gd name="connsiteX305" fmla="*/ 64386 w 96471"/>
                <a:gd name="connsiteY305" fmla="*/ 9829 h 117212"/>
                <a:gd name="connsiteX306" fmla="*/ 64265 w 96471"/>
                <a:gd name="connsiteY306" fmla="*/ 8496 h 117212"/>
                <a:gd name="connsiteX307" fmla="*/ 63866 w 96471"/>
                <a:gd name="connsiteY307" fmla="*/ 6820 h 117212"/>
                <a:gd name="connsiteX308" fmla="*/ 63214 w 96471"/>
                <a:gd name="connsiteY308" fmla="*/ 5307 h 117212"/>
                <a:gd name="connsiteX309" fmla="*/ 63514 w 96471"/>
                <a:gd name="connsiteY309" fmla="*/ 3639 h 117212"/>
                <a:gd name="connsiteX310" fmla="*/ 64831 w 96471"/>
                <a:gd name="connsiteY310" fmla="*/ 2595 h 117212"/>
                <a:gd name="connsiteX311" fmla="*/ 68293 w 96471"/>
                <a:gd name="connsiteY311" fmla="*/ 2070 h 117212"/>
                <a:gd name="connsiteX312" fmla="*/ 66873 w 96471"/>
                <a:gd name="connsiteY312" fmla="*/ 174 h 117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Lst>
              <a:rect l="l" t="t" r="r" b="b"/>
              <a:pathLst>
                <a:path w="96471" h="117212">
                  <a:moveTo>
                    <a:pt x="4626" y="41297"/>
                  </a:moveTo>
                  <a:lnTo>
                    <a:pt x="5539" y="41650"/>
                  </a:lnTo>
                  <a:lnTo>
                    <a:pt x="8709" y="41699"/>
                  </a:lnTo>
                  <a:lnTo>
                    <a:pt x="9599" y="42196"/>
                  </a:lnTo>
                  <a:lnTo>
                    <a:pt x="9774" y="44442"/>
                  </a:lnTo>
                  <a:lnTo>
                    <a:pt x="9681" y="45307"/>
                  </a:lnTo>
                  <a:lnTo>
                    <a:pt x="8043" y="44217"/>
                  </a:lnTo>
                  <a:lnTo>
                    <a:pt x="7247" y="43030"/>
                  </a:lnTo>
                  <a:lnTo>
                    <a:pt x="2753" y="42485"/>
                  </a:lnTo>
                  <a:close/>
                  <a:moveTo>
                    <a:pt x="68137" y="0"/>
                  </a:moveTo>
                  <a:lnTo>
                    <a:pt x="69511" y="395"/>
                  </a:lnTo>
                  <a:lnTo>
                    <a:pt x="71531" y="1873"/>
                  </a:lnTo>
                  <a:lnTo>
                    <a:pt x="73633" y="3031"/>
                  </a:lnTo>
                  <a:lnTo>
                    <a:pt x="75813" y="3949"/>
                  </a:lnTo>
                  <a:lnTo>
                    <a:pt x="73718" y="5785"/>
                  </a:lnTo>
                  <a:lnTo>
                    <a:pt x="71143" y="7058"/>
                  </a:lnTo>
                  <a:lnTo>
                    <a:pt x="70130" y="8444"/>
                  </a:lnTo>
                  <a:lnTo>
                    <a:pt x="66631" y="10422"/>
                  </a:lnTo>
                  <a:lnTo>
                    <a:pt x="66089" y="11171"/>
                  </a:lnTo>
                  <a:lnTo>
                    <a:pt x="65103" y="14188"/>
                  </a:lnTo>
                  <a:lnTo>
                    <a:pt x="64987" y="15048"/>
                  </a:lnTo>
                  <a:lnTo>
                    <a:pt x="63861" y="16633"/>
                  </a:lnTo>
                  <a:lnTo>
                    <a:pt x="62795" y="18395"/>
                  </a:lnTo>
                  <a:lnTo>
                    <a:pt x="61555" y="19077"/>
                  </a:lnTo>
                  <a:lnTo>
                    <a:pt x="59708" y="19618"/>
                  </a:lnTo>
                  <a:lnTo>
                    <a:pt x="58658" y="20156"/>
                  </a:lnTo>
                  <a:lnTo>
                    <a:pt x="57336" y="19886"/>
                  </a:lnTo>
                  <a:lnTo>
                    <a:pt x="55662" y="19929"/>
                  </a:lnTo>
                  <a:lnTo>
                    <a:pt x="54830" y="20527"/>
                  </a:lnTo>
                  <a:lnTo>
                    <a:pt x="54871" y="20986"/>
                  </a:lnTo>
                  <a:lnTo>
                    <a:pt x="55371" y="21515"/>
                  </a:lnTo>
                  <a:lnTo>
                    <a:pt x="56837" y="22322"/>
                  </a:lnTo>
                  <a:lnTo>
                    <a:pt x="58463" y="23052"/>
                  </a:lnTo>
                  <a:lnTo>
                    <a:pt x="58284" y="23691"/>
                  </a:lnTo>
                  <a:lnTo>
                    <a:pt x="57413" y="24415"/>
                  </a:lnTo>
                  <a:lnTo>
                    <a:pt x="51873" y="26211"/>
                  </a:lnTo>
                  <a:lnTo>
                    <a:pt x="50223" y="27295"/>
                  </a:lnTo>
                  <a:lnTo>
                    <a:pt x="49651" y="28010"/>
                  </a:lnTo>
                  <a:lnTo>
                    <a:pt x="50238" y="29208"/>
                  </a:lnTo>
                  <a:lnTo>
                    <a:pt x="54656" y="32794"/>
                  </a:lnTo>
                  <a:lnTo>
                    <a:pt x="55408" y="33184"/>
                  </a:lnTo>
                  <a:lnTo>
                    <a:pt x="56061" y="35268"/>
                  </a:lnTo>
                  <a:lnTo>
                    <a:pt x="59956" y="36139"/>
                  </a:lnTo>
                  <a:lnTo>
                    <a:pt x="61553" y="37440"/>
                  </a:lnTo>
                  <a:lnTo>
                    <a:pt x="62927" y="37752"/>
                  </a:lnTo>
                  <a:lnTo>
                    <a:pt x="65912" y="37639"/>
                  </a:lnTo>
                  <a:lnTo>
                    <a:pt x="67112" y="38128"/>
                  </a:lnTo>
                  <a:lnTo>
                    <a:pt x="67790" y="37757"/>
                  </a:lnTo>
                  <a:lnTo>
                    <a:pt x="68183" y="37071"/>
                  </a:lnTo>
                  <a:lnTo>
                    <a:pt x="70696" y="35304"/>
                  </a:lnTo>
                  <a:lnTo>
                    <a:pt x="71527" y="34532"/>
                  </a:lnTo>
                  <a:lnTo>
                    <a:pt x="71028" y="33454"/>
                  </a:lnTo>
                  <a:lnTo>
                    <a:pt x="70485" y="32635"/>
                  </a:lnTo>
                  <a:lnTo>
                    <a:pt x="72013" y="31003"/>
                  </a:lnTo>
                  <a:lnTo>
                    <a:pt x="73866" y="29391"/>
                  </a:lnTo>
                  <a:lnTo>
                    <a:pt x="74795" y="29439"/>
                  </a:lnTo>
                  <a:lnTo>
                    <a:pt x="76377" y="30426"/>
                  </a:lnTo>
                  <a:lnTo>
                    <a:pt x="77680" y="31804"/>
                  </a:lnTo>
                  <a:lnTo>
                    <a:pt x="77857" y="32871"/>
                  </a:lnTo>
                  <a:lnTo>
                    <a:pt x="78097" y="33645"/>
                  </a:lnTo>
                  <a:lnTo>
                    <a:pt x="79330" y="35297"/>
                  </a:lnTo>
                  <a:lnTo>
                    <a:pt x="80126" y="35867"/>
                  </a:lnTo>
                  <a:lnTo>
                    <a:pt x="82273" y="36198"/>
                  </a:lnTo>
                  <a:lnTo>
                    <a:pt x="82773" y="36846"/>
                  </a:lnTo>
                  <a:lnTo>
                    <a:pt x="82390" y="39235"/>
                  </a:lnTo>
                  <a:lnTo>
                    <a:pt x="82709" y="40029"/>
                  </a:lnTo>
                  <a:lnTo>
                    <a:pt x="84957" y="40070"/>
                  </a:lnTo>
                  <a:lnTo>
                    <a:pt x="87342" y="39877"/>
                  </a:lnTo>
                  <a:lnTo>
                    <a:pt x="88175" y="39968"/>
                  </a:lnTo>
                  <a:lnTo>
                    <a:pt x="89036" y="39468"/>
                  </a:lnTo>
                  <a:lnTo>
                    <a:pt x="90363" y="38929"/>
                  </a:lnTo>
                  <a:lnTo>
                    <a:pt x="92257" y="39115"/>
                  </a:lnTo>
                  <a:lnTo>
                    <a:pt x="93191" y="40184"/>
                  </a:lnTo>
                  <a:lnTo>
                    <a:pt x="93607" y="41285"/>
                  </a:lnTo>
                  <a:lnTo>
                    <a:pt x="91977" y="41699"/>
                  </a:lnTo>
                  <a:lnTo>
                    <a:pt x="90275" y="41473"/>
                  </a:lnTo>
                  <a:lnTo>
                    <a:pt x="89445" y="42196"/>
                  </a:lnTo>
                  <a:lnTo>
                    <a:pt x="89391" y="43588"/>
                  </a:lnTo>
                  <a:lnTo>
                    <a:pt x="89966" y="45379"/>
                  </a:lnTo>
                  <a:lnTo>
                    <a:pt x="91104" y="46649"/>
                  </a:lnTo>
                  <a:lnTo>
                    <a:pt x="92014" y="49509"/>
                  </a:lnTo>
                  <a:lnTo>
                    <a:pt x="92768" y="52676"/>
                  </a:lnTo>
                  <a:lnTo>
                    <a:pt x="93941" y="54588"/>
                  </a:lnTo>
                  <a:lnTo>
                    <a:pt x="94182" y="56958"/>
                  </a:lnTo>
                  <a:lnTo>
                    <a:pt x="94009" y="58122"/>
                  </a:lnTo>
                  <a:lnTo>
                    <a:pt x="94223" y="60212"/>
                  </a:lnTo>
                  <a:lnTo>
                    <a:pt x="93724" y="60948"/>
                  </a:lnTo>
                  <a:lnTo>
                    <a:pt x="94098" y="62908"/>
                  </a:lnTo>
                  <a:lnTo>
                    <a:pt x="95479" y="66960"/>
                  </a:lnTo>
                  <a:lnTo>
                    <a:pt x="96082" y="69214"/>
                  </a:lnTo>
                  <a:lnTo>
                    <a:pt x="96471" y="74127"/>
                  </a:lnTo>
                  <a:lnTo>
                    <a:pt x="95497" y="75966"/>
                  </a:lnTo>
                  <a:lnTo>
                    <a:pt x="94188" y="77709"/>
                  </a:lnTo>
                  <a:lnTo>
                    <a:pt x="93333" y="79774"/>
                  </a:lnTo>
                  <a:lnTo>
                    <a:pt x="92672" y="82001"/>
                  </a:lnTo>
                  <a:lnTo>
                    <a:pt x="92274" y="85587"/>
                  </a:lnTo>
                  <a:lnTo>
                    <a:pt x="89440" y="89784"/>
                  </a:lnTo>
                  <a:lnTo>
                    <a:pt x="88234" y="90826"/>
                  </a:lnTo>
                  <a:lnTo>
                    <a:pt x="86835" y="91467"/>
                  </a:lnTo>
                  <a:lnTo>
                    <a:pt x="89891" y="94395"/>
                  </a:lnTo>
                  <a:lnTo>
                    <a:pt x="87394" y="95700"/>
                  </a:lnTo>
                  <a:lnTo>
                    <a:pt x="84671" y="96111"/>
                  </a:lnTo>
                  <a:lnTo>
                    <a:pt x="81658" y="95379"/>
                  </a:lnTo>
                  <a:lnTo>
                    <a:pt x="79781" y="95468"/>
                  </a:lnTo>
                  <a:lnTo>
                    <a:pt x="78067" y="96415"/>
                  </a:lnTo>
                  <a:lnTo>
                    <a:pt x="77392" y="96988"/>
                  </a:lnTo>
                  <a:lnTo>
                    <a:pt x="76853" y="96711"/>
                  </a:lnTo>
                  <a:lnTo>
                    <a:pt x="75722" y="94311"/>
                  </a:lnTo>
                  <a:lnTo>
                    <a:pt x="74893" y="96790"/>
                  </a:lnTo>
                  <a:lnTo>
                    <a:pt x="73157" y="97578"/>
                  </a:lnTo>
                  <a:lnTo>
                    <a:pt x="70184" y="97410"/>
                  </a:lnTo>
                  <a:lnTo>
                    <a:pt x="65217" y="98070"/>
                  </a:lnTo>
                  <a:lnTo>
                    <a:pt x="63306" y="98775"/>
                  </a:lnTo>
                  <a:lnTo>
                    <a:pt x="62512" y="99878"/>
                  </a:lnTo>
                  <a:lnTo>
                    <a:pt x="61922" y="101152"/>
                  </a:lnTo>
                  <a:lnTo>
                    <a:pt x="61147" y="101904"/>
                  </a:lnTo>
                  <a:lnTo>
                    <a:pt x="60271" y="102300"/>
                  </a:lnTo>
                  <a:lnTo>
                    <a:pt x="56436" y="103238"/>
                  </a:lnTo>
                  <a:lnTo>
                    <a:pt x="55680" y="103613"/>
                  </a:lnTo>
                  <a:lnTo>
                    <a:pt x="53904" y="105667"/>
                  </a:lnTo>
                  <a:lnTo>
                    <a:pt x="51575" y="106853"/>
                  </a:lnTo>
                  <a:lnTo>
                    <a:pt x="49646" y="107208"/>
                  </a:lnTo>
                  <a:lnTo>
                    <a:pt x="47934" y="106014"/>
                  </a:lnTo>
                  <a:lnTo>
                    <a:pt x="47230" y="105296"/>
                  </a:lnTo>
                  <a:lnTo>
                    <a:pt x="46435" y="104931"/>
                  </a:lnTo>
                  <a:lnTo>
                    <a:pt x="43805" y="104987"/>
                  </a:lnTo>
                  <a:lnTo>
                    <a:pt x="44636" y="105357"/>
                  </a:lnTo>
                  <a:lnTo>
                    <a:pt x="45172" y="106200"/>
                  </a:lnTo>
                  <a:lnTo>
                    <a:pt x="45432" y="107815"/>
                  </a:lnTo>
                  <a:lnTo>
                    <a:pt x="45133" y="109397"/>
                  </a:lnTo>
                  <a:lnTo>
                    <a:pt x="43836" y="110200"/>
                  </a:lnTo>
                  <a:lnTo>
                    <a:pt x="42287" y="110348"/>
                  </a:lnTo>
                  <a:lnTo>
                    <a:pt x="39845" y="111987"/>
                  </a:lnTo>
                  <a:lnTo>
                    <a:pt x="36612" y="112435"/>
                  </a:lnTo>
                  <a:lnTo>
                    <a:pt x="34866" y="113943"/>
                  </a:lnTo>
                  <a:lnTo>
                    <a:pt x="24185" y="116492"/>
                  </a:lnTo>
                  <a:lnTo>
                    <a:pt x="23579" y="116522"/>
                  </a:lnTo>
                  <a:lnTo>
                    <a:pt x="22105" y="115873"/>
                  </a:lnTo>
                  <a:lnTo>
                    <a:pt x="20506" y="115586"/>
                  </a:lnTo>
                  <a:lnTo>
                    <a:pt x="18914" y="115789"/>
                  </a:lnTo>
                  <a:lnTo>
                    <a:pt x="14438" y="117212"/>
                  </a:lnTo>
                  <a:lnTo>
                    <a:pt x="12270" y="116929"/>
                  </a:lnTo>
                  <a:lnTo>
                    <a:pt x="15033" y="113390"/>
                  </a:lnTo>
                  <a:lnTo>
                    <a:pt x="18748" y="111602"/>
                  </a:lnTo>
                  <a:lnTo>
                    <a:pt x="19134" y="111112"/>
                  </a:lnTo>
                  <a:lnTo>
                    <a:pt x="17920" y="110872"/>
                  </a:lnTo>
                  <a:lnTo>
                    <a:pt x="10862" y="112114"/>
                  </a:lnTo>
                  <a:lnTo>
                    <a:pt x="8410" y="113172"/>
                  </a:lnTo>
                  <a:lnTo>
                    <a:pt x="5959" y="113479"/>
                  </a:lnTo>
                  <a:lnTo>
                    <a:pt x="7094" y="111864"/>
                  </a:lnTo>
                  <a:lnTo>
                    <a:pt x="10256" y="109650"/>
                  </a:lnTo>
                  <a:lnTo>
                    <a:pt x="11952" y="108607"/>
                  </a:lnTo>
                  <a:lnTo>
                    <a:pt x="12987" y="108193"/>
                  </a:lnTo>
                  <a:lnTo>
                    <a:pt x="14168" y="106891"/>
                  </a:lnTo>
                  <a:lnTo>
                    <a:pt x="17500" y="105411"/>
                  </a:lnTo>
                  <a:lnTo>
                    <a:pt x="6767" y="108463"/>
                  </a:lnTo>
                  <a:lnTo>
                    <a:pt x="3947" y="108091"/>
                  </a:lnTo>
                  <a:lnTo>
                    <a:pt x="3283" y="107240"/>
                  </a:lnTo>
                  <a:lnTo>
                    <a:pt x="1087" y="107639"/>
                  </a:lnTo>
                  <a:lnTo>
                    <a:pt x="255" y="105579"/>
                  </a:lnTo>
                  <a:lnTo>
                    <a:pt x="3508" y="102454"/>
                  </a:lnTo>
                  <a:lnTo>
                    <a:pt x="5404" y="101109"/>
                  </a:lnTo>
                  <a:lnTo>
                    <a:pt x="7655" y="100382"/>
                  </a:lnTo>
                  <a:lnTo>
                    <a:pt x="9822" y="99339"/>
                  </a:lnTo>
                  <a:lnTo>
                    <a:pt x="10626" y="98063"/>
                  </a:lnTo>
                  <a:lnTo>
                    <a:pt x="9606" y="97656"/>
                  </a:lnTo>
                  <a:lnTo>
                    <a:pt x="3112" y="97980"/>
                  </a:lnTo>
                  <a:lnTo>
                    <a:pt x="0" y="97708"/>
                  </a:lnTo>
                  <a:lnTo>
                    <a:pt x="168" y="96696"/>
                  </a:lnTo>
                  <a:lnTo>
                    <a:pt x="742" y="95574"/>
                  </a:lnTo>
                  <a:lnTo>
                    <a:pt x="3965" y="93654"/>
                  </a:lnTo>
                  <a:lnTo>
                    <a:pt x="5708" y="93345"/>
                  </a:lnTo>
                  <a:lnTo>
                    <a:pt x="7263" y="93528"/>
                  </a:lnTo>
                  <a:lnTo>
                    <a:pt x="8781" y="94020"/>
                  </a:lnTo>
                  <a:lnTo>
                    <a:pt x="10015" y="94663"/>
                  </a:lnTo>
                  <a:lnTo>
                    <a:pt x="13668" y="94294"/>
                  </a:lnTo>
                  <a:lnTo>
                    <a:pt x="12143" y="93067"/>
                  </a:lnTo>
                  <a:lnTo>
                    <a:pt x="11874" y="90572"/>
                  </a:lnTo>
                  <a:lnTo>
                    <a:pt x="10706" y="89733"/>
                  </a:lnTo>
                  <a:lnTo>
                    <a:pt x="12201" y="88575"/>
                  </a:lnTo>
                  <a:lnTo>
                    <a:pt x="13911" y="87871"/>
                  </a:lnTo>
                  <a:lnTo>
                    <a:pt x="16761" y="85473"/>
                  </a:lnTo>
                  <a:lnTo>
                    <a:pt x="17776" y="85108"/>
                  </a:lnTo>
                  <a:lnTo>
                    <a:pt x="23416" y="84525"/>
                  </a:lnTo>
                  <a:lnTo>
                    <a:pt x="29499" y="83263"/>
                  </a:lnTo>
                  <a:lnTo>
                    <a:pt x="35529" y="81519"/>
                  </a:lnTo>
                  <a:lnTo>
                    <a:pt x="32437" y="80544"/>
                  </a:lnTo>
                  <a:lnTo>
                    <a:pt x="30956" y="79257"/>
                  </a:lnTo>
                  <a:lnTo>
                    <a:pt x="28576" y="81858"/>
                  </a:lnTo>
                  <a:lnTo>
                    <a:pt x="26863" y="82852"/>
                  </a:lnTo>
                  <a:lnTo>
                    <a:pt x="22024" y="83383"/>
                  </a:lnTo>
                  <a:lnTo>
                    <a:pt x="20492" y="83091"/>
                  </a:lnTo>
                  <a:lnTo>
                    <a:pt x="18335" y="82284"/>
                  </a:lnTo>
                  <a:lnTo>
                    <a:pt x="17665" y="82592"/>
                  </a:lnTo>
                  <a:lnTo>
                    <a:pt x="17042" y="83215"/>
                  </a:lnTo>
                  <a:lnTo>
                    <a:pt x="13839" y="84489"/>
                  </a:lnTo>
                  <a:lnTo>
                    <a:pt x="10473" y="84794"/>
                  </a:lnTo>
                  <a:lnTo>
                    <a:pt x="14387" y="82456"/>
                  </a:lnTo>
                  <a:lnTo>
                    <a:pt x="19353" y="78489"/>
                  </a:lnTo>
                  <a:lnTo>
                    <a:pt x="20461" y="77234"/>
                  </a:lnTo>
                  <a:lnTo>
                    <a:pt x="22037" y="75050"/>
                  </a:lnTo>
                  <a:lnTo>
                    <a:pt x="21549" y="74078"/>
                  </a:lnTo>
                  <a:lnTo>
                    <a:pt x="20526" y="73524"/>
                  </a:lnTo>
                  <a:lnTo>
                    <a:pt x="24125" y="69022"/>
                  </a:lnTo>
                  <a:lnTo>
                    <a:pt x="25392" y="68204"/>
                  </a:lnTo>
                  <a:lnTo>
                    <a:pt x="27699" y="68072"/>
                  </a:lnTo>
                  <a:lnTo>
                    <a:pt x="29389" y="67357"/>
                  </a:lnTo>
                  <a:lnTo>
                    <a:pt x="30134" y="67354"/>
                  </a:lnTo>
                  <a:lnTo>
                    <a:pt x="30804" y="67088"/>
                  </a:lnTo>
                  <a:lnTo>
                    <a:pt x="32286" y="65736"/>
                  </a:lnTo>
                  <a:lnTo>
                    <a:pt x="29999" y="64876"/>
                  </a:lnTo>
                  <a:lnTo>
                    <a:pt x="27638" y="64433"/>
                  </a:lnTo>
                  <a:lnTo>
                    <a:pt x="20332" y="64902"/>
                  </a:lnTo>
                  <a:lnTo>
                    <a:pt x="19371" y="64801"/>
                  </a:lnTo>
                  <a:lnTo>
                    <a:pt x="18465" y="64386"/>
                  </a:lnTo>
                  <a:lnTo>
                    <a:pt x="17877" y="63787"/>
                  </a:lnTo>
                  <a:lnTo>
                    <a:pt x="17435" y="62252"/>
                  </a:lnTo>
                  <a:lnTo>
                    <a:pt x="16899" y="61909"/>
                  </a:lnTo>
                  <a:lnTo>
                    <a:pt x="15250" y="61909"/>
                  </a:lnTo>
                  <a:lnTo>
                    <a:pt x="13625" y="62378"/>
                  </a:lnTo>
                  <a:lnTo>
                    <a:pt x="12490" y="62333"/>
                  </a:lnTo>
                  <a:lnTo>
                    <a:pt x="11376" y="61660"/>
                  </a:lnTo>
                  <a:lnTo>
                    <a:pt x="13153" y="60088"/>
                  </a:lnTo>
                  <a:lnTo>
                    <a:pt x="10862" y="59718"/>
                  </a:lnTo>
                  <a:lnTo>
                    <a:pt x="8542" y="60027"/>
                  </a:lnTo>
                  <a:lnTo>
                    <a:pt x="6611" y="59551"/>
                  </a:lnTo>
                  <a:lnTo>
                    <a:pt x="6551" y="58564"/>
                  </a:lnTo>
                  <a:lnTo>
                    <a:pt x="7426" y="57579"/>
                  </a:lnTo>
                  <a:lnTo>
                    <a:pt x="6279" y="56644"/>
                  </a:lnTo>
                  <a:lnTo>
                    <a:pt x="6042" y="55462"/>
                  </a:lnTo>
                  <a:lnTo>
                    <a:pt x="7264" y="54881"/>
                  </a:lnTo>
                  <a:lnTo>
                    <a:pt x="8599" y="55074"/>
                  </a:lnTo>
                  <a:lnTo>
                    <a:pt x="11320" y="54199"/>
                  </a:lnTo>
                  <a:lnTo>
                    <a:pt x="14806" y="53774"/>
                  </a:lnTo>
                  <a:lnTo>
                    <a:pt x="11816" y="52911"/>
                  </a:lnTo>
                  <a:lnTo>
                    <a:pt x="10625" y="52171"/>
                  </a:lnTo>
                  <a:lnTo>
                    <a:pt x="10568" y="51038"/>
                  </a:lnTo>
                  <a:lnTo>
                    <a:pt x="10805" y="50068"/>
                  </a:lnTo>
                  <a:lnTo>
                    <a:pt x="14266" y="48427"/>
                  </a:lnTo>
                  <a:lnTo>
                    <a:pt x="17955" y="47703"/>
                  </a:lnTo>
                  <a:lnTo>
                    <a:pt x="17683" y="46621"/>
                  </a:lnTo>
                  <a:lnTo>
                    <a:pt x="17941" y="45450"/>
                  </a:lnTo>
                  <a:lnTo>
                    <a:pt x="14212" y="45112"/>
                  </a:lnTo>
                  <a:lnTo>
                    <a:pt x="10529" y="45938"/>
                  </a:lnTo>
                  <a:lnTo>
                    <a:pt x="10923" y="43700"/>
                  </a:lnTo>
                  <a:lnTo>
                    <a:pt x="11805" y="41678"/>
                  </a:lnTo>
                  <a:lnTo>
                    <a:pt x="11979" y="40343"/>
                  </a:lnTo>
                  <a:lnTo>
                    <a:pt x="11803" y="38914"/>
                  </a:lnTo>
                  <a:lnTo>
                    <a:pt x="10078" y="39525"/>
                  </a:lnTo>
                  <a:lnTo>
                    <a:pt x="9876" y="37509"/>
                  </a:lnTo>
                  <a:lnTo>
                    <a:pt x="9135" y="36125"/>
                  </a:lnTo>
                  <a:lnTo>
                    <a:pt x="6580" y="37078"/>
                  </a:lnTo>
                  <a:lnTo>
                    <a:pt x="6646" y="35252"/>
                  </a:lnTo>
                  <a:lnTo>
                    <a:pt x="7382" y="33975"/>
                  </a:lnTo>
                  <a:lnTo>
                    <a:pt x="8718" y="33420"/>
                  </a:lnTo>
                  <a:lnTo>
                    <a:pt x="10045" y="33661"/>
                  </a:lnTo>
                  <a:lnTo>
                    <a:pt x="12508" y="33637"/>
                  </a:lnTo>
                  <a:lnTo>
                    <a:pt x="14883" y="32677"/>
                  </a:lnTo>
                  <a:lnTo>
                    <a:pt x="18307" y="32430"/>
                  </a:lnTo>
                  <a:lnTo>
                    <a:pt x="23764" y="32732"/>
                  </a:lnTo>
                  <a:lnTo>
                    <a:pt x="27515" y="35441"/>
                  </a:lnTo>
                  <a:lnTo>
                    <a:pt x="28483" y="34957"/>
                  </a:lnTo>
                  <a:lnTo>
                    <a:pt x="29983" y="33245"/>
                  </a:lnTo>
                  <a:lnTo>
                    <a:pt x="30687" y="33056"/>
                  </a:lnTo>
                  <a:lnTo>
                    <a:pt x="36340" y="33802"/>
                  </a:lnTo>
                  <a:lnTo>
                    <a:pt x="39851" y="34787"/>
                  </a:lnTo>
                  <a:lnTo>
                    <a:pt x="40790" y="34480"/>
                  </a:lnTo>
                  <a:lnTo>
                    <a:pt x="40283" y="32580"/>
                  </a:lnTo>
                  <a:lnTo>
                    <a:pt x="39074" y="31262"/>
                  </a:lnTo>
                  <a:lnTo>
                    <a:pt x="40593" y="29534"/>
                  </a:lnTo>
                  <a:lnTo>
                    <a:pt x="42438" y="28363"/>
                  </a:lnTo>
                  <a:lnTo>
                    <a:pt x="43671" y="27779"/>
                  </a:lnTo>
                  <a:lnTo>
                    <a:pt x="46518" y="27053"/>
                  </a:lnTo>
                  <a:lnTo>
                    <a:pt x="47759" y="26369"/>
                  </a:lnTo>
                  <a:lnTo>
                    <a:pt x="48586" y="24143"/>
                  </a:lnTo>
                  <a:lnTo>
                    <a:pt x="49902" y="22287"/>
                  </a:lnTo>
                  <a:lnTo>
                    <a:pt x="42758" y="23252"/>
                  </a:lnTo>
                  <a:lnTo>
                    <a:pt x="35961" y="21052"/>
                  </a:lnTo>
                  <a:lnTo>
                    <a:pt x="37039" y="19495"/>
                  </a:lnTo>
                  <a:lnTo>
                    <a:pt x="38474" y="18612"/>
                  </a:lnTo>
                  <a:lnTo>
                    <a:pt x="40950" y="17935"/>
                  </a:lnTo>
                  <a:lnTo>
                    <a:pt x="41185" y="17122"/>
                  </a:lnTo>
                  <a:lnTo>
                    <a:pt x="42438" y="16446"/>
                  </a:lnTo>
                  <a:lnTo>
                    <a:pt x="44510" y="14669"/>
                  </a:lnTo>
                  <a:lnTo>
                    <a:pt x="43749" y="12346"/>
                  </a:lnTo>
                  <a:lnTo>
                    <a:pt x="44157" y="10646"/>
                  </a:lnTo>
                  <a:lnTo>
                    <a:pt x="45649" y="9537"/>
                  </a:lnTo>
                  <a:lnTo>
                    <a:pt x="46116" y="7945"/>
                  </a:lnTo>
                  <a:lnTo>
                    <a:pt x="46781" y="6772"/>
                  </a:lnTo>
                  <a:lnTo>
                    <a:pt x="49808" y="6352"/>
                  </a:lnTo>
                  <a:lnTo>
                    <a:pt x="52718" y="5261"/>
                  </a:lnTo>
                  <a:lnTo>
                    <a:pt x="53769" y="5367"/>
                  </a:lnTo>
                  <a:lnTo>
                    <a:pt x="57205" y="5115"/>
                  </a:lnTo>
                  <a:lnTo>
                    <a:pt x="58369" y="5555"/>
                  </a:lnTo>
                  <a:lnTo>
                    <a:pt x="58104" y="3626"/>
                  </a:lnTo>
                  <a:lnTo>
                    <a:pt x="60214" y="3375"/>
                  </a:lnTo>
                  <a:lnTo>
                    <a:pt x="61039" y="3760"/>
                  </a:lnTo>
                  <a:lnTo>
                    <a:pt x="61402" y="5127"/>
                  </a:lnTo>
                  <a:lnTo>
                    <a:pt x="62361" y="5999"/>
                  </a:lnTo>
                  <a:lnTo>
                    <a:pt x="62657" y="7513"/>
                  </a:lnTo>
                  <a:lnTo>
                    <a:pt x="62014" y="8682"/>
                  </a:lnTo>
                  <a:lnTo>
                    <a:pt x="60940" y="9582"/>
                  </a:lnTo>
                  <a:lnTo>
                    <a:pt x="61922" y="10503"/>
                  </a:lnTo>
                  <a:lnTo>
                    <a:pt x="60399" y="12166"/>
                  </a:lnTo>
                  <a:lnTo>
                    <a:pt x="62043" y="11458"/>
                  </a:lnTo>
                  <a:lnTo>
                    <a:pt x="64386" y="9829"/>
                  </a:lnTo>
                  <a:lnTo>
                    <a:pt x="64265" y="8496"/>
                  </a:lnTo>
                  <a:lnTo>
                    <a:pt x="63866" y="6820"/>
                  </a:lnTo>
                  <a:lnTo>
                    <a:pt x="63214" y="5307"/>
                  </a:lnTo>
                  <a:lnTo>
                    <a:pt x="63514" y="3639"/>
                  </a:lnTo>
                  <a:lnTo>
                    <a:pt x="64831" y="2595"/>
                  </a:lnTo>
                  <a:lnTo>
                    <a:pt x="68293" y="2070"/>
                  </a:lnTo>
                  <a:lnTo>
                    <a:pt x="66873" y="174"/>
                  </a:lnTo>
                  <a:close/>
                </a:path>
              </a:pathLst>
            </a:custGeom>
            <a:solidFill>
              <a:srgbClr val="C7CDD0"/>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AT" sz="1600" err="1">
                <a:solidFill>
                  <a:schemeClr val="tx1"/>
                </a:solidFill>
                <a:latin typeface="Calibri" panose="020F0502020204030204" pitchFamily="34" charset="0"/>
                <a:cs typeface="Calibri" panose="020F0502020204030204" pitchFamily="34" charset="0"/>
              </a:endParaRPr>
            </a:p>
          </p:txBody>
        </p:sp>
        <p:sp>
          <p:nvSpPr>
            <p:cNvPr id="86" name="ee4p_IT_1_86241">
              <a:extLst>
                <a:ext uri="{FF2B5EF4-FFF2-40B4-BE49-F238E27FC236}">
                  <a16:creationId xmlns:a16="http://schemas.microsoft.com/office/drawing/2014/main" id="{BFBB9AA7-03B1-47A6-B495-097CC38BAC01}"/>
                </a:ext>
              </a:extLst>
            </p:cNvPr>
            <p:cNvSpPr>
              <a:spLocks noChangeAspect="1"/>
            </p:cNvSpPr>
            <p:nvPr>
              <p:custDataLst>
                <p:tags r:id="rId24"/>
              </p:custDataLst>
            </p:nvPr>
          </p:nvSpPr>
          <p:spPr>
            <a:xfrm>
              <a:off x="6660195" y="3657311"/>
              <a:ext cx="499506" cy="499735"/>
            </a:xfrm>
            <a:custGeom>
              <a:avLst/>
              <a:gdLst>
                <a:gd name="connsiteX0" fmla="*/ 83300 w 164820"/>
                <a:gd name="connsiteY0" fmla="*/ 156716 h 160656"/>
                <a:gd name="connsiteX1" fmla="*/ 84985 w 164820"/>
                <a:gd name="connsiteY1" fmla="*/ 157277 h 160656"/>
                <a:gd name="connsiteX2" fmla="*/ 85512 w 164820"/>
                <a:gd name="connsiteY2" fmla="*/ 158410 h 160656"/>
                <a:gd name="connsiteX3" fmla="*/ 85583 w 164820"/>
                <a:gd name="connsiteY3" fmla="*/ 158900 h 160656"/>
                <a:gd name="connsiteX4" fmla="*/ 84523 w 164820"/>
                <a:gd name="connsiteY4" fmla="*/ 159180 h 160656"/>
                <a:gd name="connsiteX5" fmla="*/ 83137 w 164820"/>
                <a:gd name="connsiteY5" fmla="*/ 158308 h 160656"/>
                <a:gd name="connsiteX6" fmla="*/ 83044 w 164820"/>
                <a:gd name="connsiteY6" fmla="*/ 157083 h 160656"/>
                <a:gd name="connsiteX7" fmla="*/ 163353 w 164820"/>
                <a:gd name="connsiteY7" fmla="*/ 119599 h 160656"/>
                <a:gd name="connsiteX8" fmla="*/ 164820 w 164820"/>
                <a:gd name="connsiteY8" fmla="*/ 120327 h 160656"/>
                <a:gd name="connsiteX9" fmla="*/ 163535 w 164820"/>
                <a:gd name="connsiteY9" fmla="*/ 121541 h 160656"/>
                <a:gd name="connsiteX10" fmla="*/ 162038 w 164820"/>
                <a:gd name="connsiteY10" fmla="*/ 124459 h 160656"/>
                <a:gd name="connsiteX11" fmla="*/ 161304 w 164820"/>
                <a:gd name="connsiteY11" fmla="*/ 125580 h 160656"/>
                <a:gd name="connsiteX12" fmla="*/ 155970 w 164820"/>
                <a:gd name="connsiteY12" fmla="*/ 132706 h 160656"/>
                <a:gd name="connsiteX13" fmla="*/ 155359 w 164820"/>
                <a:gd name="connsiteY13" fmla="*/ 134350 h 160656"/>
                <a:gd name="connsiteX14" fmla="*/ 154984 w 164820"/>
                <a:gd name="connsiteY14" fmla="*/ 136135 h 160656"/>
                <a:gd name="connsiteX15" fmla="*/ 154431 w 164820"/>
                <a:gd name="connsiteY15" fmla="*/ 137699 h 160656"/>
                <a:gd name="connsiteX16" fmla="*/ 153683 w 164820"/>
                <a:gd name="connsiteY16" fmla="*/ 139172 h 160656"/>
                <a:gd name="connsiteX17" fmla="*/ 152986 w 164820"/>
                <a:gd name="connsiteY17" fmla="*/ 141044 h 160656"/>
                <a:gd name="connsiteX18" fmla="*/ 153122 w 164820"/>
                <a:gd name="connsiteY18" fmla="*/ 143164 h 160656"/>
                <a:gd name="connsiteX19" fmla="*/ 153373 w 164820"/>
                <a:gd name="connsiteY19" fmla="*/ 144204 h 160656"/>
                <a:gd name="connsiteX20" fmla="*/ 154014 w 164820"/>
                <a:gd name="connsiteY20" fmla="*/ 144885 h 160656"/>
                <a:gd name="connsiteX21" fmla="*/ 155068 w 164820"/>
                <a:gd name="connsiteY21" fmla="*/ 145526 h 160656"/>
                <a:gd name="connsiteX22" fmla="*/ 155877 w 164820"/>
                <a:gd name="connsiteY22" fmla="*/ 146508 h 160656"/>
                <a:gd name="connsiteX23" fmla="*/ 154636 w 164820"/>
                <a:gd name="connsiteY23" fmla="*/ 147403 h 160656"/>
                <a:gd name="connsiteX24" fmla="*/ 156005 w 164820"/>
                <a:gd name="connsiteY24" fmla="*/ 149197 h 160656"/>
                <a:gd name="connsiteX25" fmla="*/ 157169 w 164820"/>
                <a:gd name="connsiteY25" fmla="*/ 150262 h 160656"/>
                <a:gd name="connsiteX26" fmla="*/ 157324 w 164820"/>
                <a:gd name="connsiteY26" fmla="*/ 151324 h 160656"/>
                <a:gd name="connsiteX27" fmla="*/ 157298 w 164820"/>
                <a:gd name="connsiteY27" fmla="*/ 152389 h 160656"/>
                <a:gd name="connsiteX28" fmla="*/ 154880 w 164820"/>
                <a:gd name="connsiteY28" fmla="*/ 154385 h 160656"/>
                <a:gd name="connsiteX29" fmla="*/ 153934 w 164820"/>
                <a:gd name="connsiteY29" fmla="*/ 155483 h 160656"/>
                <a:gd name="connsiteX30" fmla="*/ 153347 w 164820"/>
                <a:gd name="connsiteY30" fmla="*/ 156812 h 160656"/>
                <a:gd name="connsiteX31" fmla="*/ 153092 w 164820"/>
                <a:gd name="connsiteY31" fmla="*/ 158184 h 160656"/>
                <a:gd name="connsiteX32" fmla="*/ 153357 w 164820"/>
                <a:gd name="connsiteY32" fmla="*/ 159422 h 160656"/>
                <a:gd name="connsiteX33" fmla="*/ 153275 w 164820"/>
                <a:gd name="connsiteY33" fmla="*/ 160656 h 160656"/>
                <a:gd name="connsiteX34" fmla="*/ 150840 w 164820"/>
                <a:gd name="connsiteY34" fmla="*/ 160502 h 160656"/>
                <a:gd name="connsiteX35" fmla="*/ 148346 w 164820"/>
                <a:gd name="connsiteY35" fmla="*/ 159750 h 160656"/>
                <a:gd name="connsiteX36" fmla="*/ 145832 w 164820"/>
                <a:gd name="connsiteY36" fmla="*/ 160083 h 160656"/>
                <a:gd name="connsiteX37" fmla="*/ 142258 w 164820"/>
                <a:gd name="connsiteY37" fmla="*/ 158657 h 160656"/>
                <a:gd name="connsiteX38" fmla="*/ 140956 w 164820"/>
                <a:gd name="connsiteY38" fmla="*/ 158399 h 160656"/>
                <a:gd name="connsiteX39" fmla="*/ 139771 w 164820"/>
                <a:gd name="connsiteY39" fmla="*/ 157843 h 160656"/>
                <a:gd name="connsiteX40" fmla="*/ 136795 w 164820"/>
                <a:gd name="connsiteY40" fmla="*/ 153418 h 160656"/>
                <a:gd name="connsiteX41" fmla="*/ 134402 w 164820"/>
                <a:gd name="connsiteY41" fmla="*/ 151546 h 160656"/>
                <a:gd name="connsiteX42" fmla="*/ 131835 w 164820"/>
                <a:gd name="connsiteY42" fmla="*/ 150090 h 160656"/>
                <a:gd name="connsiteX43" fmla="*/ 129211 w 164820"/>
                <a:gd name="connsiteY43" fmla="*/ 150001 h 160656"/>
                <a:gd name="connsiteX44" fmla="*/ 126583 w 164820"/>
                <a:gd name="connsiteY44" fmla="*/ 150167 h 160656"/>
                <a:gd name="connsiteX45" fmla="*/ 124264 w 164820"/>
                <a:gd name="connsiteY45" fmla="*/ 149269 h 160656"/>
                <a:gd name="connsiteX46" fmla="*/ 119544 w 164820"/>
                <a:gd name="connsiteY46" fmla="*/ 146257 h 160656"/>
                <a:gd name="connsiteX47" fmla="*/ 114542 w 164820"/>
                <a:gd name="connsiteY47" fmla="*/ 143846 h 160656"/>
                <a:gd name="connsiteX48" fmla="*/ 112420 w 164820"/>
                <a:gd name="connsiteY48" fmla="*/ 142274 h 160656"/>
                <a:gd name="connsiteX49" fmla="*/ 111450 w 164820"/>
                <a:gd name="connsiteY49" fmla="*/ 141217 h 160656"/>
                <a:gd name="connsiteX50" fmla="*/ 110319 w 164820"/>
                <a:gd name="connsiteY50" fmla="*/ 140515 h 160656"/>
                <a:gd name="connsiteX51" fmla="*/ 107453 w 164820"/>
                <a:gd name="connsiteY51" fmla="*/ 139819 h 160656"/>
                <a:gd name="connsiteX52" fmla="*/ 104884 w 164820"/>
                <a:gd name="connsiteY52" fmla="*/ 138186 h 160656"/>
                <a:gd name="connsiteX53" fmla="*/ 103713 w 164820"/>
                <a:gd name="connsiteY53" fmla="*/ 138066 h 160656"/>
                <a:gd name="connsiteX54" fmla="*/ 101195 w 164820"/>
                <a:gd name="connsiteY54" fmla="*/ 138265 h 160656"/>
                <a:gd name="connsiteX55" fmla="*/ 99906 w 164820"/>
                <a:gd name="connsiteY55" fmla="*/ 138152 h 160656"/>
                <a:gd name="connsiteX56" fmla="*/ 98606 w 164820"/>
                <a:gd name="connsiteY56" fmla="*/ 137577 h 160656"/>
                <a:gd name="connsiteX57" fmla="*/ 96097 w 164820"/>
                <a:gd name="connsiteY57" fmla="*/ 135655 h 160656"/>
                <a:gd name="connsiteX58" fmla="*/ 94497 w 164820"/>
                <a:gd name="connsiteY58" fmla="*/ 132988 h 160656"/>
                <a:gd name="connsiteX59" fmla="*/ 94080 w 164820"/>
                <a:gd name="connsiteY59" fmla="*/ 131811 h 160656"/>
                <a:gd name="connsiteX60" fmla="*/ 95214 w 164820"/>
                <a:gd name="connsiteY60" fmla="*/ 128764 h 160656"/>
                <a:gd name="connsiteX61" fmla="*/ 96559 w 164820"/>
                <a:gd name="connsiteY61" fmla="*/ 125837 h 160656"/>
                <a:gd name="connsiteX62" fmla="*/ 97753 w 164820"/>
                <a:gd name="connsiteY62" fmla="*/ 125015 h 160656"/>
                <a:gd name="connsiteX63" fmla="*/ 99140 w 164820"/>
                <a:gd name="connsiteY63" fmla="*/ 124426 h 160656"/>
                <a:gd name="connsiteX64" fmla="*/ 99980 w 164820"/>
                <a:gd name="connsiteY64" fmla="*/ 123559 h 160656"/>
                <a:gd name="connsiteX65" fmla="*/ 100688 w 164820"/>
                <a:gd name="connsiteY65" fmla="*/ 122497 h 160656"/>
                <a:gd name="connsiteX66" fmla="*/ 103260 w 164820"/>
                <a:gd name="connsiteY66" fmla="*/ 125560 h 160656"/>
                <a:gd name="connsiteX67" fmla="*/ 104411 w 164820"/>
                <a:gd name="connsiteY67" fmla="*/ 126300 h 160656"/>
                <a:gd name="connsiteX68" fmla="*/ 105577 w 164820"/>
                <a:gd name="connsiteY68" fmla="*/ 126135 h 160656"/>
                <a:gd name="connsiteX69" fmla="*/ 107645 w 164820"/>
                <a:gd name="connsiteY69" fmla="*/ 125038 h 160656"/>
                <a:gd name="connsiteX70" fmla="*/ 107818 w 164820"/>
                <a:gd name="connsiteY70" fmla="*/ 123836 h 160656"/>
                <a:gd name="connsiteX71" fmla="*/ 110098 w 164820"/>
                <a:gd name="connsiteY71" fmla="*/ 122311 h 160656"/>
                <a:gd name="connsiteX72" fmla="*/ 112999 w 164820"/>
                <a:gd name="connsiteY72" fmla="*/ 122282 h 160656"/>
                <a:gd name="connsiteX73" fmla="*/ 114337 w 164820"/>
                <a:gd name="connsiteY73" fmla="*/ 122562 h 160656"/>
                <a:gd name="connsiteX74" fmla="*/ 115041 w 164820"/>
                <a:gd name="connsiteY74" fmla="*/ 123941 h 160656"/>
                <a:gd name="connsiteX75" fmla="*/ 116147 w 164820"/>
                <a:gd name="connsiteY75" fmla="*/ 124366 h 160656"/>
                <a:gd name="connsiteX76" fmla="*/ 117425 w 164820"/>
                <a:gd name="connsiteY76" fmla="*/ 124549 h 160656"/>
                <a:gd name="connsiteX77" fmla="*/ 121632 w 164820"/>
                <a:gd name="connsiteY77" fmla="*/ 127175 h 160656"/>
                <a:gd name="connsiteX78" fmla="*/ 122811 w 164820"/>
                <a:gd name="connsiteY78" fmla="*/ 127603 h 160656"/>
                <a:gd name="connsiteX79" fmla="*/ 124005 w 164820"/>
                <a:gd name="connsiteY79" fmla="*/ 127676 h 160656"/>
                <a:gd name="connsiteX80" fmla="*/ 127272 w 164820"/>
                <a:gd name="connsiteY80" fmla="*/ 126574 h 160656"/>
                <a:gd name="connsiteX81" fmla="*/ 129779 w 164820"/>
                <a:gd name="connsiteY81" fmla="*/ 126155 h 160656"/>
                <a:gd name="connsiteX82" fmla="*/ 135035 w 164820"/>
                <a:gd name="connsiteY82" fmla="*/ 126762 h 160656"/>
                <a:gd name="connsiteX83" fmla="*/ 137877 w 164820"/>
                <a:gd name="connsiteY83" fmla="*/ 126102 h 160656"/>
                <a:gd name="connsiteX84" fmla="*/ 139861 w 164820"/>
                <a:gd name="connsiteY84" fmla="*/ 126027 h 160656"/>
                <a:gd name="connsiteX85" fmla="*/ 142753 w 164820"/>
                <a:gd name="connsiteY85" fmla="*/ 125012 h 160656"/>
                <a:gd name="connsiteX86" fmla="*/ 144975 w 164820"/>
                <a:gd name="connsiteY86" fmla="*/ 123326 h 160656"/>
                <a:gd name="connsiteX87" fmla="*/ 146134 w 164820"/>
                <a:gd name="connsiteY87" fmla="*/ 122910 h 160656"/>
                <a:gd name="connsiteX88" fmla="*/ 147378 w 164820"/>
                <a:gd name="connsiteY88" fmla="*/ 122790 h 160656"/>
                <a:gd name="connsiteX89" fmla="*/ 150386 w 164820"/>
                <a:gd name="connsiteY89" fmla="*/ 122895 h 160656"/>
                <a:gd name="connsiteX90" fmla="*/ 153411 w 164820"/>
                <a:gd name="connsiteY90" fmla="*/ 123276 h 160656"/>
                <a:gd name="connsiteX91" fmla="*/ 154679 w 164820"/>
                <a:gd name="connsiteY91" fmla="*/ 122882 h 160656"/>
                <a:gd name="connsiteX92" fmla="*/ 155739 w 164820"/>
                <a:gd name="connsiteY92" fmla="*/ 121779 h 160656"/>
                <a:gd name="connsiteX93" fmla="*/ 156968 w 164820"/>
                <a:gd name="connsiteY93" fmla="*/ 121282 h 160656"/>
                <a:gd name="connsiteX94" fmla="*/ 158320 w 164820"/>
                <a:gd name="connsiteY94" fmla="*/ 121617 h 160656"/>
                <a:gd name="connsiteX95" fmla="*/ 161813 w 164820"/>
                <a:gd name="connsiteY95" fmla="*/ 119728 h 160656"/>
                <a:gd name="connsiteX96" fmla="*/ 4111 w 164820"/>
                <a:gd name="connsiteY96" fmla="*/ 98453 h 160656"/>
                <a:gd name="connsiteX97" fmla="*/ 5744 w 164820"/>
                <a:gd name="connsiteY97" fmla="*/ 99107 h 160656"/>
                <a:gd name="connsiteX98" fmla="*/ 6590 w 164820"/>
                <a:gd name="connsiteY98" fmla="*/ 99705 h 160656"/>
                <a:gd name="connsiteX99" fmla="*/ 5321 w 164820"/>
                <a:gd name="connsiteY99" fmla="*/ 102261 h 160656"/>
                <a:gd name="connsiteX100" fmla="*/ 3982 w 164820"/>
                <a:gd name="connsiteY100" fmla="*/ 100451 h 160656"/>
                <a:gd name="connsiteX101" fmla="*/ 3930 w 164820"/>
                <a:gd name="connsiteY101" fmla="*/ 98896 h 160656"/>
                <a:gd name="connsiteX102" fmla="*/ 125825 w 164820"/>
                <a:gd name="connsiteY102" fmla="*/ 55558 h 160656"/>
                <a:gd name="connsiteX103" fmla="*/ 127836 w 164820"/>
                <a:gd name="connsiteY103" fmla="*/ 56147 h 160656"/>
                <a:gd name="connsiteX104" fmla="*/ 127808 w 164820"/>
                <a:gd name="connsiteY104" fmla="*/ 56704 h 160656"/>
                <a:gd name="connsiteX105" fmla="*/ 127309 w 164820"/>
                <a:gd name="connsiteY105" fmla="*/ 57033 h 160656"/>
                <a:gd name="connsiteX106" fmla="*/ 126322 w 164820"/>
                <a:gd name="connsiteY106" fmla="*/ 57260 h 160656"/>
                <a:gd name="connsiteX107" fmla="*/ 125747 w 164820"/>
                <a:gd name="connsiteY107" fmla="*/ 56951 h 160656"/>
                <a:gd name="connsiteX108" fmla="*/ 125434 w 164820"/>
                <a:gd name="connsiteY108" fmla="*/ 56549 h 160656"/>
                <a:gd name="connsiteX109" fmla="*/ 3081 w 164820"/>
                <a:gd name="connsiteY109" fmla="*/ 46092 h 160656"/>
                <a:gd name="connsiteX110" fmla="*/ 3602 w 164820"/>
                <a:gd name="connsiteY110" fmla="*/ 46625 h 160656"/>
                <a:gd name="connsiteX111" fmla="*/ 3053 w 164820"/>
                <a:gd name="connsiteY111" fmla="*/ 47648 h 160656"/>
                <a:gd name="connsiteX112" fmla="*/ 2326 w 164820"/>
                <a:gd name="connsiteY112" fmla="*/ 48251 h 160656"/>
                <a:gd name="connsiteX113" fmla="*/ 1589 w 164820"/>
                <a:gd name="connsiteY113" fmla="*/ 49454 h 160656"/>
                <a:gd name="connsiteX114" fmla="*/ 549 w 164820"/>
                <a:gd name="connsiteY114" fmla="*/ 49366 h 160656"/>
                <a:gd name="connsiteX115" fmla="*/ 955 w 164820"/>
                <a:gd name="connsiteY115" fmla="*/ 48476 h 160656"/>
                <a:gd name="connsiteX116" fmla="*/ 1913 w 164820"/>
                <a:gd name="connsiteY116" fmla="*/ 46691 h 160656"/>
                <a:gd name="connsiteX117" fmla="*/ 23164 w 164820"/>
                <a:gd name="connsiteY117" fmla="*/ 42529 h 160656"/>
                <a:gd name="connsiteX118" fmla="*/ 24371 w 164820"/>
                <a:gd name="connsiteY118" fmla="*/ 43990 h 160656"/>
                <a:gd name="connsiteX119" fmla="*/ 25869 w 164820"/>
                <a:gd name="connsiteY119" fmla="*/ 44142 h 160656"/>
                <a:gd name="connsiteX120" fmla="*/ 28178 w 164820"/>
                <a:gd name="connsiteY120" fmla="*/ 45347 h 160656"/>
                <a:gd name="connsiteX121" fmla="*/ 29174 w 164820"/>
                <a:gd name="connsiteY121" fmla="*/ 46500 h 160656"/>
                <a:gd name="connsiteX122" fmla="*/ 30026 w 164820"/>
                <a:gd name="connsiteY122" fmla="*/ 47888 h 160656"/>
                <a:gd name="connsiteX123" fmla="*/ 30842 w 164820"/>
                <a:gd name="connsiteY123" fmla="*/ 48496 h 160656"/>
                <a:gd name="connsiteX124" fmla="*/ 31719 w 164820"/>
                <a:gd name="connsiteY124" fmla="*/ 48845 h 160656"/>
                <a:gd name="connsiteX125" fmla="*/ 31849 w 164820"/>
                <a:gd name="connsiteY125" fmla="*/ 49171 h 160656"/>
                <a:gd name="connsiteX126" fmla="*/ 31154 w 164820"/>
                <a:gd name="connsiteY126" fmla="*/ 49497 h 160656"/>
                <a:gd name="connsiteX127" fmla="*/ 30357 w 164820"/>
                <a:gd name="connsiteY127" fmla="*/ 51084 h 160656"/>
                <a:gd name="connsiteX128" fmla="*/ 30806 w 164820"/>
                <a:gd name="connsiteY128" fmla="*/ 51541 h 160656"/>
                <a:gd name="connsiteX129" fmla="*/ 32088 w 164820"/>
                <a:gd name="connsiteY129" fmla="*/ 52401 h 160656"/>
                <a:gd name="connsiteX130" fmla="*/ 33194 w 164820"/>
                <a:gd name="connsiteY130" fmla="*/ 54080 h 160656"/>
                <a:gd name="connsiteX131" fmla="*/ 35677 w 164820"/>
                <a:gd name="connsiteY131" fmla="*/ 60951 h 160656"/>
                <a:gd name="connsiteX132" fmla="*/ 35919 w 164820"/>
                <a:gd name="connsiteY132" fmla="*/ 62435 h 160656"/>
                <a:gd name="connsiteX133" fmla="*/ 35423 w 164820"/>
                <a:gd name="connsiteY133" fmla="*/ 63955 h 160656"/>
                <a:gd name="connsiteX134" fmla="*/ 34790 w 164820"/>
                <a:gd name="connsiteY134" fmla="*/ 65033 h 160656"/>
                <a:gd name="connsiteX135" fmla="*/ 32330 w 164820"/>
                <a:gd name="connsiteY135" fmla="*/ 68482 h 160656"/>
                <a:gd name="connsiteX136" fmla="*/ 32695 w 164820"/>
                <a:gd name="connsiteY136" fmla="*/ 71334 h 160656"/>
                <a:gd name="connsiteX137" fmla="*/ 33609 w 164820"/>
                <a:gd name="connsiteY137" fmla="*/ 73095 h 160656"/>
                <a:gd name="connsiteX138" fmla="*/ 33740 w 164820"/>
                <a:gd name="connsiteY138" fmla="*/ 75044 h 160656"/>
                <a:gd name="connsiteX139" fmla="*/ 33283 w 164820"/>
                <a:gd name="connsiteY139" fmla="*/ 77460 h 160656"/>
                <a:gd name="connsiteX140" fmla="*/ 31756 w 164820"/>
                <a:gd name="connsiteY140" fmla="*/ 92276 h 160656"/>
                <a:gd name="connsiteX141" fmla="*/ 31018 w 164820"/>
                <a:gd name="connsiteY141" fmla="*/ 94889 h 160656"/>
                <a:gd name="connsiteX142" fmla="*/ 30551 w 164820"/>
                <a:gd name="connsiteY142" fmla="*/ 97156 h 160656"/>
                <a:gd name="connsiteX143" fmla="*/ 28867 w 164820"/>
                <a:gd name="connsiteY143" fmla="*/ 97841 h 160656"/>
                <a:gd name="connsiteX144" fmla="*/ 26694 w 164820"/>
                <a:gd name="connsiteY144" fmla="*/ 97117 h 160656"/>
                <a:gd name="connsiteX145" fmla="*/ 23954 w 164820"/>
                <a:gd name="connsiteY145" fmla="*/ 95841 h 160656"/>
                <a:gd name="connsiteX146" fmla="*/ 22689 w 164820"/>
                <a:gd name="connsiteY146" fmla="*/ 95918 h 160656"/>
                <a:gd name="connsiteX147" fmla="*/ 21415 w 164820"/>
                <a:gd name="connsiteY147" fmla="*/ 96354 h 160656"/>
                <a:gd name="connsiteX148" fmla="*/ 20363 w 164820"/>
                <a:gd name="connsiteY148" fmla="*/ 95984 h 160656"/>
                <a:gd name="connsiteX149" fmla="*/ 19359 w 164820"/>
                <a:gd name="connsiteY149" fmla="*/ 95262 h 160656"/>
                <a:gd name="connsiteX150" fmla="*/ 18614 w 164820"/>
                <a:gd name="connsiteY150" fmla="*/ 100332 h 160656"/>
                <a:gd name="connsiteX151" fmla="*/ 17375 w 164820"/>
                <a:gd name="connsiteY151" fmla="*/ 102389 h 160656"/>
                <a:gd name="connsiteX152" fmla="*/ 15489 w 164820"/>
                <a:gd name="connsiteY152" fmla="*/ 103702 h 160656"/>
                <a:gd name="connsiteX153" fmla="*/ 13716 w 164820"/>
                <a:gd name="connsiteY153" fmla="*/ 103785 h 160656"/>
                <a:gd name="connsiteX154" fmla="*/ 11890 w 164820"/>
                <a:gd name="connsiteY154" fmla="*/ 103345 h 160656"/>
                <a:gd name="connsiteX155" fmla="*/ 10341 w 164820"/>
                <a:gd name="connsiteY155" fmla="*/ 103349 h 160656"/>
                <a:gd name="connsiteX156" fmla="*/ 9167 w 164820"/>
                <a:gd name="connsiteY156" fmla="*/ 102373 h 160656"/>
                <a:gd name="connsiteX157" fmla="*/ 8236 w 164820"/>
                <a:gd name="connsiteY157" fmla="*/ 100667 h 160656"/>
                <a:gd name="connsiteX158" fmla="*/ 6752 w 164820"/>
                <a:gd name="connsiteY158" fmla="*/ 98593 h 160656"/>
                <a:gd name="connsiteX159" fmla="*/ 5247 w 164820"/>
                <a:gd name="connsiteY159" fmla="*/ 96128 h 160656"/>
                <a:gd name="connsiteX160" fmla="*/ 5083 w 164820"/>
                <a:gd name="connsiteY160" fmla="*/ 93898 h 160656"/>
                <a:gd name="connsiteX161" fmla="*/ 4826 w 164820"/>
                <a:gd name="connsiteY161" fmla="*/ 88975 h 160656"/>
                <a:gd name="connsiteX162" fmla="*/ 5258 w 164820"/>
                <a:gd name="connsiteY162" fmla="*/ 87899 h 160656"/>
                <a:gd name="connsiteX163" fmla="*/ 5887 w 164820"/>
                <a:gd name="connsiteY163" fmla="*/ 86867 h 160656"/>
                <a:gd name="connsiteX164" fmla="*/ 6195 w 164820"/>
                <a:gd name="connsiteY164" fmla="*/ 84661 h 160656"/>
                <a:gd name="connsiteX165" fmla="*/ 5977 w 164820"/>
                <a:gd name="connsiteY165" fmla="*/ 82737 h 160656"/>
                <a:gd name="connsiteX166" fmla="*/ 6418 w 164820"/>
                <a:gd name="connsiteY166" fmla="*/ 82050 h 160656"/>
                <a:gd name="connsiteX167" fmla="*/ 7295 w 164820"/>
                <a:gd name="connsiteY167" fmla="*/ 82737 h 160656"/>
                <a:gd name="connsiteX168" fmla="*/ 7953 w 164820"/>
                <a:gd name="connsiteY168" fmla="*/ 82479 h 160656"/>
                <a:gd name="connsiteX169" fmla="*/ 7912 w 164820"/>
                <a:gd name="connsiteY169" fmla="*/ 81488 h 160656"/>
                <a:gd name="connsiteX170" fmla="*/ 8113 w 164820"/>
                <a:gd name="connsiteY170" fmla="*/ 79678 h 160656"/>
                <a:gd name="connsiteX171" fmla="*/ 6966 w 164820"/>
                <a:gd name="connsiteY171" fmla="*/ 78161 h 160656"/>
                <a:gd name="connsiteX172" fmla="*/ 5018 w 164820"/>
                <a:gd name="connsiteY172" fmla="*/ 77646 h 160656"/>
                <a:gd name="connsiteX173" fmla="*/ 4830 w 164820"/>
                <a:gd name="connsiteY173" fmla="*/ 76058 h 160656"/>
                <a:gd name="connsiteX174" fmla="*/ 5036 w 164820"/>
                <a:gd name="connsiteY174" fmla="*/ 74507 h 160656"/>
                <a:gd name="connsiteX175" fmla="*/ 6064 w 164820"/>
                <a:gd name="connsiteY175" fmla="*/ 73465 h 160656"/>
                <a:gd name="connsiteX176" fmla="*/ 6411 w 164820"/>
                <a:gd name="connsiteY176" fmla="*/ 72079 h 160656"/>
                <a:gd name="connsiteX177" fmla="*/ 6422 w 164820"/>
                <a:gd name="connsiteY177" fmla="*/ 67848 h 160656"/>
                <a:gd name="connsiteX178" fmla="*/ 5049 w 164820"/>
                <a:gd name="connsiteY178" fmla="*/ 66288 h 160656"/>
                <a:gd name="connsiteX179" fmla="*/ 4522 w 164820"/>
                <a:gd name="connsiteY179" fmla="*/ 63924 h 160656"/>
                <a:gd name="connsiteX180" fmla="*/ 3812 w 164820"/>
                <a:gd name="connsiteY180" fmla="*/ 62409 h 160656"/>
                <a:gd name="connsiteX181" fmla="*/ 2535 w 164820"/>
                <a:gd name="connsiteY181" fmla="*/ 60887 h 160656"/>
                <a:gd name="connsiteX182" fmla="*/ 1093 w 164820"/>
                <a:gd name="connsiteY182" fmla="*/ 59647 h 160656"/>
                <a:gd name="connsiteX183" fmla="*/ 201 w 164820"/>
                <a:gd name="connsiteY183" fmla="*/ 58450 h 160656"/>
                <a:gd name="connsiteX184" fmla="*/ 0 w 164820"/>
                <a:gd name="connsiteY184" fmla="*/ 55316 h 160656"/>
                <a:gd name="connsiteX185" fmla="*/ 507 w 164820"/>
                <a:gd name="connsiteY185" fmla="*/ 52699 h 160656"/>
                <a:gd name="connsiteX186" fmla="*/ 959 w 164820"/>
                <a:gd name="connsiteY186" fmla="*/ 51578 h 160656"/>
                <a:gd name="connsiteX187" fmla="*/ 1423 w 164820"/>
                <a:gd name="connsiteY187" fmla="*/ 51744 h 160656"/>
                <a:gd name="connsiteX188" fmla="*/ 2859 w 164820"/>
                <a:gd name="connsiteY188" fmla="*/ 53045 h 160656"/>
                <a:gd name="connsiteX189" fmla="*/ 4034 w 164820"/>
                <a:gd name="connsiteY189" fmla="*/ 53339 h 160656"/>
                <a:gd name="connsiteX190" fmla="*/ 6359 w 164820"/>
                <a:gd name="connsiteY190" fmla="*/ 53654 h 160656"/>
                <a:gd name="connsiteX191" fmla="*/ 8646 w 164820"/>
                <a:gd name="connsiteY191" fmla="*/ 53238 h 160656"/>
                <a:gd name="connsiteX192" fmla="*/ 11456 w 164820"/>
                <a:gd name="connsiteY192" fmla="*/ 52053 h 160656"/>
                <a:gd name="connsiteX193" fmla="*/ 14159 w 164820"/>
                <a:gd name="connsiteY193" fmla="*/ 50617 h 160656"/>
                <a:gd name="connsiteX194" fmla="*/ 18072 w 164820"/>
                <a:gd name="connsiteY194" fmla="*/ 46395 h 160656"/>
                <a:gd name="connsiteX195" fmla="*/ 20484 w 164820"/>
                <a:gd name="connsiteY195" fmla="*/ 45537 h 160656"/>
                <a:gd name="connsiteX196" fmla="*/ 21719 w 164820"/>
                <a:gd name="connsiteY196" fmla="*/ 44425 h 160656"/>
                <a:gd name="connsiteX197" fmla="*/ 22140 w 164820"/>
                <a:gd name="connsiteY197" fmla="*/ 42922 h 160656"/>
                <a:gd name="connsiteX198" fmla="*/ 48962 w 164820"/>
                <a:gd name="connsiteY198" fmla="*/ 0 h 160656"/>
                <a:gd name="connsiteX199" fmla="*/ 49696 w 164820"/>
                <a:gd name="connsiteY199" fmla="*/ 1042 h 160656"/>
                <a:gd name="connsiteX200" fmla="*/ 49782 w 164820"/>
                <a:gd name="connsiteY200" fmla="*/ 1647 h 160656"/>
                <a:gd name="connsiteX201" fmla="*/ 49290 w 164820"/>
                <a:gd name="connsiteY201" fmla="*/ 2331 h 160656"/>
                <a:gd name="connsiteX202" fmla="*/ 49497 w 164820"/>
                <a:gd name="connsiteY202" fmla="*/ 3877 h 160656"/>
                <a:gd name="connsiteX203" fmla="*/ 47647 w 164820"/>
                <a:gd name="connsiteY203" fmla="*/ 2595 h 160656"/>
                <a:gd name="connsiteX204" fmla="*/ 44846 w 164820"/>
                <a:gd name="connsiteY204" fmla="*/ 3242 h 160656"/>
                <a:gd name="connsiteX205" fmla="*/ 43127 w 164820"/>
                <a:gd name="connsiteY205" fmla="*/ 3105 h 160656"/>
                <a:gd name="connsiteX206" fmla="*/ 42652 w 164820"/>
                <a:gd name="connsiteY206" fmla="*/ 1955 h 160656"/>
                <a:gd name="connsiteX207" fmla="*/ 43045 w 164820"/>
                <a:gd name="connsiteY207" fmla="*/ 1280 h 160656"/>
                <a:gd name="connsiteX208" fmla="*/ 45714 w 164820"/>
                <a:gd name="connsiteY208" fmla="*/ 1133 h 160656"/>
                <a:gd name="connsiteX209" fmla="*/ 46543 w 164820"/>
                <a:gd name="connsiteY209" fmla="*/ 804 h 160656"/>
                <a:gd name="connsiteX210" fmla="*/ 48163 w 164820"/>
                <a:gd name="connsiteY210" fmla="*/ 959 h 160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Lst>
              <a:rect l="l" t="t" r="r" b="b"/>
              <a:pathLst>
                <a:path w="164820" h="160656">
                  <a:moveTo>
                    <a:pt x="83300" y="156716"/>
                  </a:moveTo>
                  <a:lnTo>
                    <a:pt x="84985" y="157277"/>
                  </a:lnTo>
                  <a:lnTo>
                    <a:pt x="85512" y="158410"/>
                  </a:lnTo>
                  <a:lnTo>
                    <a:pt x="85583" y="158900"/>
                  </a:lnTo>
                  <a:lnTo>
                    <a:pt x="84523" y="159180"/>
                  </a:lnTo>
                  <a:lnTo>
                    <a:pt x="83137" y="158308"/>
                  </a:lnTo>
                  <a:lnTo>
                    <a:pt x="83044" y="157083"/>
                  </a:lnTo>
                  <a:close/>
                  <a:moveTo>
                    <a:pt x="163353" y="119599"/>
                  </a:moveTo>
                  <a:lnTo>
                    <a:pt x="164820" y="120327"/>
                  </a:lnTo>
                  <a:lnTo>
                    <a:pt x="163535" y="121541"/>
                  </a:lnTo>
                  <a:lnTo>
                    <a:pt x="162038" y="124459"/>
                  </a:lnTo>
                  <a:lnTo>
                    <a:pt x="161304" y="125580"/>
                  </a:lnTo>
                  <a:lnTo>
                    <a:pt x="155970" y="132706"/>
                  </a:lnTo>
                  <a:lnTo>
                    <a:pt x="155359" y="134350"/>
                  </a:lnTo>
                  <a:lnTo>
                    <a:pt x="154984" y="136135"/>
                  </a:lnTo>
                  <a:lnTo>
                    <a:pt x="154431" y="137699"/>
                  </a:lnTo>
                  <a:lnTo>
                    <a:pt x="153683" y="139172"/>
                  </a:lnTo>
                  <a:lnTo>
                    <a:pt x="152986" y="141044"/>
                  </a:lnTo>
                  <a:lnTo>
                    <a:pt x="153122" y="143164"/>
                  </a:lnTo>
                  <a:lnTo>
                    <a:pt x="153373" y="144204"/>
                  </a:lnTo>
                  <a:lnTo>
                    <a:pt x="154014" y="144885"/>
                  </a:lnTo>
                  <a:lnTo>
                    <a:pt x="155068" y="145526"/>
                  </a:lnTo>
                  <a:lnTo>
                    <a:pt x="155877" y="146508"/>
                  </a:lnTo>
                  <a:lnTo>
                    <a:pt x="154636" y="147403"/>
                  </a:lnTo>
                  <a:lnTo>
                    <a:pt x="156005" y="149197"/>
                  </a:lnTo>
                  <a:lnTo>
                    <a:pt x="157169" y="150262"/>
                  </a:lnTo>
                  <a:lnTo>
                    <a:pt x="157324" y="151324"/>
                  </a:lnTo>
                  <a:lnTo>
                    <a:pt x="157298" y="152389"/>
                  </a:lnTo>
                  <a:lnTo>
                    <a:pt x="154880" y="154385"/>
                  </a:lnTo>
                  <a:lnTo>
                    <a:pt x="153934" y="155483"/>
                  </a:lnTo>
                  <a:lnTo>
                    <a:pt x="153347" y="156812"/>
                  </a:lnTo>
                  <a:lnTo>
                    <a:pt x="153092" y="158184"/>
                  </a:lnTo>
                  <a:lnTo>
                    <a:pt x="153357" y="159422"/>
                  </a:lnTo>
                  <a:lnTo>
                    <a:pt x="153275" y="160656"/>
                  </a:lnTo>
                  <a:lnTo>
                    <a:pt x="150840" y="160502"/>
                  </a:lnTo>
                  <a:lnTo>
                    <a:pt x="148346" y="159750"/>
                  </a:lnTo>
                  <a:lnTo>
                    <a:pt x="145832" y="160083"/>
                  </a:lnTo>
                  <a:lnTo>
                    <a:pt x="142258" y="158657"/>
                  </a:lnTo>
                  <a:lnTo>
                    <a:pt x="140956" y="158399"/>
                  </a:lnTo>
                  <a:lnTo>
                    <a:pt x="139771" y="157843"/>
                  </a:lnTo>
                  <a:lnTo>
                    <a:pt x="136795" y="153418"/>
                  </a:lnTo>
                  <a:lnTo>
                    <a:pt x="134402" y="151546"/>
                  </a:lnTo>
                  <a:lnTo>
                    <a:pt x="131835" y="150090"/>
                  </a:lnTo>
                  <a:lnTo>
                    <a:pt x="129211" y="150001"/>
                  </a:lnTo>
                  <a:lnTo>
                    <a:pt x="126583" y="150167"/>
                  </a:lnTo>
                  <a:lnTo>
                    <a:pt x="124264" y="149269"/>
                  </a:lnTo>
                  <a:lnTo>
                    <a:pt x="119544" y="146257"/>
                  </a:lnTo>
                  <a:lnTo>
                    <a:pt x="114542" y="143846"/>
                  </a:lnTo>
                  <a:lnTo>
                    <a:pt x="112420" y="142274"/>
                  </a:lnTo>
                  <a:lnTo>
                    <a:pt x="111450" y="141217"/>
                  </a:lnTo>
                  <a:lnTo>
                    <a:pt x="110319" y="140515"/>
                  </a:lnTo>
                  <a:lnTo>
                    <a:pt x="107453" y="139819"/>
                  </a:lnTo>
                  <a:lnTo>
                    <a:pt x="104884" y="138186"/>
                  </a:lnTo>
                  <a:lnTo>
                    <a:pt x="103713" y="138066"/>
                  </a:lnTo>
                  <a:lnTo>
                    <a:pt x="101195" y="138265"/>
                  </a:lnTo>
                  <a:lnTo>
                    <a:pt x="99906" y="138152"/>
                  </a:lnTo>
                  <a:lnTo>
                    <a:pt x="98606" y="137577"/>
                  </a:lnTo>
                  <a:lnTo>
                    <a:pt x="96097" y="135655"/>
                  </a:lnTo>
                  <a:lnTo>
                    <a:pt x="94497" y="132988"/>
                  </a:lnTo>
                  <a:lnTo>
                    <a:pt x="94080" y="131811"/>
                  </a:lnTo>
                  <a:lnTo>
                    <a:pt x="95214" y="128764"/>
                  </a:lnTo>
                  <a:lnTo>
                    <a:pt x="96559" y="125837"/>
                  </a:lnTo>
                  <a:lnTo>
                    <a:pt x="97753" y="125015"/>
                  </a:lnTo>
                  <a:lnTo>
                    <a:pt x="99140" y="124426"/>
                  </a:lnTo>
                  <a:lnTo>
                    <a:pt x="99980" y="123559"/>
                  </a:lnTo>
                  <a:lnTo>
                    <a:pt x="100688" y="122497"/>
                  </a:lnTo>
                  <a:lnTo>
                    <a:pt x="103260" y="125560"/>
                  </a:lnTo>
                  <a:lnTo>
                    <a:pt x="104411" y="126300"/>
                  </a:lnTo>
                  <a:lnTo>
                    <a:pt x="105577" y="126135"/>
                  </a:lnTo>
                  <a:lnTo>
                    <a:pt x="107645" y="125038"/>
                  </a:lnTo>
                  <a:lnTo>
                    <a:pt x="107818" y="123836"/>
                  </a:lnTo>
                  <a:lnTo>
                    <a:pt x="110098" y="122311"/>
                  </a:lnTo>
                  <a:lnTo>
                    <a:pt x="112999" y="122282"/>
                  </a:lnTo>
                  <a:lnTo>
                    <a:pt x="114337" y="122562"/>
                  </a:lnTo>
                  <a:lnTo>
                    <a:pt x="115041" y="123941"/>
                  </a:lnTo>
                  <a:lnTo>
                    <a:pt x="116147" y="124366"/>
                  </a:lnTo>
                  <a:lnTo>
                    <a:pt x="117425" y="124549"/>
                  </a:lnTo>
                  <a:lnTo>
                    <a:pt x="121632" y="127175"/>
                  </a:lnTo>
                  <a:lnTo>
                    <a:pt x="122811" y="127603"/>
                  </a:lnTo>
                  <a:lnTo>
                    <a:pt x="124005" y="127676"/>
                  </a:lnTo>
                  <a:lnTo>
                    <a:pt x="127272" y="126574"/>
                  </a:lnTo>
                  <a:lnTo>
                    <a:pt x="129779" y="126155"/>
                  </a:lnTo>
                  <a:lnTo>
                    <a:pt x="135035" y="126762"/>
                  </a:lnTo>
                  <a:lnTo>
                    <a:pt x="137877" y="126102"/>
                  </a:lnTo>
                  <a:lnTo>
                    <a:pt x="139861" y="126027"/>
                  </a:lnTo>
                  <a:lnTo>
                    <a:pt x="142753" y="125012"/>
                  </a:lnTo>
                  <a:lnTo>
                    <a:pt x="144975" y="123326"/>
                  </a:lnTo>
                  <a:lnTo>
                    <a:pt x="146134" y="122910"/>
                  </a:lnTo>
                  <a:lnTo>
                    <a:pt x="147378" y="122790"/>
                  </a:lnTo>
                  <a:lnTo>
                    <a:pt x="150386" y="122895"/>
                  </a:lnTo>
                  <a:lnTo>
                    <a:pt x="153411" y="123276"/>
                  </a:lnTo>
                  <a:lnTo>
                    <a:pt x="154679" y="122882"/>
                  </a:lnTo>
                  <a:lnTo>
                    <a:pt x="155739" y="121779"/>
                  </a:lnTo>
                  <a:lnTo>
                    <a:pt x="156968" y="121282"/>
                  </a:lnTo>
                  <a:lnTo>
                    <a:pt x="158320" y="121617"/>
                  </a:lnTo>
                  <a:lnTo>
                    <a:pt x="161813" y="119728"/>
                  </a:lnTo>
                  <a:close/>
                  <a:moveTo>
                    <a:pt x="4111" y="98453"/>
                  </a:moveTo>
                  <a:lnTo>
                    <a:pt x="5744" y="99107"/>
                  </a:lnTo>
                  <a:lnTo>
                    <a:pt x="6590" y="99705"/>
                  </a:lnTo>
                  <a:lnTo>
                    <a:pt x="5321" y="102261"/>
                  </a:lnTo>
                  <a:lnTo>
                    <a:pt x="3982" y="100451"/>
                  </a:lnTo>
                  <a:lnTo>
                    <a:pt x="3930" y="98896"/>
                  </a:lnTo>
                  <a:close/>
                  <a:moveTo>
                    <a:pt x="125825" y="55558"/>
                  </a:moveTo>
                  <a:lnTo>
                    <a:pt x="127836" y="56147"/>
                  </a:lnTo>
                  <a:lnTo>
                    <a:pt x="127808" y="56704"/>
                  </a:lnTo>
                  <a:lnTo>
                    <a:pt x="127309" y="57033"/>
                  </a:lnTo>
                  <a:lnTo>
                    <a:pt x="126322" y="57260"/>
                  </a:lnTo>
                  <a:lnTo>
                    <a:pt x="125747" y="56951"/>
                  </a:lnTo>
                  <a:lnTo>
                    <a:pt x="125434" y="56549"/>
                  </a:lnTo>
                  <a:close/>
                  <a:moveTo>
                    <a:pt x="3081" y="46092"/>
                  </a:moveTo>
                  <a:lnTo>
                    <a:pt x="3602" y="46625"/>
                  </a:lnTo>
                  <a:lnTo>
                    <a:pt x="3053" y="47648"/>
                  </a:lnTo>
                  <a:lnTo>
                    <a:pt x="2326" y="48251"/>
                  </a:lnTo>
                  <a:lnTo>
                    <a:pt x="1589" y="49454"/>
                  </a:lnTo>
                  <a:lnTo>
                    <a:pt x="549" y="49366"/>
                  </a:lnTo>
                  <a:lnTo>
                    <a:pt x="955" y="48476"/>
                  </a:lnTo>
                  <a:lnTo>
                    <a:pt x="1913" y="46691"/>
                  </a:lnTo>
                  <a:close/>
                  <a:moveTo>
                    <a:pt x="23164" y="42529"/>
                  </a:moveTo>
                  <a:lnTo>
                    <a:pt x="24371" y="43990"/>
                  </a:lnTo>
                  <a:lnTo>
                    <a:pt x="25869" y="44142"/>
                  </a:lnTo>
                  <a:lnTo>
                    <a:pt x="28178" y="45347"/>
                  </a:lnTo>
                  <a:lnTo>
                    <a:pt x="29174" y="46500"/>
                  </a:lnTo>
                  <a:lnTo>
                    <a:pt x="30026" y="47888"/>
                  </a:lnTo>
                  <a:lnTo>
                    <a:pt x="30842" y="48496"/>
                  </a:lnTo>
                  <a:lnTo>
                    <a:pt x="31719" y="48845"/>
                  </a:lnTo>
                  <a:lnTo>
                    <a:pt x="31849" y="49171"/>
                  </a:lnTo>
                  <a:lnTo>
                    <a:pt x="31154" y="49497"/>
                  </a:lnTo>
                  <a:lnTo>
                    <a:pt x="30357" y="51084"/>
                  </a:lnTo>
                  <a:lnTo>
                    <a:pt x="30806" y="51541"/>
                  </a:lnTo>
                  <a:lnTo>
                    <a:pt x="32088" y="52401"/>
                  </a:lnTo>
                  <a:lnTo>
                    <a:pt x="33194" y="54080"/>
                  </a:lnTo>
                  <a:lnTo>
                    <a:pt x="35677" y="60951"/>
                  </a:lnTo>
                  <a:lnTo>
                    <a:pt x="35919" y="62435"/>
                  </a:lnTo>
                  <a:lnTo>
                    <a:pt x="35423" y="63955"/>
                  </a:lnTo>
                  <a:lnTo>
                    <a:pt x="34790" y="65033"/>
                  </a:lnTo>
                  <a:lnTo>
                    <a:pt x="32330" y="68482"/>
                  </a:lnTo>
                  <a:lnTo>
                    <a:pt x="32695" y="71334"/>
                  </a:lnTo>
                  <a:lnTo>
                    <a:pt x="33609" y="73095"/>
                  </a:lnTo>
                  <a:lnTo>
                    <a:pt x="33740" y="75044"/>
                  </a:lnTo>
                  <a:lnTo>
                    <a:pt x="33283" y="77460"/>
                  </a:lnTo>
                  <a:lnTo>
                    <a:pt x="31756" y="92276"/>
                  </a:lnTo>
                  <a:lnTo>
                    <a:pt x="31018" y="94889"/>
                  </a:lnTo>
                  <a:lnTo>
                    <a:pt x="30551" y="97156"/>
                  </a:lnTo>
                  <a:lnTo>
                    <a:pt x="28867" y="97841"/>
                  </a:lnTo>
                  <a:lnTo>
                    <a:pt x="26694" y="97117"/>
                  </a:lnTo>
                  <a:lnTo>
                    <a:pt x="23954" y="95841"/>
                  </a:lnTo>
                  <a:lnTo>
                    <a:pt x="22689" y="95918"/>
                  </a:lnTo>
                  <a:lnTo>
                    <a:pt x="21415" y="96354"/>
                  </a:lnTo>
                  <a:lnTo>
                    <a:pt x="20363" y="95984"/>
                  </a:lnTo>
                  <a:lnTo>
                    <a:pt x="19359" y="95262"/>
                  </a:lnTo>
                  <a:lnTo>
                    <a:pt x="18614" y="100332"/>
                  </a:lnTo>
                  <a:lnTo>
                    <a:pt x="17375" y="102389"/>
                  </a:lnTo>
                  <a:lnTo>
                    <a:pt x="15489" y="103702"/>
                  </a:lnTo>
                  <a:lnTo>
                    <a:pt x="13716" y="103785"/>
                  </a:lnTo>
                  <a:lnTo>
                    <a:pt x="11890" y="103345"/>
                  </a:lnTo>
                  <a:lnTo>
                    <a:pt x="10341" y="103349"/>
                  </a:lnTo>
                  <a:lnTo>
                    <a:pt x="9167" y="102373"/>
                  </a:lnTo>
                  <a:lnTo>
                    <a:pt x="8236" y="100667"/>
                  </a:lnTo>
                  <a:lnTo>
                    <a:pt x="6752" y="98593"/>
                  </a:lnTo>
                  <a:lnTo>
                    <a:pt x="5247" y="96128"/>
                  </a:lnTo>
                  <a:lnTo>
                    <a:pt x="5083" y="93898"/>
                  </a:lnTo>
                  <a:lnTo>
                    <a:pt x="4826" y="88975"/>
                  </a:lnTo>
                  <a:lnTo>
                    <a:pt x="5258" y="87899"/>
                  </a:lnTo>
                  <a:lnTo>
                    <a:pt x="5887" y="86867"/>
                  </a:lnTo>
                  <a:lnTo>
                    <a:pt x="6195" y="84661"/>
                  </a:lnTo>
                  <a:lnTo>
                    <a:pt x="5977" y="82737"/>
                  </a:lnTo>
                  <a:lnTo>
                    <a:pt x="6418" y="82050"/>
                  </a:lnTo>
                  <a:lnTo>
                    <a:pt x="7295" y="82737"/>
                  </a:lnTo>
                  <a:lnTo>
                    <a:pt x="7953" y="82479"/>
                  </a:lnTo>
                  <a:lnTo>
                    <a:pt x="7912" y="81488"/>
                  </a:lnTo>
                  <a:lnTo>
                    <a:pt x="8113" y="79678"/>
                  </a:lnTo>
                  <a:lnTo>
                    <a:pt x="6966" y="78161"/>
                  </a:lnTo>
                  <a:lnTo>
                    <a:pt x="5018" y="77646"/>
                  </a:lnTo>
                  <a:lnTo>
                    <a:pt x="4830" y="76058"/>
                  </a:lnTo>
                  <a:lnTo>
                    <a:pt x="5036" y="74507"/>
                  </a:lnTo>
                  <a:lnTo>
                    <a:pt x="6064" y="73465"/>
                  </a:lnTo>
                  <a:lnTo>
                    <a:pt x="6411" y="72079"/>
                  </a:lnTo>
                  <a:lnTo>
                    <a:pt x="6422" y="67848"/>
                  </a:lnTo>
                  <a:lnTo>
                    <a:pt x="5049" y="66288"/>
                  </a:lnTo>
                  <a:lnTo>
                    <a:pt x="4522" y="63924"/>
                  </a:lnTo>
                  <a:lnTo>
                    <a:pt x="3812" y="62409"/>
                  </a:lnTo>
                  <a:lnTo>
                    <a:pt x="2535" y="60887"/>
                  </a:lnTo>
                  <a:lnTo>
                    <a:pt x="1093" y="59647"/>
                  </a:lnTo>
                  <a:lnTo>
                    <a:pt x="201" y="58450"/>
                  </a:lnTo>
                  <a:lnTo>
                    <a:pt x="0" y="55316"/>
                  </a:lnTo>
                  <a:lnTo>
                    <a:pt x="507" y="52699"/>
                  </a:lnTo>
                  <a:lnTo>
                    <a:pt x="959" y="51578"/>
                  </a:lnTo>
                  <a:lnTo>
                    <a:pt x="1423" y="51744"/>
                  </a:lnTo>
                  <a:lnTo>
                    <a:pt x="2859" y="53045"/>
                  </a:lnTo>
                  <a:lnTo>
                    <a:pt x="4034" y="53339"/>
                  </a:lnTo>
                  <a:lnTo>
                    <a:pt x="6359" y="53654"/>
                  </a:lnTo>
                  <a:lnTo>
                    <a:pt x="8646" y="53238"/>
                  </a:lnTo>
                  <a:lnTo>
                    <a:pt x="11456" y="52053"/>
                  </a:lnTo>
                  <a:lnTo>
                    <a:pt x="14159" y="50617"/>
                  </a:lnTo>
                  <a:lnTo>
                    <a:pt x="18072" y="46395"/>
                  </a:lnTo>
                  <a:lnTo>
                    <a:pt x="20484" y="45537"/>
                  </a:lnTo>
                  <a:lnTo>
                    <a:pt x="21719" y="44425"/>
                  </a:lnTo>
                  <a:lnTo>
                    <a:pt x="22140" y="42922"/>
                  </a:lnTo>
                  <a:close/>
                  <a:moveTo>
                    <a:pt x="48962" y="0"/>
                  </a:moveTo>
                  <a:lnTo>
                    <a:pt x="49696" y="1042"/>
                  </a:lnTo>
                  <a:lnTo>
                    <a:pt x="49782" y="1647"/>
                  </a:lnTo>
                  <a:lnTo>
                    <a:pt x="49290" y="2331"/>
                  </a:lnTo>
                  <a:lnTo>
                    <a:pt x="49497" y="3877"/>
                  </a:lnTo>
                  <a:lnTo>
                    <a:pt x="47647" y="2595"/>
                  </a:lnTo>
                  <a:lnTo>
                    <a:pt x="44846" y="3242"/>
                  </a:lnTo>
                  <a:lnTo>
                    <a:pt x="43127" y="3105"/>
                  </a:lnTo>
                  <a:lnTo>
                    <a:pt x="42652" y="1955"/>
                  </a:lnTo>
                  <a:lnTo>
                    <a:pt x="43045" y="1280"/>
                  </a:lnTo>
                  <a:lnTo>
                    <a:pt x="45714" y="1133"/>
                  </a:lnTo>
                  <a:lnTo>
                    <a:pt x="46543" y="804"/>
                  </a:lnTo>
                  <a:lnTo>
                    <a:pt x="48163" y="959"/>
                  </a:lnTo>
                  <a:close/>
                </a:path>
              </a:pathLst>
            </a:custGeom>
            <a:solidFill>
              <a:srgbClr val="C7CDD0"/>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AT" sz="1600" err="1">
                <a:solidFill>
                  <a:schemeClr val="tx1"/>
                </a:solidFill>
                <a:latin typeface="Calibri" panose="020F0502020204030204" pitchFamily="34" charset="0"/>
                <a:cs typeface="Calibri" panose="020F0502020204030204" pitchFamily="34" charset="0"/>
              </a:endParaRPr>
            </a:p>
          </p:txBody>
        </p:sp>
        <p:sp>
          <p:nvSpPr>
            <p:cNvPr id="87" name="ee4p_SM_1_86241">
              <a:extLst>
                <a:ext uri="{FF2B5EF4-FFF2-40B4-BE49-F238E27FC236}">
                  <a16:creationId xmlns:a16="http://schemas.microsoft.com/office/drawing/2014/main" id="{13B52A47-55A1-4301-A366-FD0DC3D0C177}"/>
                </a:ext>
              </a:extLst>
            </p:cNvPr>
            <p:cNvSpPr>
              <a:spLocks noChangeAspect="1"/>
            </p:cNvSpPr>
            <p:nvPr>
              <p:custDataLst>
                <p:tags r:id="rId25"/>
              </p:custDataLst>
            </p:nvPr>
          </p:nvSpPr>
          <p:spPr>
            <a:xfrm>
              <a:off x="6942724" y="3562597"/>
              <a:ext cx="7895" cy="8047"/>
            </a:xfrm>
            <a:custGeom>
              <a:avLst/>
              <a:gdLst/>
              <a:ahLst/>
              <a:cxnLst/>
              <a:rect l="0" t="0" r="0" b="0"/>
              <a:pathLst>
                <a:path w="2605" h="2587">
                  <a:moveTo>
                    <a:pt x="0" y="1492"/>
                  </a:moveTo>
                  <a:lnTo>
                    <a:pt x="652" y="2586"/>
                  </a:lnTo>
                  <a:lnTo>
                    <a:pt x="1954" y="2389"/>
                  </a:lnTo>
                  <a:lnTo>
                    <a:pt x="2604" y="994"/>
                  </a:lnTo>
                  <a:lnTo>
                    <a:pt x="2362" y="0"/>
                  </a:lnTo>
                  <a:lnTo>
                    <a:pt x="978" y="198"/>
                  </a:lnTo>
                  <a:close/>
                </a:path>
              </a:pathLst>
            </a:custGeom>
            <a:solidFill>
              <a:srgbClr val="C7CDD0"/>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AT" sz="1600" err="1">
                <a:solidFill>
                  <a:schemeClr val="tx1"/>
                </a:solidFill>
                <a:latin typeface="Calibri" panose="020F0502020204030204" pitchFamily="34" charset="0"/>
                <a:cs typeface="Calibri" panose="020F0502020204030204" pitchFamily="34" charset="0"/>
              </a:endParaRPr>
            </a:p>
          </p:txBody>
        </p:sp>
        <p:sp>
          <p:nvSpPr>
            <p:cNvPr id="88" name="ee4p_XK_1_86241">
              <a:extLst>
                <a:ext uri="{FF2B5EF4-FFF2-40B4-BE49-F238E27FC236}">
                  <a16:creationId xmlns:a16="http://schemas.microsoft.com/office/drawing/2014/main" id="{171CC93F-1563-4CA4-A840-379275D3917A}"/>
                </a:ext>
              </a:extLst>
            </p:cNvPr>
            <p:cNvSpPr>
              <a:spLocks noChangeAspect="1"/>
            </p:cNvSpPr>
            <p:nvPr>
              <p:custDataLst>
                <p:tags r:id="rId26"/>
              </p:custDataLst>
            </p:nvPr>
          </p:nvSpPr>
          <p:spPr>
            <a:xfrm>
              <a:off x="7454210" y="3623704"/>
              <a:ext cx="115497" cy="116828"/>
            </a:xfrm>
            <a:custGeom>
              <a:avLst/>
              <a:gdLst/>
              <a:ahLst/>
              <a:cxnLst/>
              <a:rect l="0" t="0" r="0" b="0"/>
              <a:pathLst>
                <a:path w="38110" h="37558">
                  <a:moveTo>
                    <a:pt x="33898" y="27100"/>
                  </a:moveTo>
                  <a:lnTo>
                    <a:pt x="33862" y="27096"/>
                  </a:lnTo>
                  <a:lnTo>
                    <a:pt x="30074" y="27836"/>
                  </a:lnTo>
                  <a:lnTo>
                    <a:pt x="28796" y="28705"/>
                  </a:lnTo>
                  <a:lnTo>
                    <a:pt x="28040" y="30223"/>
                  </a:lnTo>
                  <a:lnTo>
                    <a:pt x="27798" y="31012"/>
                  </a:lnTo>
                  <a:lnTo>
                    <a:pt x="27129" y="31035"/>
                  </a:lnTo>
                  <a:lnTo>
                    <a:pt x="26017" y="30253"/>
                  </a:lnTo>
                  <a:lnTo>
                    <a:pt x="24611" y="29029"/>
                  </a:lnTo>
                  <a:lnTo>
                    <a:pt x="22782" y="29127"/>
                  </a:lnTo>
                  <a:lnTo>
                    <a:pt x="16554" y="31792"/>
                  </a:lnTo>
                  <a:lnTo>
                    <a:pt x="15941" y="33191"/>
                  </a:lnTo>
                  <a:lnTo>
                    <a:pt x="15803" y="36218"/>
                  </a:lnTo>
                  <a:lnTo>
                    <a:pt x="15379" y="37034"/>
                  </a:lnTo>
                  <a:lnTo>
                    <a:pt x="14714" y="37557"/>
                  </a:lnTo>
                  <a:lnTo>
                    <a:pt x="12140" y="37228"/>
                  </a:lnTo>
                  <a:lnTo>
                    <a:pt x="11868" y="37030"/>
                  </a:lnTo>
                  <a:lnTo>
                    <a:pt x="12205" y="35870"/>
                  </a:lnTo>
                  <a:lnTo>
                    <a:pt x="12071" y="33331"/>
                  </a:lnTo>
                  <a:lnTo>
                    <a:pt x="10909" y="29122"/>
                  </a:lnTo>
                  <a:lnTo>
                    <a:pt x="10082" y="27742"/>
                  </a:lnTo>
                  <a:lnTo>
                    <a:pt x="8377" y="26370"/>
                  </a:lnTo>
                  <a:lnTo>
                    <a:pt x="7048" y="25469"/>
                  </a:lnTo>
                  <a:lnTo>
                    <a:pt x="4667" y="24665"/>
                  </a:lnTo>
                  <a:lnTo>
                    <a:pt x="3455" y="22350"/>
                  </a:lnTo>
                  <a:lnTo>
                    <a:pt x="1637" y="19716"/>
                  </a:lnTo>
                  <a:lnTo>
                    <a:pt x="762" y="19112"/>
                  </a:lnTo>
                  <a:lnTo>
                    <a:pt x="903" y="18851"/>
                  </a:lnTo>
                  <a:lnTo>
                    <a:pt x="1322" y="16863"/>
                  </a:lnTo>
                  <a:lnTo>
                    <a:pt x="802" y="15412"/>
                  </a:lnTo>
                  <a:lnTo>
                    <a:pt x="0" y="14178"/>
                  </a:lnTo>
                  <a:lnTo>
                    <a:pt x="549" y="13429"/>
                  </a:lnTo>
                  <a:lnTo>
                    <a:pt x="2222" y="13436"/>
                  </a:lnTo>
                  <a:lnTo>
                    <a:pt x="3606" y="13574"/>
                  </a:lnTo>
                  <a:lnTo>
                    <a:pt x="4105" y="12392"/>
                  </a:lnTo>
                  <a:lnTo>
                    <a:pt x="6962" y="11613"/>
                  </a:lnTo>
                  <a:lnTo>
                    <a:pt x="9715" y="10811"/>
                  </a:lnTo>
                  <a:lnTo>
                    <a:pt x="10113" y="10245"/>
                  </a:lnTo>
                  <a:lnTo>
                    <a:pt x="9484" y="9027"/>
                  </a:lnTo>
                  <a:lnTo>
                    <a:pt x="9854" y="8264"/>
                  </a:lnTo>
                  <a:lnTo>
                    <a:pt x="13147" y="6090"/>
                  </a:lnTo>
                  <a:lnTo>
                    <a:pt x="13689" y="5104"/>
                  </a:lnTo>
                  <a:lnTo>
                    <a:pt x="13890" y="4328"/>
                  </a:lnTo>
                  <a:lnTo>
                    <a:pt x="13447" y="3510"/>
                  </a:lnTo>
                  <a:lnTo>
                    <a:pt x="12829" y="2220"/>
                  </a:lnTo>
                  <a:lnTo>
                    <a:pt x="13127" y="1678"/>
                  </a:lnTo>
                  <a:lnTo>
                    <a:pt x="14839" y="933"/>
                  </a:lnTo>
                  <a:lnTo>
                    <a:pt x="16228" y="67"/>
                  </a:lnTo>
                  <a:lnTo>
                    <a:pt x="17051" y="0"/>
                  </a:lnTo>
                  <a:lnTo>
                    <a:pt x="17565" y="622"/>
                  </a:lnTo>
                  <a:lnTo>
                    <a:pt x="17565" y="1266"/>
                  </a:lnTo>
                  <a:lnTo>
                    <a:pt x="18020" y="2354"/>
                  </a:lnTo>
                  <a:lnTo>
                    <a:pt x="19044" y="2939"/>
                  </a:lnTo>
                  <a:lnTo>
                    <a:pt x="20746" y="3895"/>
                  </a:lnTo>
                  <a:lnTo>
                    <a:pt x="22722" y="4547"/>
                  </a:lnTo>
                  <a:lnTo>
                    <a:pt x="24270" y="5853"/>
                  </a:lnTo>
                  <a:lnTo>
                    <a:pt x="26384" y="8179"/>
                  </a:lnTo>
                  <a:lnTo>
                    <a:pt x="26703" y="9330"/>
                  </a:lnTo>
                  <a:lnTo>
                    <a:pt x="28606" y="10361"/>
                  </a:lnTo>
                  <a:lnTo>
                    <a:pt x="30372" y="11517"/>
                  </a:lnTo>
                  <a:lnTo>
                    <a:pt x="30098" y="13660"/>
                  </a:lnTo>
                  <a:lnTo>
                    <a:pt x="36110" y="15529"/>
                  </a:lnTo>
                  <a:lnTo>
                    <a:pt x="37466" y="15515"/>
                  </a:lnTo>
                  <a:lnTo>
                    <a:pt x="38109" y="15840"/>
                  </a:lnTo>
                  <a:lnTo>
                    <a:pt x="38092" y="16329"/>
                  </a:lnTo>
                  <a:lnTo>
                    <a:pt x="37617" y="17826"/>
                  </a:lnTo>
                  <a:lnTo>
                    <a:pt x="35149" y="22420"/>
                  </a:lnTo>
                  <a:lnTo>
                    <a:pt x="34946" y="23374"/>
                  </a:lnTo>
                  <a:lnTo>
                    <a:pt x="33179" y="24371"/>
                  </a:lnTo>
                  <a:lnTo>
                    <a:pt x="32935" y="24946"/>
                  </a:lnTo>
                  <a:lnTo>
                    <a:pt x="33436" y="26214"/>
                  </a:lnTo>
                  <a:close/>
                </a:path>
              </a:pathLst>
            </a:custGeom>
            <a:solidFill>
              <a:srgbClr val="C7CDD0"/>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AT" sz="1600" err="1">
                <a:solidFill>
                  <a:schemeClr val="tx1"/>
                </a:solidFill>
                <a:latin typeface="Calibri" panose="020F0502020204030204" pitchFamily="34" charset="0"/>
                <a:cs typeface="Calibri" panose="020F0502020204030204" pitchFamily="34" charset="0"/>
              </a:endParaRPr>
            </a:p>
          </p:txBody>
        </p:sp>
        <p:sp>
          <p:nvSpPr>
            <p:cNvPr id="89" name="ee4p_LI_1_86241">
              <a:extLst>
                <a:ext uri="{FF2B5EF4-FFF2-40B4-BE49-F238E27FC236}">
                  <a16:creationId xmlns:a16="http://schemas.microsoft.com/office/drawing/2014/main" id="{06A73029-9934-4A02-B1FE-480B77149CC8}"/>
                </a:ext>
              </a:extLst>
            </p:cNvPr>
            <p:cNvSpPr>
              <a:spLocks noChangeAspect="1"/>
            </p:cNvSpPr>
            <p:nvPr>
              <p:custDataLst>
                <p:tags r:id="rId27"/>
              </p:custDataLst>
            </p:nvPr>
          </p:nvSpPr>
          <p:spPr>
            <a:xfrm>
              <a:off x="6747219" y="3281792"/>
              <a:ext cx="8786" cy="18561"/>
            </a:xfrm>
            <a:custGeom>
              <a:avLst/>
              <a:gdLst/>
              <a:ahLst/>
              <a:cxnLst/>
              <a:rect l="0" t="0" r="0" b="0"/>
              <a:pathLst>
                <a:path w="2899" h="5967">
                  <a:moveTo>
                    <a:pt x="2229" y="5966"/>
                  </a:moveTo>
                  <a:lnTo>
                    <a:pt x="506" y="5816"/>
                  </a:lnTo>
                  <a:lnTo>
                    <a:pt x="182" y="5829"/>
                  </a:lnTo>
                  <a:lnTo>
                    <a:pt x="0" y="4844"/>
                  </a:lnTo>
                  <a:lnTo>
                    <a:pt x="106" y="2744"/>
                  </a:lnTo>
                  <a:lnTo>
                    <a:pt x="1063" y="0"/>
                  </a:lnTo>
                  <a:lnTo>
                    <a:pt x="1268" y="451"/>
                  </a:lnTo>
                  <a:lnTo>
                    <a:pt x="1387" y="1025"/>
                  </a:lnTo>
                  <a:lnTo>
                    <a:pt x="1583" y="1636"/>
                  </a:lnTo>
                  <a:lnTo>
                    <a:pt x="1687" y="2385"/>
                  </a:lnTo>
                  <a:lnTo>
                    <a:pt x="2043" y="3157"/>
                  </a:lnTo>
                  <a:lnTo>
                    <a:pt x="2691" y="3879"/>
                  </a:lnTo>
                  <a:lnTo>
                    <a:pt x="2898" y="4576"/>
                  </a:lnTo>
                  <a:lnTo>
                    <a:pt x="2570" y="5450"/>
                  </a:lnTo>
                  <a:close/>
                </a:path>
              </a:pathLst>
            </a:custGeom>
            <a:solidFill>
              <a:srgbClr val="C7CDD0"/>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AT" sz="1600" err="1">
                <a:solidFill>
                  <a:schemeClr val="tx1"/>
                </a:solidFill>
                <a:latin typeface="Calibri" panose="020F0502020204030204" pitchFamily="34" charset="0"/>
                <a:cs typeface="Calibri" panose="020F0502020204030204" pitchFamily="34" charset="0"/>
              </a:endParaRPr>
            </a:p>
          </p:txBody>
        </p:sp>
        <p:sp>
          <p:nvSpPr>
            <p:cNvPr id="90" name="ee4p_LT_1_86241">
              <a:extLst>
                <a:ext uri="{FF2B5EF4-FFF2-40B4-BE49-F238E27FC236}">
                  <a16:creationId xmlns:a16="http://schemas.microsoft.com/office/drawing/2014/main" id="{12D2507C-ACDF-4A02-9ABF-0908F02601FA}"/>
                </a:ext>
              </a:extLst>
            </p:cNvPr>
            <p:cNvSpPr>
              <a:spLocks noChangeAspect="1"/>
            </p:cNvSpPr>
            <p:nvPr>
              <p:custDataLst>
                <p:tags r:id="rId28"/>
              </p:custDataLst>
            </p:nvPr>
          </p:nvSpPr>
          <p:spPr>
            <a:xfrm>
              <a:off x="7512531" y="2441251"/>
              <a:ext cx="393762" cy="241320"/>
            </a:xfrm>
            <a:custGeom>
              <a:avLst/>
              <a:gdLst>
                <a:gd name="connsiteX0" fmla="*/ 4755 w 129928"/>
                <a:gd name="connsiteY0" fmla="*/ 24770 h 77580"/>
                <a:gd name="connsiteX1" fmla="*/ 4774 w 129928"/>
                <a:gd name="connsiteY1" fmla="*/ 26268 h 77580"/>
                <a:gd name="connsiteX2" fmla="*/ 4513 w 129928"/>
                <a:gd name="connsiteY2" fmla="*/ 28758 h 77580"/>
                <a:gd name="connsiteX3" fmla="*/ 2917 w 129928"/>
                <a:gd name="connsiteY3" fmla="*/ 33001 h 77580"/>
                <a:gd name="connsiteX4" fmla="*/ 1283 w 129928"/>
                <a:gd name="connsiteY4" fmla="*/ 35210 h 77580"/>
                <a:gd name="connsiteX5" fmla="*/ 0 w 129928"/>
                <a:gd name="connsiteY5" fmla="*/ 34971 h 77580"/>
                <a:gd name="connsiteX6" fmla="*/ 2526 w 129928"/>
                <a:gd name="connsiteY6" fmla="*/ 31410 h 77580"/>
                <a:gd name="connsiteX7" fmla="*/ 3489 w 129928"/>
                <a:gd name="connsiteY7" fmla="*/ 29096 h 77580"/>
                <a:gd name="connsiteX8" fmla="*/ 4159 w 129928"/>
                <a:gd name="connsiteY8" fmla="*/ 25805 h 77580"/>
                <a:gd name="connsiteX9" fmla="*/ 87148 w 129928"/>
                <a:gd name="connsiteY9" fmla="*/ 0 h 77580"/>
                <a:gd name="connsiteX10" fmla="*/ 88519 w 129928"/>
                <a:gd name="connsiteY10" fmla="*/ 407 h 77580"/>
                <a:gd name="connsiteX11" fmla="*/ 89422 w 129928"/>
                <a:gd name="connsiteY11" fmla="*/ 2681 h 77580"/>
                <a:gd name="connsiteX12" fmla="*/ 92210 w 129928"/>
                <a:gd name="connsiteY12" fmla="*/ 6597 h 77580"/>
                <a:gd name="connsiteX13" fmla="*/ 95240 w 129928"/>
                <a:gd name="connsiteY13" fmla="*/ 7284 h 77580"/>
                <a:gd name="connsiteX14" fmla="*/ 103616 w 129928"/>
                <a:gd name="connsiteY14" fmla="*/ 8790 h 77580"/>
                <a:gd name="connsiteX15" fmla="*/ 105328 w 129928"/>
                <a:gd name="connsiteY15" fmla="*/ 9581 h 77580"/>
                <a:gd name="connsiteX16" fmla="*/ 110042 w 129928"/>
                <a:gd name="connsiteY16" fmla="*/ 13027 h 77580"/>
                <a:gd name="connsiteX17" fmla="*/ 112869 w 129928"/>
                <a:gd name="connsiteY17" fmla="*/ 14715 h 77580"/>
                <a:gd name="connsiteX18" fmla="*/ 114667 w 129928"/>
                <a:gd name="connsiteY18" fmla="*/ 16062 h 77580"/>
                <a:gd name="connsiteX19" fmla="*/ 117410 w 129928"/>
                <a:gd name="connsiteY19" fmla="*/ 18698 h 77580"/>
                <a:gd name="connsiteX20" fmla="*/ 118995 w 129928"/>
                <a:gd name="connsiteY20" fmla="*/ 20614 h 77580"/>
                <a:gd name="connsiteX21" fmla="*/ 121645 w 129928"/>
                <a:gd name="connsiteY21" fmla="*/ 22062 h 77580"/>
                <a:gd name="connsiteX22" fmla="*/ 124780 w 129928"/>
                <a:gd name="connsiteY22" fmla="*/ 23036 h 77580"/>
                <a:gd name="connsiteX23" fmla="*/ 125900 w 129928"/>
                <a:gd name="connsiteY23" fmla="*/ 23187 h 77580"/>
                <a:gd name="connsiteX24" fmla="*/ 125840 w 129928"/>
                <a:gd name="connsiteY24" fmla="*/ 24579 h 77580"/>
                <a:gd name="connsiteX25" fmla="*/ 125305 w 129928"/>
                <a:gd name="connsiteY25" fmla="*/ 26939 h 77580"/>
                <a:gd name="connsiteX26" fmla="*/ 124257 w 129928"/>
                <a:gd name="connsiteY26" fmla="*/ 29982 h 77580"/>
                <a:gd name="connsiteX27" fmla="*/ 123158 w 129928"/>
                <a:gd name="connsiteY27" fmla="*/ 32338 h 77580"/>
                <a:gd name="connsiteX28" fmla="*/ 122895 w 129928"/>
                <a:gd name="connsiteY28" fmla="*/ 33248 h 77580"/>
                <a:gd name="connsiteX29" fmla="*/ 123728 w 129928"/>
                <a:gd name="connsiteY29" fmla="*/ 34003 h 77580"/>
                <a:gd name="connsiteX30" fmla="*/ 127840 w 129928"/>
                <a:gd name="connsiteY30" fmla="*/ 34360 h 77580"/>
                <a:gd name="connsiteX31" fmla="*/ 129584 w 129928"/>
                <a:gd name="connsiteY31" fmla="*/ 34765 h 77580"/>
                <a:gd name="connsiteX32" fmla="*/ 129928 w 129928"/>
                <a:gd name="connsiteY32" fmla="*/ 35390 h 77580"/>
                <a:gd name="connsiteX33" fmla="*/ 129015 w 129928"/>
                <a:gd name="connsiteY33" fmla="*/ 36202 h 77580"/>
                <a:gd name="connsiteX34" fmla="*/ 127702 w 129928"/>
                <a:gd name="connsiteY34" fmla="*/ 36876 h 77580"/>
                <a:gd name="connsiteX35" fmla="*/ 127114 w 129928"/>
                <a:gd name="connsiteY35" fmla="*/ 37514 h 77580"/>
                <a:gd name="connsiteX36" fmla="*/ 126069 w 129928"/>
                <a:gd name="connsiteY36" fmla="*/ 39795 h 77580"/>
                <a:gd name="connsiteX37" fmla="*/ 119228 w 129928"/>
                <a:gd name="connsiteY37" fmla="*/ 39505 h 77580"/>
                <a:gd name="connsiteX38" fmla="*/ 118321 w 129928"/>
                <a:gd name="connsiteY38" fmla="*/ 39969 h 77580"/>
                <a:gd name="connsiteX39" fmla="*/ 117889 w 129928"/>
                <a:gd name="connsiteY39" fmla="*/ 41028 h 77580"/>
                <a:gd name="connsiteX40" fmla="*/ 117548 w 129928"/>
                <a:gd name="connsiteY40" fmla="*/ 42251 h 77580"/>
                <a:gd name="connsiteX41" fmla="*/ 116650 w 129928"/>
                <a:gd name="connsiteY41" fmla="*/ 43699 h 77580"/>
                <a:gd name="connsiteX42" fmla="*/ 114832 w 129928"/>
                <a:gd name="connsiteY42" fmla="*/ 44959 h 77580"/>
                <a:gd name="connsiteX43" fmla="*/ 111990 w 129928"/>
                <a:gd name="connsiteY43" fmla="*/ 45424 h 77580"/>
                <a:gd name="connsiteX44" fmla="*/ 109664 w 129928"/>
                <a:gd name="connsiteY44" fmla="*/ 46280 h 77580"/>
                <a:gd name="connsiteX45" fmla="*/ 107930 w 129928"/>
                <a:gd name="connsiteY45" fmla="*/ 48920 h 77580"/>
                <a:gd name="connsiteX46" fmla="*/ 106639 w 129928"/>
                <a:gd name="connsiteY46" fmla="*/ 52456 h 77580"/>
                <a:gd name="connsiteX47" fmla="*/ 106671 w 129928"/>
                <a:gd name="connsiteY47" fmla="*/ 54961 h 77580"/>
                <a:gd name="connsiteX48" fmla="*/ 106842 w 129928"/>
                <a:gd name="connsiteY48" fmla="*/ 56357 h 77580"/>
                <a:gd name="connsiteX49" fmla="*/ 106691 w 129928"/>
                <a:gd name="connsiteY49" fmla="*/ 57155 h 77580"/>
                <a:gd name="connsiteX50" fmla="*/ 105814 w 129928"/>
                <a:gd name="connsiteY50" fmla="*/ 58025 h 77580"/>
                <a:gd name="connsiteX51" fmla="*/ 104380 w 129928"/>
                <a:gd name="connsiteY51" fmla="*/ 60327 h 77580"/>
                <a:gd name="connsiteX52" fmla="*/ 103214 w 129928"/>
                <a:gd name="connsiteY52" fmla="*/ 62869 h 77580"/>
                <a:gd name="connsiteX53" fmla="*/ 102767 w 129928"/>
                <a:gd name="connsiteY53" fmla="*/ 64247 h 77580"/>
                <a:gd name="connsiteX54" fmla="*/ 102992 w 129928"/>
                <a:gd name="connsiteY54" fmla="*/ 64892 h 77580"/>
                <a:gd name="connsiteX55" fmla="*/ 104305 w 129928"/>
                <a:gd name="connsiteY55" fmla="*/ 64909 h 77580"/>
                <a:gd name="connsiteX56" fmla="*/ 106199 w 129928"/>
                <a:gd name="connsiteY56" fmla="*/ 65431 h 77580"/>
                <a:gd name="connsiteX57" fmla="*/ 107207 w 129928"/>
                <a:gd name="connsiteY57" fmla="*/ 66445 h 77580"/>
                <a:gd name="connsiteX58" fmla="*/ 107580 w 129928"/>
                <a:gd name="connsiteY58" fmla="*/ 67616 h 77580"/>
                <a:gd name="connsiteX59" fmla="*/ 107585 w 129928"/>
                <a:gd name="connsiteY59" fmla="*/ 68875 h 77580"/>
                <a:gd name="connsiteX60" fmla="*/ 107231 w 129928"/>
                <a:gd name="connsiteY60" fmla="*/ 69568 h 77580"/>
                <a:gd name="connsiteX61" fmla="*/ 105713 w 129928"/>
                <a:gd name="connsiteY61" fmla="*/ 70070 h 77580"/>
                <a:gd name="connsiteX62" fmla="*/ 103335 w 129928"/>
                <a:gd name="connsiteY62" fmla="*/ 70088 h 77580"/>
                <a:gd name="connsiteX63" fmla="*/ 101949 w 129928"/>
                <a:gd name="connsiteY63" fmla="*/ 69488 h 77580"/>
                <a:gd name="connsiteX64" fmla="*/ 101662 w 129928"/>
                <a:gd name="connsiteY64" fmla="*/ 69013 h 77580"/>
                <a:gd name="connsiteX65" fmla="*/ 102324 w 129928"/>
                <a:gd name="connsiteY65" fmla="*/ 67800 h 77580"/>
                <a:gd name="connsiteX66" fmla="*/ 101845 w 129928"/>
                <a:gd name="connsiteY66" fmla="*/ 66285 h 77580"/>
                <a:gd name="connsiteX67" fmla="*/ 100861 w 129928"/>
                <a:gd name="connsiteY67" fmla="*/ 65437 h 77580"/>
                <a:gd name="connsiteX68" fmla="*/ 98859 w 129928"/>
                <a:gd name="connsiteY68" fmla="*/ 66702 h 77580"/>
                <a:gd name="connsiteX69" fmla="*/ 96937 w 129928"/>
                <a:gd name="connsiteY69" fmla="*/ 66701 h 77580"/>
                <a:gd name="connsiteX70" fmla="*/ 94633 w 129928"/>
                <a:gd name="connsiteY70" fmla="*/ 67827 h 77580"/>
                <a:gd name="connsiteX71" fmla="*/ 93128 w 129928"/>
                <a:gd name="connsiteY71" fmla="*/ 69631 h 77580"/>
                <a:gd name="connsiteX72" fmla="*/ 91683 w 129928"/>
                <a:gd name="connsiteY72" fmla="*/ 70296 h 77580"/>
                <a:gd name="connsiteX73" fmla="*/ 87779 w 129928"/>
                <a:gd name="connsiteY73" fmla="*/ 69928 h 77580"/>
                <a:gd name="connsiteX74" fmla="*/ 86809 w 129928"/>
                <a:gd name="connsiteY74" fmla="*/ 70723 h 77580"/>
                <a:gd name="connsiteX75" fmla="*/ 86004 w 129928"/>
                <a:gd name="connsiteY75" fmla="*/ 74388 h 77580"/>
                <a:gd name="connsiteX76" fmla="*/ 85537 w 129928"/>
                <a:gd name="connsiteY76" fmla="*/ 75104 h 77580"/>
                <a:gd name="connsiteX77" fmla="*/ 82277 w 129928"/>
                <a:gd name="connsiteY77" fmla="*/ 74947 h 77580"/>
                <a:gd name="connsiteX78" fmla="*/ 79133 w 129928"/>
                <a:gd name="connsiteY78" fmla="*/ 76402 h 77580"/>
                <a:gd name="connsiteX79" fmla="*/ 75583 w 129928"/>
                <a:gd name="connsiteY79" fmla="*/ 77580 h 77580"/>
                <a:gd name="connsiteX80" fmla="*/ 73784 w 129928"/>
                <a:gd name="connsiteY80" fmla="*/ 76761 h 77580"/>
                <a:gd name="connsiteX81" fmla="*/ 72782 w 129928"/>
                <a:gd name="connsiteY81" fmla="*/ 75838 h 77580"/>
                <a:gd name="connsiteX82" fmla="*/ 70849 w 129928"/>
                <a:gd name="connsiteY82" fmla="*/ 76002 h 77580"/>
                <a:gd name="connsiteX83" fmla="*/ 68740 w 129928"/>
                <a:gd name="connsiteY83" fmla="*/ 76408 h 77580"/>
                <a:gd name="connsiteX84" fmla="*/ 67323 w 129928"/>
                <a:gd name="connsiteY84" fmla="*/ 76186 h 77580"/>
                <a:gd name="connsiteX85" fmla="*/ 65734 w 129928"/>
                <a:gd name="connsiteY85" fmla="*/ 76285 h 77580"/>
                <a:gd name="connsiteX86" fmla="*/ 62663 w 129928"/>
                <a:gd name="connsiteY86" fmla="*/ 76995 h 77580"/>
                <a:gd name="connsiteX87" fmla="*/ 58802 w 129928"/>
                <a:gd name="connsiteY87" fmla="*/ 76766 h 77580"/>
                <a:gd name="connsiteX88" fmla="*/ 57157 w 129928"/>
                <a:gd name="connsiteY88" fmla="*/ 76160 h 77580"/>
                <a:gd name="connsiteX89" fmla="*/ 57001 w 129928"/>
                <a:gd name="connsiteY89" fmla="*/ 75580 h 77580"/>
                <a:gd name="connsiteX90" fmla="*/ 57120 w 129928"/>
                <a:gd name="connsiteY90" fmla="*/ 74154 h 77580"/>
                <a:gd name="connsiteX91" fmla="*/ 57083 w 129928"/>
                <a:gd name="connsiteY91" fmla="*/ 71937 h 77580"/>
                <a:gd name="connsiteX92" fmla="*/ 56470 w 129928"/>
                <a:gd name="connsiteY92" fmla="*/ 69979 h 77580"/>
                <a:gd name="connsiteX93" fmla="*/ 54623 w 129928"/>
                <a:gd name="connsiteY93" fmla="*/ 68246 h 77580"/>
                <a:gd name="connsiteX94" fmla="*/ 52682 w 129928"/>
                <a:gd name="connsiteY94" fmla="*/ 67034 h 77580"/>
                <a:gd name="connsiteX95" fmla="*/ 50205 w 129928"/>
                <a:gd name="connsiteY95" fmla="*/ 65782 h 77580"/>
                <a:gd name="connsiteX96" fmla="*/ 48374 w 129928"/>
                <a:gd name="connsiteY96" fmla="*/ 65233 h 77580"/>
                <a:gd name="connsiteX97" fmla="*/ 47372 w 129928"/>
                <a:gd name="connsiteY97" fmla="*/ 65089 h 77580"/>
                <a:gd name="connsiteX98" fmla="*/ 47146 w 129928"/>
                <a:gd name="connsiteY98" fmla="*/ 64368 h 77580"/>
                <a:gd name="connsiteX99" fmla="*/ 46783 w 129928"/>
                <a:gd name="connsiteY99" fmla="*/ 63745 h 77580"/>
                <a:gd name="connsiteX100" fmla="*/ 45926 w 129928"/>
                <a:gd name="connsiteY100" fmla="*/ 63196 h 77580"/>
                <a:gd name="connsiteX101" fmla="*/ 44095 w 129928"/>
                <a:gd name="connsiteY101" fmla="*/ 62459 h 77580"/>
                <a:gd name="connsiteX102" fmla="*/ 42542 w 129928"/>
                <a:gd name="connsiteY102" fmla="*/ 62298 h 77580"/>
                <a:gd name="connsiteX103" fmla="*/ 41270 w 129928"/>
                <a:gd name="connsiteY103" fmla="*/ 63487 h 77580"/>
                <a:gd name="connsiteX104" fmla="*/ 40344 w 129928"/>
                <a:gd name="connsiteY104" fmla="*/ 61998 h 77580"/>
                <a:gd name="connsiteX105" fmla="*/ 39361 w 129928"/>
                <a:gd name="connsiteY105" fmla="*/ 59331 h 77580"/>
                <a:gd name="connsiteX106" fmla="*/ 39463 w 129928"/>
                <a:gd name="connsiteY106" fmla="*/ 57196 h 77580"/>
                <a:gd name="connsiteX107" fmla="*/ 40020 w 129928"/>
                <a:gd name="connsiteY107" fmla="*/ 55065 h 77580"/>
                <a:gd name="connsiteX108" fmla="*/ 42708 w 129928"/>
                <a:gd name="connsiteY108" fmla="*/ 48760 h 77580"/>
                <a:gd name="connsiteX109" fmla="*/ 42563 w 129928"/>
                <a:gd name="connsiteY109" fmla="*/ 47753 h 77580"/>
                <a:gd name="connsiteX110" fmla="*/ 40613 w 129928"/>
                <a:gd name="connsiteY110" fmla="*/ 45986 h 77580"/>
                <a:gd name="connsiteX111" fmla="*/ 38202 w 129928"/>
                <a:gd name="connsiteY111" fmla="*/ 44701 h 77580"/>
                <a:gd name="connsiteX112" fmla="*/ 36871 w 129928"/>
                <a:gd name="connsiteY112" fmla="*/ 41982 h 77580"/>
                <a:gd name="connsiteX113" fmla="*/ 31987 w 129928"/>
                <a:gd name="connsiteY113" fmla="*/ 41824 h 77580"/>
                <a:gd name="connsiteX114" fmla="*/ 27376 w 129928"/>
                <a:gd name="connsiteY114" fmla="*/ 41974 h 77580"/>
                <a:gd name="connsiteX115" fmla="*/ 25928 w 129928"/>
                <a:gd name="connsiteY115" fmla="*/ 41842 h 77580"/>
                <a:gd name="connsiteX116" fmla="*/ 21540 w 129928"/>
                <a:gd name="connsiteY116" fmla="*/ 40702 h 77580"/>
                <a:gd name="connsiteX117" fmla="*/ 17311 w 129928"/>
                <a:gd name="connsiteY117" fmla="*/ 38866 h 77580"/>
                <a:gd name="connsiteX118" fmla="*/ 14481 w 129928"/>
                <a:gd name="connsiteY118" fmla="*/ 37788 h 77580"/>
                <a:gd name="connsiteX119" fmla="*/ 12101 w 129928"/>
                <a:gd name="connsiteY119" fmla="*/ 36582 h 77580"/>
                <a:gd name="connsiteX120" fmla="*/ 10823 w 129928"/>
                <a:gd name="connsiteY120" fmla="*/ 35315 h 77580"/>
                <a:gd name="connsiteX121" fmla="*/ 8795 w 129928"/>
                <a:gd name="connsiteY121" fmla="*/ 35656 h 77580"/>
                <a:gd name="connsiteX122" fmla="*/ 7428 w 129928"/>
                <a:gd name="connsiteY122" fmla="*/ 35667 h 77580"/>
                <a:gd name="connsiteX123" fmla="*/ 7441 w 129928"/>
                <a:gd name="connsiteY123" fmla="*/ 35449 h 77580"/>
                <a:gd name="connsiteX124" fmla="*/ 6662 w 129928"/>
                <a:gd name="connsiteY124" fmla="*/ 33207 h 77580"/>
                <a:gd name="connsiteX125" fmla="*/ 7476 w 129928"/>
                <a:gd name="connsiteY125" fmla="*/ 29769 h 77580"/>
                <a:gd name="connsiteX126" fmla="*/ 5999 w 129928"/>
                <a:gd name="connsiteY126" fmla="*/ 24732 h 77580"/>
                <a:gd name="connsiteX127" fmla="*/ 3584 w 129928"/>
                <a:gd name="connsiteY127" fmla="*/ 18657 h 77580"/>
                <a:gd name="connsiteX128" fmla="*/ 3405 w 129928"/>
                <a:gd name="connsiteY128" fmla="*/ 12135 h 77580"/>
                <a:gd name="connsiteX129" fmla="*/ 3234 w 129928"/>
                <a:gd name="connsiteY129" fmla="*/ 10666 h 77580"/>
                <a:gd name="connsiteX130" fmla="*/ 9173 w 129928"/>
                <a:gd name="connsiteY130" fmla="*/ 6980 h 77580"/>
                <a:gd name="connsiteX131" fmla="*/ 16666 w 129928"/>
                <a:gd name="connsiteY131" fmla="*/ 3027 h 77580"/>
                <a:gd name="connsiteX132" fmla="*/ 18370 w 129928"/>
                <a:gd name="connsiteY132" fmla="*/ 2669 h 77580"/>
                <a:gd name="connsiteX133" fmla="*/ 25275 w 129928"/>
                <a:gd name="connsiteY133" fmla="*/ 326 h 77580"/>
                <a:gd name="connsiteX134" fmla="*/ 26197 w 129928"/>
                <a:gd name="connsiteY134" fmla="*/ 140 h 77580"/>
                <a:gd name="connsiteX135" fmla="*/ 32419 w 129928"/>
                <a:gd name="connsiteY135" fmla="*/ 574 h 77580"/>
                <a:gd name="connsiteX136" fmla="*/ 37306 w 129928"/>
                <a:gd name="connsiteY136" fmla="*/ 1131 h 77580"/>
                <a:gd name="connsiteX137" fmla="*/ 41425 w 129928"/>
                <a:gd name="connsiteY137" fmla="*/ 1062 h 77580"/>
                <a:gd name="connsiteX138" fmla="*/ 43688 w 129928"/>
                <a:gd name="connsiteY138" fmla="*/ 462 h 77580"/>
                <a:gd name="connsiteX139" fmla="*/ 45738 w 129928"/>
                <a:gd name="connsiteY139" fmla="*/ 964 h 77580"/>
                <a:gd name="connsiteX140" fmla="*/ 47390 w 129928"/>
                <a:gd name="connsiteY140" fmla="*/ 2729 h 77580"/>
                <a:gd name="connsiteX141" fmla="*/ 49089 w 129928"/>
                <a:gd name="connsiteY141" fmla="*/ 2522 h 77580"/>
                <a:gd name="connsiteX142" fmla="*/ 50771 w 129928"/>
                <a:gd name="connsiteY142" fmla="*/ 1380 h 77580"/>
                <a:gd name="connsiteX143" fmla="*/ 59987 w 129928"/>
                <a:gd name="connsiteY143" fmla="*/ 2423 h 77580"/>
                <a:gd name="connsiteX144" fmla="*/ 62067 w 129928"/>
                <a:gd name="connsiteY144" fmla="*/ 2398 h 77580"/>
                <a:gd name="connsiteX145" fmla="*/ 64410 w 129928"/>
                <a:gd name="connsiteY145" fmla="*/ 2567 h 77580"/>
                <a:gd name="connsiteX146" fmla="*/ 68733 w 129928"/>
                <a:gd name="connsiteY146" fmla="*/ 3630 h 77580"/>
                <a:gd name="connsiteX147" fmla="*/ 71220 w 129928"/>
                <a:gd name="connsiteY147" fmla="*/ 4600 h 77580"/>
                <a:gd name="connsiteX148" fmla="*/ 76686 w 129928"/>
                <a:gd name="connsiteY148" fmla="*/ 4014 h 77580"/>
                <a:gd name="connsiteX149" fmla="*/ 79025 w 129928"/>
                <a:gd name="connsiteY149" fmla="*/ 3980 h 77580"/>
                <a:gd name="connsiteX150" fmla="*/ 80249 w 129928"/>
                <a:gd name="connsiteY150" fmla="*/ 3598 h 77580"/>
                <a:gd name="connsiteX151" fmla="*/ 84019 w 129928"/>
                <a:gd name="connsiteY151" fmla="*/ 937 h 77580"/>
                <a:gd name="connsiteX152" fmla="*/ 85650 w 129928"/>
                <a:gd name="connsiteY152" fmla="*/ 479 h 77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129928" h="77580">
                  <a:moveTo>
                    <a:pt x="4755" y="24770"/>
                  </a:moveTo>
                  <a:lnTo>
                    <a:pt x="4774" y="26268"/>
                  </a:lnTo>
                  <a:lnTo>
                    <a:pt x="4513" y="28758"/>
                  </a:lnTo>
                  <a:lnTo>
                    <a:pt x="2917" y="33001"/>
                  </a:lnTo>
                  <a:lnTo>
                    <a:pt x="1283" y="35210"/>
                  </a:lnTo>
                  <a:lnTo>
                    <a:pt x="0" y="34971"/>
                  </a:lnTo>
                  <a:lnTo>
                    <a:pt x="2526" y="31410"/>
                  </a:lnTo>
                  <a:lnTo>
                    <a:pt x="3489" y="29096"/>
                  </a:lnTo>
                  <a:lnTo>
                    <a:pt x="4159" y="25805"/>
                  </a:lnTo>
                  <a:close/>
                  <a:moveTo>
                    <a:pt x="87148" y="0"/>
                  </a:moveTo>
                  <a:lnTo>
                    <a:pt x="88519" y="407"/>
                  </a:lnTo>
                  <a:lnTo>
                    <a:pt x="89422" y="2681"/>
                  </a:lnTo>
                  <a:lnTo>
                    <a:pt x="92210" y="6597"/>
                  </a:lnTo>
                  <a:lnTo>
                    <a:pt x="95240" y="7284"/>
                  </a:lnTo>
                  <a:lnTo>
                    <a:pt x="103616" y="8790"/>
                  </a:lnTo>
                  <a:lnTo>
                    <a:pt x="105328" y="9581"/>
                  </a:lnTo>
                  <a:lnTo>
                    <a:pt x="110042" y="13027"/>
                  </a:lnTo>
                  <a:lnTo>
                    <a:pt x="112869" y="14715"/>
                  </a:lnTo>
                  <a:lnTo>
                    <a:pt x="114667" y="16062"/>
                  </a:lnTo>
                  <a:lnTo>
                    <a:pt x="117410" y="18698"/>
                  </a:lnTo>
                  <a:lnTo>
                    <a:pt x="118995" y="20614"/>
                  </a:lnTo>
                  <a:lnTo>
                    <a:pt x="121645" y="22062"/>
                  </a:lnTo>
                  <a:lnTo>
                    <a:pt x="124780" y="23036"/>
                  </a:lnTo>
                  <a:lnTo>
                    <a:pt x="125900" y="23187"/>
                  </a:lnTo>
                  <a:lnTo>
                    <a:pt x="125840" y="24579"/>
                  </a:lnTo>
                  <a:lnTo>
                    <a:pt x="125305" y="26939"/>
                  </a:lnTo>
                  <a:lnTo>
                    <a:pt x="124257" y="29982"/>
                  </a:lnTo>
                  <a:lnTo>
                    <a:pt x="123158" y="32338"/>
                  </a:lnTo>
                  <a:lnTo>
                    <a:pt x="122895" y="33248"/>
                  </a:lnTo>
                  <a:lnTo>
                    <a:pt x="123728" y="34003"/>
                  </a:lnTo>
                  <a:lnTo>
                    <a:pt x="127840" y="34360"/>
                  </a:lnTo>
                  <a:lnTo>
                    <a:pt x="129584" y="34765"/>
                  </a:lnTo>
                  <a:lnTo>
                    <a:pt x="129928" y="35390"/>
                  </a:lnTo>
                  <a:lnTo>
                    <a:pt x="129015" y="36202"/>
                  </a:lnTo>
                  <a:lnTo>
                    <a:pt x="127702" y="36876"/>
                  </a:lnTo>
                  <a:lnTo>
                    <a:pt x="127114" y="37514"/>
                  </a:lnTo>
                  <a:lnTo>
                    <a:pt x="126069" y="39795"/>
                  </a:lnTo>
                  <a:lnTo>
                    <a:pt x="119228" y="39505"/>
                  </a:lnTo>
                  <a:lnTo>
                    <a:pt x="118321" y="39969"/>
                  </a:lnTo>
                  <a:lnTo>
                    <a:pt x="117889" y="41028"/>
                  </a:lnTo>
                  <a:lnTo>
                    <a:pt x="117548" y="42251"/>
                  </a:lnTo>
                  <a:lnTo>
                    <a:pt x="116650" y="43699"/>
                  </a:lnTo>
                  <a:lnTo>
                    <a:pt x="114832" y="44959"/>
                  </a:lnTo>
                  <a:lnTo>
                    <a:pt x="111990" y="45424"/>
                  </a:lnTo>
                  <a:lnTo>
                    <a:pt x="109664" y="46280"/>
                  </a:lnTo>
                  <a:lnTo>
                    <a:pt x="107930" y="48920"/>
                  </a:lnTo>
                  <a:lnTo>
                    <a:pt x="106639" y="52456"/>
                  </a:lnTo>
                  <a:lnTo>
                    <a:pt x="106671" y="54961"/>
                  </a:lnTo>
                  <a:lnTo>
                    <a:pt x="106842" y="56357"/>
                  </a:lnTo>
                  <a:lnTo>
                    <a:pt x="106691" y="57155"/>
                  </a:lnTo>
                  <a:lnTo>
                    <a:pt x="105814" y="58025"/>
                  </a:lnTo>
                  <a:lnTo>
                    <a:pt x="104380" y="60327"/>
                  </a:lnTo>
                  <a:lnTo>
                    <a:pt x="103214" y="62869"/>
                  </a:lnTo>
                  <a:lnTo>
                    <a:pt x="102767" y="64247"/>
                  </a:lnTo>
                  <a:lnTo>
                    <a:pt x="102992" y="64892"/>
                  </a:lnTo>
                  <a:lnTo>
                    <a:pt x="104305" y="64909"/>
                  </a:lnTo>
                  <a:lnTo>
                    <a:pt x="106199" y="65431"/>
                  </a:lnTo>
                  <a:lnTo>
                    <a:pt x="107207" y="66445"/>
                  </a:lnTo>
                  <a:lnTo>
                    <a:pt x="107580" y="67616"/>
                  </a:lnTo>
                  <a:lnTo>
                    <a:pt x="107585" y="68875"/>
                  </a:lnTo>
                  <a:lnTo>
                    <a:pt x="107231" y="69568"/>
                  </a:lnTo>
                  <a:lnTo>
                    <a:pt x="105713" y="70070"/>
                  </a:lnTo>
                  <a:lnTo>
                    <a:pt x="103335" y="70088"/>
                  </a:lnTo>
                  <a:lnTo>
                    <a:pt x="101949" y="69488"/>
                  </a:lnTo>
                  <a:lnTo>
                    <a:pt x="101662" y="69013"/>
                  </a:lnTo>
                  <a:lnTo>
                    <a:pt x="102324" y="67800"/>
                  </a:lnTo>
                  <a:lnTo>
                    <a:pt x="101845" y="66285"/>
                  </a:lnTo>
                  <a:lnTo>
                    <a:pt x="100861" y="65437"/>
                  </a:lnTo>
                  <a:lnTo>
                    <a:pt x="98859" y="66702"/>
                  </a:lnTo>
                  <a:lnTo>
                    <a:pt x="96937" y="66701"/>
                  </a:lnTo>
                  <a:lnTo>
                    <a:pt x="94633" y="67827"/>
                  </a:lnTo>
                  <a:lnTo>
                    <a:pt x="93128" y="69631"/>
                  </a:lnTo>
                  <a:lnTo>
                    <a:pt x="91683" y="70296"/>
                  </a:lnTo>
                  <a:lnTo>
                    <a:pt x="87779" y="69928"/>
                  </a:lnTo>
                  <a:lnTo>
                    <a:pt x="86809" y="70723"/>
                  </a:lnTo>
                  <a:lnTo>
                    <a:pt x="86004" y="74388"/>
                  </a:lnTo>
                  <a:lnTo>
                    <a:pt x="85537" y="75104"/>
                  </a:lnTo>
                  <a:lnTo>
                    <a:pt x="82277" y="74947"/>
                  </a:lnTo>
                  <a:lnTo>
                    <a:pt x="79133" y="76402"/>
                  </a:lnTo>
                  <a:lnTo>
                    <a:pt x="75583" y="77580"/>
                  </a:lnTo>
                  <a:lnTo>
                    <a:pt x="73784" y="76761"/>
                  </a:lnTo>
                  <a:lnTo>
                    <a:pt x="72782" y="75838"/>
                  </a:lnTo>
                  <a:lnTo>
                    <a:pt x="70849" y="76002"/>
                  </a:lnTo>
                  <a:lnTo>
                    <a:pt x="68740" y="76408"/>
                  </a:lnTo>
                  <a:lnTo>
                    <a:pt x="67323" y="76186"/>
                  </a:lnTo>
                  <a:lnTo>
                    <a:pt x="65734" y="76285"/>
                  </a:lnTo>
                  <a:lnTo>
                    <a:pt x="62663" y="76995"/>
                  </a:lnTo>
                  <a:lnTo>
                    <a:pt x="58802" y="76766"/>
                  </a:lnTo>
                  <a:lnTo>
                    <a:pt x="57157" y="76160"/>
                  </a:lnTo>
                  <a:lnTo>
                    <a:pt x="57001" y="75580"/>
                  </a:lnTo>
                  <a:lnTo>
                    <a:pt x="57120" y="74154"/>
                  </a:lnTo>
                  <a:lnTo>
                    <a:pt x="57083" y="71937"/>
                  </a:lnTo>
                  <a:lnTo>
                    <a:pt x="56470" y="69979"/>
                  </a:lnTo>
                  <a:lnTo>
                    <a:pt x="54623" y="68246"/>
                  </a:lnTo>
                  <a:lnTo>
                    <a:pt x="52682" y="67034"/>
                  </a:lnTo>
                  <a:lnTo>
                    <a:pt x="50205" y="65782"/>
                  </a:lnTo>
                  <a:lnTo>
                    <a:pt x="48374" y="65233"/>
                  </a:lnTo>
                  <a:lnTo>
                    <a:pt x="47372" y="65089"/>
                  </a:lnTo>
                  <a:lnTo>
                    <a:pt x="47146" y="64368"/>
                  </a:lnTo>
                  <a:lnTo>
                    <a:pt x="46783" y="63745"/>
                  </a:lnTo>
                  <a:lnTo>
                    <a:pt x="45926" y="63196"/>
                  </a:lnTo>
                  <a:lnTo>
                    <a:pt x="44095" y="62459"/>
                  </a:lnTo>
                  <a:lnTo>
                    <a:pt x="42542" y="62298"/>
                  </a:lnTo>
                  <a:lnTo>
                    <a:pt x="41270" y="63487"/>
                  </a:lnTo>
                  <a:lnTo>
                    <a:pt x="40344" y="61998"/>
                  </a:lnTo>
                  <a:lnTo>
                    <a:pt x="39361" y="59331"/>
                  </a:lnTo>
                  <a:lnTo>
                    <a:pt x="39463" y="57196"/>
                  </a:lnTo>
                  <a:lnTo>
                    <a:pt x="40020" y="55065"/>
                  </a:lnTo>
                  <a:lnTo>
                    <a:pt x="42708" y="48760"/>
                  </a:lnTo>
                  <a:lnTo>
                    <a:pt x="42563" y="47753"/>
                  </a:lnTo>
                  <a:lnTo>
                    <a:pt x="40613" y="45986"/>
                  </a:lnTo>
                  <a:lnTo>
                    <a:pt x="38202" y="44701"/>
                  </a:lnTo>
                  <a:lnTo>
                    <a:pt x="36871" y="41982"/>
                  </a:lnTo>
                  <a:lnTo>
                    <a:pt x="31987" y="41824"/>
                  </a:lnTo>
                  <a:lnTo>
                    <a:pt x="27376" y="41974"/>
                  </a:lnTo>
                  <a:lnTo>
                    <a:pt x="25928" y="41842"/>
                  </a:lnTo>
                  <a:lnTo>
                    <a:pt x="21540" y="40702"/>
                  </a:lnTo>
                  <a:lnTo>
                    <a:pt x="17311" y="38866"/>
                  </a:lnTo>
                  <a:lnTo>
                    <a:pt x="14481" y="37788"/>
                  </a:lnTo>
                  <a:lnTo>
                    <a:pt x="12101" y="36582"/>
                  </a:lnTo>
                  <a:lnTo>
                    <a:pt x="10823" y="35315"/>
                  </a:lnTo>
                  <a:lnTo>
                    <a:pt x="8795" y="35656"/>
                  </a:lnTo>
                  <a:lnTo>
                    <a:pt x="7428" y="35667"/>
                  </a:lnTo>
                  <a:lnTo>
                    <a:pt x="7441" y="35449"/>
                  </a:lnTo>
                  <a:lnTo>
                    <a:pt x="6662" y="33207"/>
                  </a:lnTo>
                  <a:lnTo>
                    <a:pt x="7476" y="29769"/>
                  </a:lnTo>
                  <a:lnTo>
                    <a:pt x="5999" y="24732"/>
                  </a:lnTo>
                  <a:lnTo>
                    <a:pt x="3584" y="18657"/>
                  </a:lnTo>
                  <a:lnTo>
                    <a:pt x="3405" y="12135"/>
                  </a:lnTo>
                  <a:lnTo>
                    <a:pt x="3234" y="10666"/>
                  </a:lnTo>
                  <a:lnTo>
                    <a:pt x="9173" y="6980"/>
                  </a:lnTo>
                  <a:lnTo>
                    <a:pt x="16666" y="3027"/>
                  </a:lnTo>
                  <a:lnTo>
                    <a:pt x="18370" y="2669"/>
                  </a:lnTo>
                  <a:lnTo>
                    <a:pt x="25275" y="326"/>
                  </a:lnTo>
                  <a:lnTo>
                    <a:pt x="26197" y="140"/>
                  </a:lnTo>
                  <a:lnTo>
                    <a:pt x="32419" y="574"/>
                  </a:lnTo>
                  <a:lnTo>
                    <a:pt x="37306" y="1131"/>
                  </a:lnTo>
                  <a:lnTo>
                    <a:pt x="41425" y="1062"/>
                  </a:lnTo>
                  <a:lnTo>
                    <a:pt x="43688" y="462"/>
                  </a:lnTo>
                  <a:lnTo>
                    <a:pt x="45738" y="964"/>
                  </a:lnTo>
                  <a:lnTo>
                    <a:pt x="47390" y="2729"/>
                  </a:lnTo>
                  <a:lnTo>
                    <a:pt x="49089" y="2522"/>
                  </a:lnTo>
                  <a:lnTo>
                    <a:pt x="50771" y="1380"/>
                  </a:lnTo>
                  <a:lnTo>
                    <a:pt x="59987" y="2423"/>
                  </a:lnTo>
                  <a:lnTo>
                    <a:pt x="62067" y="2398"/>
                  </a:lnTo>
                  <a:lnTo>
                    <a:pt x="64410" y="2567"/>
                  </a:lnTo>
                  <a:lnTo>
                    <a:pt x="68733" y="3630"/>
                  </a:lnTo>
                  <a:lnTo>
                    <a:pt x="71220" y="4600"/>
                  </a:lnTo>
                  <a:lnTo>
                    <a:pt x="76686" y="4014"/>
                  </a:lnTo>
                  <a:lnTo>
                    <a:pt x="79025" y="3980"/>
                  </a:lnTo>
                  <a:lnTo>
                    <a:pt x="80249" y="3598"/>
                  </a:lnTo>
                  <a:lnTo>
                    <a:pt x="84019" y="937"/>
                  </a:lnTo>
                  <a:lnTo>
                    <a:pt x="85650" y="479"/>
                  </a:lnTo>
                  <a:close/>
                </a:path>
              </a:pathLst>
            </a:custGeom>
            <a:solidFill>
              <a:srgbClr val="C7CDD0"/>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AT" sz="1600" err="1">
                <a:solidFill>
                  <a:schemeClr val="tx1"/>
                </a:solidFill>
                <a:latin typeface="Calibri" panose="020F0502020204030204" pitchFamily="34" charset="0"/>
                <a:cs typeface="Calibri" panose="020F0502020204030204" pitchFamily="34" charset="0"/>
              </a:endParaRPr>
            </a:p>
          </p:txBody>
        </p:sp>
        <p:sp>
          <p:nvSpPr>
            <p:cNvPr id="91" name="ee4p_LU_1_86241">
              <a:extLst>
                <a:ext uri="{FF2B5EF4-FFF2-40B4-BE49-F238E27FC236}">
                  <a16:creationId xmlns:a16="http://schemas.microsoft.com/office/drawing/2014/main" id="{3A4279A4-A9CF-47FD-B39C-80BC6E25FA7B}"/>
                </a:ext>
              </a:extLst>
            </p:cNvPr>
            <p:cNvSpPr>
              <a:spLocks noChangeAspect="1"/>
            </p:cNvSpPr>
            <p:nvPr>
              <p:custDataLst>
                <p:tags r:id="rId29"/>
              </p:custDataLst>
            </p:nvPr>
          </p:nvSpPr>
          <p:spPr>
            <a:xfrm>
              <a:off x="6495620" y="3025491"/>
              <a:ext cx="51521" cy="64659"/>
            </a:xfrm>
            <a:custGeom>
              <a:avLst/>
              <a:gdLst/>
              <a:ahLst/>
              <a:cxnLst/>
              <a:rect l="0" t="0" r="0" b="0"/>
              <a:pathLst>
                <a:path w="17000" h="20787">
                  <a:moveTo>
                    <a:pt x="8657" y="1335"/>
                  </a:moveTo>
                  <a:lnTo>
                    <a:pt x="8476" y="2109"/>
                  </a:lnTo>
                  <a:lnTo>
                    <a:pt x="8508" y="3838"/>
                  </a:lnTo>
                  <a:lnTo>
                    <a:pt x="9136" y="5572"/>
                  </a:lnTo>
                  <a:lnTo>
                    <a:pt x="10611" y="7279"/>
                  </a:lnTo>
                  <a:lnTo>
                    <a:pt x="11743" y="8517"/>
                  </a:lnTo>
                  <a:lnTo>
                    <a:pt x="13259" y="9505"/>
                  </a:lnTo>
                  <a:lnTo>
                    <a:pt x="15830" y="10443"/>
                  </a:lnTo>
                  <a:lnTo>
                    <a:pt x="16856" y="10640"/>
                  </a:lnTo>
                  <a:lnTo>
                    <a:pt x="16999" y="11909"/>
                  </a:lnTo>
                  <a:lnTo>
                    <a:pt x="16800" y="13250"/>
                  </a:lnTo>
                  <a:lnTo>
                    <a:pt x="15912" y="13991"/>
                  </a:lnTo>
                  <a:lnTo>
                    <a:pt x="15074" y="15057"/>
                  </a:lnTo>
                  <a:lnTo>
                    <a:pt x="14446" y="16361"/>
                  </a:lnTo>
                  <a:lnTo>
                    <a:pt x="13785" y="18857"/>
                  </a:lnTo>
                  <a:lnTo>
                    <a:pt x="13695" y="20577"/>
                  </a:lnTo>
                  <a:lnTo>
                    <a:pt x="12213" y="19865"/>
                  </a:lnTo>
                  <a:lnTo>
                    <a:pt x="11436" y="19383"/>
                  </a:lnTo>
                  <a:lnTo>
                    <a:pt x="10084" y="19252"/>
                  </a:lnTo>
                  <a:lnTo>
                    <a:pt x="8732" y="19645"/>
                  </a:lnTo>
                  <a:lnTo>
                    <a:pt x="7720" y="20522"/>
                  </a:lnTo>
                  <a:lnTo>
                    <a:pt x="6333" y="20786"/>
                  </a:lnTo>
                  <a:lnTo>
                    <a:pt x="5185" y="20522"/>
                  </a:lnTo>
                  <a:lnTo>
                    <a:pt x="4509" y="19865"/>
                  </a:lnTo>
                  <a:lnTo>
                    <a:pt x="3900" y="19515"/>
                  </a:lnTo>
                  <a:lnTo>
                    <a:pt x="2177" y="19075"/>
                  </a:lnTo>
                  <a:lnTo>
                    <a:pt x="1431" y="18122"/>
                  </a:lnTo>
                  <a:lnTo>
                    <a:pt x="2000" y="17676"/>
                  </a:lnTo>
                  <a:lnTo>
                    <a:pt x="2489" y="16972"/>
                  </a:lnTo>
                  <a:lnTo>
                    <a:pt x="2908" y="15980"/>
                  </a:lnTo>
                  <a:lnTo>
                    <a:pt x="3436" y="15063"/>
                  </a:lnTo>
                  <a:lnTo>
                    <a:pt x="1740" y="12549"/>
                  </a:lnTo>
                  <a:lnTo>
                    <a:pt x="1393" y="11780"/>
                  </a:lnTo>
                  <a:lnTo>
                    <a:pt x="0" y="10358"/>
                  </a:lnTo>
                  <a:lnTo>
                    <a:pt x="17" y="9636"/>
                  </a:lnTo>
                  <a:lnTo>
                    <a:pt x="350" y="8949"/>
                  </a:lnTo>
                  <a:lnTo>
                    <a:pt x="226" y="8417"/>
                  </a:lnTo>
                  <a:lnTo>
                    <a:pt x="421" y="7149"/>
                  </a:lnTo>
                  <a:lnTo>
                    <a:pt x="1395" y="5949"/>
                  </a:lnTo>
                  <a:lnTo>
                    <a:pt x="2043" y="4464"/>
                  </a:lnTo>
                  <a:lnTo>
                    <a:pt x="3137" y="2439"/>
                  </a:lnTo>
                  <a:lnTo>
                    <a:pt x="5556" y="0"/>
                  </a:lnTo>
                  <a:lnTo>
                    <a:pt x="7292" y="372"/>
                  </a:lnTo>
                  <a:lnTo>
                    <a:pt x="8050" y="364"/>
                  </a:lnTo>
                  <a:lnTo>
                    <a:pt x="8514" y="1255"/>
                  </a:lnTo>
                  <a:close/>
                </a:path>
              </a:pathLst>
            </a:custGeom>
            <a:solidFill>
              <a:srgbClr val="C7CDD0"/>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AT" sz="1600" err="1">
                <a:solidFill>
                  <a:schemeClr val="tx1"/>
                </a:solidFill>
                <a:latin typeface="Calibri" panose="020F0502020204030204" pitchFamily="34" charset="0"/>
                <a:cs typeface="Calibri" panose="020F0502020204030204" pitchFamily="34" charset="0"/>
              </a:endParaRPr>
            </a:p>
          </p:txBody>
        </p:sp>
        <p:sp>
          <p:nvSpPr>
            <p:cNvPr id="92" name="ee4p_LV_1_86241">
              <a:extLst>
                <a:ext uri="{FF2B5EF4-FFF2-40B4-BE49-F238E27FC236}">
                  <a16:creationId xmlns:a16="http://schemas.microsoft.com/office/drawing/2014/main" id="{08778D5A-929D-4DD0-8725-3599D473A18A}"/>
                </a:ext>
              </a:extLst>
            </p:cNvPr>
            <p:cNvSpPr>
              <a:spLocks noChangeAspect="1"/>
            </p:cNvSpPr>
            <p:nvPr>
              <p:custDataLst>
                <p:tags r:id="rId30"/>
              </p:custDataLst>
            </p:nvPr>
          </p:nvSpPr>
          <p:spPr>
            <a:xfrm>
              <a:off x="7520250" y="2278262"/>
              <a:ext cx="481634" cy="235117"/>
            </a:xfrm>
            <a:custGeom>
              <a:avLst/>
              <a:gdLst/>
              <a:ahLst/>
              <a:cxnLst/>
              <a:rect l="0" t="0" r="0" b="0"/>
              <a:pathLst>
                <a:path w="158923" h="75586">
                  <a:moveTo>
                    <a:pt x="140124" y="17113"/>
                  </a:moveTo>
                  <a:lnTo>
                    <a:pt x="142728" y="17243"/>
                  </a:lnTo>
                  <a:lnTo>
                    <a:pt x="143644" y="17749"/>
                  </a:lnTo>
                  <a:lnTo>
                    <a:pt x="144253" y="20242"/>
                  </a:lnTo>
                  <a:lnTo>
                    <a:pt x="147218" y="22202"/>
                  </a:lnTo>
                  <a:lnTo>
                    <a:pt x="149963" y="23827"/>
                  </a:lnTo>
                  <a:lnTo>
                    <a:pt x="150664" y="24577"/>
                  </a:lnTo>
                  <a:lnTo>
                    <a:pt x="150878" y="26024"/>
                  </a:lnTo>
                  <a:lnTo>
                    <a:pt x="150701" y="27712"/>
                  </a:lnTo>
                  <a:lnTo>
                    <a:pt x="150353" y="28586"/>
                  </a:lnTo>
                  <a:lnTo>
                    <a:pt x="149209" y="29593"/>
                  </a:lnTo>
                  <a:lnTo>
                    <a:pt x="148205" y="32139"/>
                  </a:lnTo>
                  <a:lnTo>
                    <a:pt x="148067" y="34560"/>
                  </a:lnTo>
                  <a:lnTo>
                    <a:pt x="146482" y="38739"/>
                  </a:lnTo>
                  <a:lnTo>
                    <a:pt x="146840" y="38816"/>
                  </a:lnTo>
                  <a:lnTo>
                    <a:pt x="150166" y="38063"/>
                  </a:lnTo>
                  <a:lnTo>
                    <a:pt x="151107" y="38495"/>
                  </a:lnTo>
                  <a:lnTo>
                    <a:pt x="151835" y="39417"/>
                  </a:lnTo>
                  <a:lnTo>
                    <a:pt x="152068" y="42035"/>
                  </a:lnTo>
                  <a:lnTo>
                    <a:pt x="153158" y="43211"/>
                  </a:lnTo>
                  <a:lnTo>
                    <a:pt x="154268" y="45048"/>
                  </a:lnTo>
                  <a:lnTo>
                    <a:pt x="154620" y="46477"/>
                  </a:lnTo>
                  <a:lnTo>
                    <a:pt x="156734" y="48178"/>
                  </a:lnTo>
                  <a:lnTo>
                    <a:pt x="156905" y="49277"/>
                  </a:lnTo>
                  <a:lnTo>
                    <a:pt x="158196" y="53160"/>
                  </a:lnTo>
                  <a:lnTo>
                    <a:pt x="158693" y="55393"/>
                  </a:lnTo>
                  <a:lnTo>
                    <a:pt x="158922" y="57119"/>
                  </a:lnTo>
                  <a:lnTo>
                    <a:pt x="158287" y="59309"/>
                  </a:lnTo>
                  <a:lnTo>
                    <a:pt x="157726" y="60790"/>
                  </a:lnTo>
                  <a:lnTo>
                    <a:pt x="157061" y="60700"/>
                  </a:lnTo>
                  <a:lnTo>
                    <a:pt x="155162" y="61090"/>
                  </a:lnTo>
                  <a:lnTo>
                    <a:pt x="152161" y="62874"/>
                  </a:lnTo>
                  <a:lnTo>
                    <a:pt x="147693" y="67069"/>
                  </a:lnTo>
                  <a:lnTo>
                    <a:pt x="146544" y="67998"/>
                  </a:lnTo>
                  <a:lnTo>
                    <a:pt x="145376" y="71187"/>
                  </a:lnTo>
                  <a:lnTo>
                    <a:pt x="145095" y="71510"/>
                  </a:lnTo>
                  <a:lnTo>
                    <a:pt x="142496" y="71363"/>
                  </a:lnTo>
                  <a:lnTo>
                    <a:pt x="141787" y="71287"/>
                  </a:lnTo>
                  <a:lnTo>
                    <a:pt x="139179" y="71351"/>
                  </a:lnTo>
                  <a:lnTo>
                    <a:pt x="133504" y="70522"/>
                  </a:lnTo>
                  <a:lnTo>
                    <a:pt x="131303" y="71070"/>
                  </a:lnTo>
                  <a:lnTo>
                    <a:pt x="128416" y="74291"/>
                  </a:lnTo>
                  <a:lnTo>
                    <a:pt x="127298" y="74764"/>
                  </a:lnTo>
                  <a:lnTo>
                    <a:pt x="123944" y="75210"/>
                  </a:lnTo>
                  <a:lnTo>
                    <a:pt x="123354" y="75585"/>
                  </a:lnTo>
                  <a:lnTo>
                    <a:pt x="122234" y="75434"/>
                  </a:lnTo>
                  <a:lnTo>
                    <a:pt x="119099" y="74460"/>
                  </a:lnTo>
                  <a:lnTo>
                    <a:pt x="116449" y="73012"/>
                  </a:lnTo>
                  <a:lnTo>
                    <a:pt x="114864" y="71096"/>
                  </a:lnTo>
                  <a:lnTo>
                    <a:pt x="112121" y="68460"/>
                  </a:lnTo>
                  <a:lnTo>
                    <a:pt x="110323" y="67113"/>
                  </a:lnTo>
                  <a:lnTo>
                    <a:pt x="107496" y="65425"/>
                  </a:lnTo>
                  <a:lnTo>
                    <a:pt x="102782" y="61979"/>
                  </a:lnTo>
                  <a:lnTo>
                    <a:pt x="101070" y="61188"/>
                  </a:lnTo>
                  <a:lnTo>
                    <a:pt x="92694" y="59682"/>
                  </a:lnTo>
                  <a:lnTo>
                    <a:pt x="89664" y="58995"/>
                  </a:lnTo>
                  <a:lnTo>
                    <a:pt x="86876" y="55079"/>
                  </a:lnTo>
                  <a:lnTo>
                    <a:pt x="85973" y="52805"/>
                  </a:lnTo>
                  <a:lnTo>
                    <a:pt x="84602" y="52398"/>
                  </a:lnTo>
                  <a:lnTo>
                    <a:pt x="83104" y="52877"/>
                  </a:lnTo>
                  <a:lnTo>
                    <a:pt x="81473" y="53335"/>
                  </a:lnTo>
                  <a:lnTo>
                    <a:pt x="77703" y="55996"/>
                  </a:lnTo>
                  <a:lnTo>
                    <a:pt x="76479" y="56378"/>
                  </a:lnTo>
                  <a:lnTo>
                    <a:pt x="74140" y="56412"/>
                  </a:lnTo>
                  <a:lnTo>
                    <a:pt x="68674" y="56998"/>
                  </a:lnTo>
                  <a:lnTo>
                    <a:pt x="66187" y="56028"/>
                  </a:lnTo>
                  <a:lnTo>
                    <a:pt x="61864" y="54965"/>
                  </a:lnTo>
                  <a:lnTo>
                    <a:pt x="59521" y="54796"/>
                  </a:lnTo>
                  <a:lnTo>
                    <a:pt x="57441" y="54821"/>
                  </a:lnTo>
                  <a:lnTo>
                    <a:pt x="48225" y="53778"/>
                  </a:lnTo>
                  <a:lnTo>
                    <a:pt x="46543" y="54920"/>
                  </a:lnTo>
                  <a:lnTo>
                    <a:pt x="44844" y="55127"/>
                  </a:lnTo>
                  <a:lnTo>
                    <a:pt x="43192" y="53362"/>
                  </a:lnTo>
                  <a:lnTo>
                    <a:pt x="41142" y="52860"/>
                  </a:lnTo>
                  <a:lnTo>
                    <a:pt x="38879" y="53460"/>
                  </a:lnTo>
                  <a:lnTo>
                    <a:pt x="34760" y="53529"/>
                  </a:lnTo>
                  <a:lnTo>
                    <a:pt x="29873" y="52972"/>
                  </a:lnTo>
                  <a:lnTo>
                    <a:pt x="23651" y="52538"/>
                  </a:lnTo>
                  <a:lnTo>
                    <a:pt x="22729" y="52724"/>
                  </a:lnTo>
                  <a:lnTo>
                    <a:pt x="15824" y="55067"/>
                  </a:lnTo>
                  <a:lnTo>
                    <a:pt x="14120" y="55425"/>
                  </a:lnTo>
                  <a:lnTo>
                    <a:pt x="6627" y="59378"/>
                  </a:lnTo>
                  <a:lnTo>
                    <a:pt x="688" y="63064"/>
                  </a:lnTo>
                  <a:lnTo>
                    <a:pt x="0" y="57165"/>
                  </a:lnTo>
                  <a:lnTo>
                    <a:pt x="365" y="45323"/>
                  </a:lnTo>
                  <a:lnTo>
                    <a:pt x="1246" y="39431"/>
                  </a:lnTo>
                  <a:lnTo>
                    <a:pt x="5361" y="35991"/>
                  </a:lnTo>
                  <a:lnTo>
                    <a:pt x="7426" y="33308"/>
                  </a:lnTo>
                  <a:lnTo>
                    <a:pt x="8627" y="29723"/>
                  </a:lnTo>
                  <a:lnTo>
                    <a:pt x="8989" y="26401"/>
                  </a:lnTo>
                  <a:lnTo>
                    <a:pt x="9823" y="23652"/>
                  </a:lnTo>
                  <a:lnTo>
                    <a:pt x="15783" y="15747"/>
                  </a:lnTo>
                  <a:lnTo>
                    <a:pt x="20507" y="14891"/>
                  </a:lnTo>
                  <a:lnTo>
                    <a:pt x="26899" y="12692"/>
                  </a:lnTo>
                  <a:lnTo>
                    <a:pt x="34044" y="10858"/>
                  </a:lnTo>
                  <a:lnTo>
                    <a:pt x="35425" y="13191"/>
                  </a:lnTo>
                  <a:lnTo>
                    <a:pt x="36124" y="14970"/>
                  </a:lnTo>
                  <a:lnTo>
                    <a:pt x="44729" y="21440"/>
                  </a:lnTo>
                  <a:lnTo>
                    <a:pt x="46919" y="23609"/>
                  </a:lnTo>
                  <a:lnTo>
                    <a:pt x="50247" y="31029"/>
                  </a:lnTo>
                  <a:lnTo>
                    <a:pt x="58217" y="34782"/>
                  </a:lnTo>
                  <a:lnTo>
                    <a:pt x="64483" y="33598"/>
                  </a:lnTo>
                  <a:lnTo>
                    <a:pt x="67206" y="31776"/>
                  </a:lnTo>
                  <a:lnTo>
                    <a:pt x="72225" y="28414"/>
                  </a:lnTo>
                  <a:lnTo>
                    <a:pt x="74466" y="25950"/>
                  </a:lnTo>
                  <a:lnTo>
                    <a:pt x="74922" y="23572"/>
                  </a:lnTo>
                  <a:lnTo>
                    <a:pt x="74032" y="13378"/>
                  </a:lnTo>
                  <a:lnTo>
                    <a:pt x="72674" y="8945"/>
                  </a:lnTo>
                  <a:lnTo>
                    <a:pt x="73138" y="6179"/>
                  </a:lnTo>
                  <a:lnTo>
                    <a:pt x="74021" y="6322"/>
                  </a:lnTo>
                  <a:lnTo>
                    <a:pt x="76153" y="4987"/>
                  </a:lnTo>
                  <a:lnTo>
                    <a:pt x="83160" y="2507"/>
                  </a:lnTo>
                  <a:lnTo>
                    <a:pt x="84559" y="2396"/>
                  </a:lnTo>
                  <a:lnTo>
                    <a:pt x="86157" y="1887"/>
                  </a:lnTo>
                  <a:lnTo>
                    <a:pt x="90573" y="0"/>
                  </a:lnTo>
                  <a:lnTo>
                    <a:pt x="91992" y="1004"/>
                  </a:lnTo>
                  <a:lnTo>
                    <a:pt x="93175" y="2144"/>
                  </a:lnTo>
                  <a:lnTo>
                    <a:pt x="93829" y="2158"/>
                  </a:lnTo>
                  <a:lnTo>
                    <a:pt x="94147" y="1734"/>
                  </a:lnTo>
                  <a:lnTo>
                    <a:pt x="94058" y="1001"/>
                  </a:lnTo>
                  <a:lnTo>
                    <a:pt x="94367" y="479"/>
                  </a:lnTo>
                  <a:lnTo>
                    <a:pt x="95637" y="769"/>
                  </a:lnTo>
                  <a:lnTo>
                    <a:pt x="100750" y="3869"/>
                  </a:lnTo>
                  <a:lnTo>
                    <a:pt x="102715" y="4593"/>
                  </a:lnTo>
                  <a:lnTo>
                    <a:pt x="104058" y="4796"/>
                  </a:lnTo>
                  <a:lnTo>
                    <a:pt x="105669" y="6245"/>
                  </a:lnTo>
                  <a:lnTo>
                    <a:pt x="110033" y="7217"/>
                  </a:lnTo>
                  <a:lnTo>
                    <a:pt x="110567" y="7966"/>
                  </a:lnTo>
                  <a:lnTo>
                    <a:pt x="110901" y="8900"/>
                  </a:lnTo>
                  <a:lnTo>
                    <a:pt x="114985" y="12822"/>
                  </a:lnTo>
                  <a:lnTo>
                    <a:pt x="116820" y="14788"/>
                  </a:lnTo>
                  <a:lnTo>
                    <a:pt x="120448" y="16592"/>
                  </a:lnTo>
                  <a:lnTo>
                    <a:pt x="122007" y="17021"/>
                  </a:lnTo>
                  <a:lnTo>
                    <a:pt x="128356" y="15182"/>
                  </a:lnTo>
                  <a:lnTo>
                    <a:pt x="130127" y="14542"/>
                  </a:lnTo>
                  <a:lnTo>
                    <a:pt x="131590" y="14532"/>
                  </a:lnTo>
                  <a:lnTo>
                    <a:pt x="133081" y="15500"/>
                  </a:lnTo>
                  <a:lnTo>
                    <a:pt x="136479" y="16788"/>
                  </a:lnTo>
                  <a:lnTo>
                    <a:pt x="139563" y="17196"/>
                  </a:lnTo>
                  <a:close/>
                </a:path>
              </a:pathLst>
            </a:custGeom>
            <a:solidFill>
              <a:srgbClr val="C7CDD0"/>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AT" sz="1600" err="1">
                <a:solidFill>
                  <a:schemeClr val="tx1"/>
                </a:solidFill>
                <a:latin typeface="Calibri" panose="020F0502020204030204" pitchFamily="34" charset="0"/>
                <a:cs typeface="Calibri" panose="020F0502020204030204" pitchFamily="34" charset="0"/>
              </a:endParaRPr>
            </a:p>
          </p:txBody>
        </p:sp>
        <p:sp>
          <p:nvSpPr>
            <p:cNvPr id="93" name="ee4p_MC_1_86241">
              <a:extLst>
                <a:ext uri="{FF2B5EF4-FFF2-40B4-BE49-F238E27FC236}">
                  <a16:creationId xmlns:a16="http://schemas.microsoft.com/office/drawing/2014/main" id="{C49A4A1D-02EE-446C-91F7-6FA5ECB61EC2}"/>
                </a:ext>
              </a:extLst>
            </p:cNvPr>
            <p:cNvSpPr>
              <a:spLocks noChangeAspect="1"/>
            </p:cNvSpPr>
            <p:nvPr>
              <p:custDataLst>
                <p:tags r:id="rId31"/>
              </p:custDataLst>
            </p:nvPr>
          </p:nvSpPr>
          <p:spPr>
            <a:xfrm>
              <a:off x="6606374" y="3580996"/>
              <a:ext cx="4088" cy="3291"/>
            </a:xfrm>
            <a:custGeom>
              <a:avLst/>
              <a:gdLst/>
              <a:ahLst/>
              <a:cxnLst/>
              <a:rect l="0" t="0" r="0" b="0"/>
              <a:pathLst>
                <a:path w="1349" h="1058">
                  <a:moveTo>
                    <a:pt x="1348" y="552"/>
                  </a:moveTo>
                  <a:lnTo>
                    <a:pt x="0" y="1057"/>
                  </a:lnTo>
                  <a:lnTo>
                    <a:pt x="52" y="477"/>
                  </a:lnTo>
                  <a:lnTo>
                    <a:pt x="383" y="150"/>
                  </a:lnTo>
                  <a:lnTo>
                    <a:pt x="812" y="0"/>
                  </a:lnTo>
                  <a:lnTo>
                    <a:pt x="1309" y="254"/>
                  </a:lnTo>
                  <a:close/>
                </a:path>
              </a:pathLst>
            </a:custGeom>
            <a:solidFill>
              <a:srgbClr val="C7CDD0"/>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AT" sz="1600" err="1">
                <a:solidFill>
                  <a:schemeClr val="tx1"/>
                </a:solidFill>
                <a:latin typeface="Calibri" panose="020F0502020204030204" pitchFamily="34" charset="0"/>
                <a:cs typeface="Calibri" panose="020F0502020204030204" pitchFamily="34" charset="0"/>
              </a:endParaRPr>
            </a:p>
          </p:txBody>
        </p:sp>
        <p:sp>
          <p:nvSpPr>
            <p:cNvPr id="94" name="ee4p_MD_1_86241">
              <a:extLst>
                <a:ext uri="{FF2B5EF4-FFF2-40B4-BE49-F238E27FC236}">
                  <a16:creationId xmlns:a16="http://schemas.microsoft.com/office/drawing/2014/main" id="{6FD202FC-41A4-41D2-8A3E-033D9D96E39B}"/>
                </a:ext>
              </a:extLst>
            </p:cNvPr>
            <p:cNvSpPr>
              <a:spLocks noChangeAspect="1"/>
            </p:cNvSpPr>
            <p:nvPr>
              <p:custDataLst>
                <p:tags r:id="rId32"/>
              </p:custDataLst>
            </p:nvPr>
          </p:nvSpPr>
          <p:spPr>
            <a:xfrm>
              <a:off x="7895792" y="3176003"/>
              <a:ext cx="235360" cy="262754"/>
            </a:xfrm>
            <a:custGeom>
              <a:avLst/>
              <a:gdLst/>
              <a:ahLst/>
              <a:cxnLst/>
              <a:rect l="0" t="0" r="0" b="0"/>
              <a:pathLst>
                <a:path w="77661" h="84471">
                  <a:moveTo>
                    <a:pt x="35237" y="84470"/>
                  </a:moveTo>
                  <a:lnTo>
                    <a:pt x="34131" y="82731"/>
                  </a:lnTo>
                  <a:lnTo>
                    <a:pt x="33013" y="81209"/>
                  </a:lnTo>
                  <a:lnTo>
                    <a:pt x="32190" y="80389"/>
                  </a:lnTo>
                  <a:lnTo>
                    <a:pt x="32536" y="80010"/>
                  </a:lnTo>
                  <a:lnTo>
                    <a:pt x="33432" y="79583"/>
                  </a:lnTo>
                  <a:lnTo>
                    <a:pt x="34071" y="79065"/>
                  </a:lnTo>
                  <a:lnTo>
                    <a:pt x="33993" y="77249"/>
                  </a:lnTo>
                  <a:lnTo>
                    <a:pt x="33522" y="75161"/>
                  </a:lnTo>
                  <a:lnTo>
                    <a:pt x="33093" y="74151"/>
                  </a:lnTo>
                  <a:lnTo>
                    <a:pt x="33050" y="72565"/>
                  </a:lnTo>
                  <a:lnTo>
                    <a:pt x="32743" y="70094"/>
                  </a:lnTo>
                  <a:lnTo>
                    <a:pt x="33172" y="65505"/>
                  </a:lnTo>
                  <a:lnTo>
                    <a:pt x="34952" y="59722"/>
                  </a:lnTo>
                  <a:lnTo>
                    <a:pt x="35941" y="56846"/>
                  </a:lnTo>
                  <a:lnTo>
                    <a:pt x="35461" y="55270"/>
                  </a:lnTo>
                  <a:lnTo>
                    <a:pt x="35833" y="51581"/>
                  </a:lnTo>
                  <a:lnTo>
                    <a:pt x="35064" y="49757"/>
                  </a:lnTo>
                  <a:lnTo>
                    <a:pt x="33855" y="47372"/>
                  </a:lnTo>
                  <a:lnTo>
                    <a:pt x="32125" y="42179"/>
                  </a:lnTo>
                  <a:lnTo>
                    <a:pt x="29968" y="40370"/>
                  </a:lnTo>
                  <a:lnTo>
                    <a:pt x="27305" y="38379"/>
                  </a:lnTo>
                  <a:lnTo>
                    <a:pt x="26167" y="36875"/>
                  </a:lnTo>
                  <a:lnTo>
                    <a:pt x="25407" y="35217"/>
                  </a:lnTo>
                  <a:lnTo>
                    <a:pt x="23820" y="33570"/>
                  </a:lnTo>
                  <a:lnTo>
                    <a:pt x="22004" y="32055"/>
                  </a:lnTo>
                  <a:lnTo>
                    <a:pt x="19832" y="28268"/>
                  </a:lnTo>
                  <a:lnTo>
                    <a:pt x="18705" y="26555"/>
                  </a:lnTo>
                  <a:lnTo>
                    <a:pt x="18359" y="26093"/>
                  </a:lnTo>
                  <a:lnTo>
                    <a:pt x="15876" y="23660"/>
                  </a:lnTo>
                  <a:lnTo>
                    <a:pt x="14572" y="21460"/>
                  </a:lnTo>
                  <a:lnTo>
                    <a:pt x="13913" y="19652"/>
                  </a:lnTo>
                  <a:lnTo>
                    <a:pt x="13531" y="17976"/>
                  </a:lnTo>
                  <a:lnTo>
                    <a:pt x="11788" y="14664"/>
                  </a:lnTo>
                  <a:lnTo>
                    <a:pt x="10203" y="12170"/>
                  </a:lnTo>
                  <a:lnTo>
                    <a:pt x="8696" y="10395"/>
                  </a:lnTo>
                  <a:lnTo>
                    <a:pt x="8001" y="9137"/>
                  </a:lnTo>
                  <a:lnTo>
                    <a:pt x="6237" y="7551"/>
                  </a:lnTo>
                  <a:lnTo>
                    <a:pt x="3723" y="6287"/>
                  </a:lnTo>
                  <a:lnTo>
                    <a:pt x="2097" y="6070"/>
                  </a:lnTo>
                  <a:lnTo>
                    <a:pt x="0" y="6172"/>
                  </a:lnTo>
                  <a:lnTo>
                    <a:pt x="475" y="5202"/>
                  </a:lnTo>
                  <a:lnTo>
                    <a:pt x="5044" y="2568"/>
                  </a:lnTo>
                  <a:lnTo>
                    <a:pt x="6228" y="2999"/>
                  </a:lnTo>
                  <a:lnTo>
                    <a:pt x="8614" y="3103"/>
                  </a:lnTo>
                  <a:lnTo>
                    <a:pt x="13479" y="3013"/>
                  </a:lnTo>
                  <a:lnTo>
                    <a:pt x="15876" y="1277"/>
                  </a:lnTo>
                  <a:lnTo>
                    <a:pt x="17355" y="1761"/>
                  </a:lnTo>
                  <a:lnTo>
                    <a:pt x="18562" y="983"/>
                  </a:lnTo>
                  <a:lnTo>
                    <a:pt x="20571" y="0"/>
                  </a:lnTo>
                  <a:lnTo>
                    <a:pt x="20858" y="208"/>
                  </a:lnTo>
                  <a:lnTo>
                    <a:pt x="21112" y="364"/>
                  </a:lnTo>
                  <a:lnTo>
                    <a:pt x="24224" y="800"/>
                  </a:lnTo>
                  <a:lnTo>
                    <a:pt x="26559" y="1743"/>
                  </a:lnTo>
                  <a:lnTo>
                    <a:pt x="28120" y="3189"/>
                  </a:lnTo>
                  <a:lnTo>
                    <a:pt x="29728" y="4087"/>
                  </a:lnTo>
                  <a:lnTo>
                    <a:pt x="31389" y="4434"/>
                  </a:lnTo>
                  <a:lnTo>
                    <a:pt x="32309" y="5155"/>
                  </a:lnTo>
                  <a:lnTo>
                    <a:pt x="32495" y="6253"/>
                  </a:lnTo>
                  <a:lnTo>
                    <a:pt x="34049" y="6791"/>
                  </a:lnTo>
                  <a:lnTo>
                    <a:pt x="36973" y="6775"/>
                  </a:lnTo>
                  <a:lnTo>
                    <a:pt x="38215" y="7497"/>
                  </a:lnTo>
                  <a:lnTo>
                    <a:pt x="37768" y="8956"/>
                  </a:lnTo>
                  <a:lnTo>
                    <a:pt x="38068" y="9437"/>
                  </a:lnTo>
                  <a:lnTo>
                    <a:pt x="39107" y="8937"/>
                  </a:lnTo>
                  <a:lnTo>
                    <a:pt x="39893" y="9368"/>
                  </a:lnTo>
                  <a:lnTo>
                    <a:pt x="40312" y="10447"/>
                  </a:lnTo>
                  <a:lnTo>
                    <a:pt x="40778" y="10960"/>
                  </a:lnTo>
                  <a:lnTo>
                    <a:pt x="42268" y="9271"/>
                  </a:lnTo>
                  <a:lnTo>
                    <a:pt x="43842" y="9438"/>
                  </a:lnTo>
                  <a:lnTo>
                    <a:pt x="47649" y="10139"/>
                  </a:lnTo>
                  <a:lnTo>
                    <a:pt x="49683" y="13638"/>
                  </a:lnTo>
                  <a:lnTo>
                    <a:pt x="50951" y="14894"/>
                  </a:lnTo>
                  <a:lnTo>
                    <a:pt x="52060" y="15405"/>
                  </a:lnTo>
                  <a:lnTo>
                    <a:pt x="53467" y="14860"/>
                  </a:lnTo>
                  <a:lnTo>
                    <a:pt x="54706" y="14208"/>
                  </a:lnTo>
                  <a:lnTo>
                    <a:pt x="55423" y="14515"/>
                  </a:lnTo>
                  <a:lnTo>
                    <a:pt x="56958" y="16830"/>
                  </a:lnTo>
                  <a:lnTo>
                    <a:pt x="57319" y="19856"/>
                  </a:lnTo>
                  <a:lnTo>
                    <a:pt x="57310" y="21079"/>
                  </a:lnTo>
                  <a:lnTo>
                    <a:pt x="56764" y="23130"/>
                  </a:lnTo>
                  <a:lnTo>
                    <a:pt x="55987" y="25314"/>
                  </a:lnTo>
                  <a:lnTo>
                    <a:pt x="55369" y="26732"/>
                  </a:lnTo>
                  <a:lnTo>
                    <a:pt x="55632" y="27873"/>
                  </a:lnTo>
                  <a:lnTo>
                    <a:pt x="56183" y="28828"/>
                  </a:lnTo>
                  <a:lnTo>
                    <a:pt x="57086" y="29142"/>
                  </a:lnTo>
                  <a:lnTo>
                    <a:pt x="60031" y="31069"/>
                  </a:lnTo>
                  <a:lnTo>
                    <a:pt x="61128" y="32405"/>
                  </a:lnTo>
                  <a:lnTo>
                    <a:pt x="62726" y="33396"/>
                  </a:lnTo>
                  <a:lnTo>
                    <a:pt x="63942" y="33450"/>
                  </a:lnTo>
                  <a:lnTo>
                    <a:pt x="64572" y="34002"/>
                  </a:lnTo>
                  <a:lnTo>
                    <a:pt x="64797" y="34679"/>
                  </a:lnTo>
                  <a:lnTo>
                    <a:pt x="64631" y="36393"/>
                  </a:lnTo>
                  <a:lnTo>
                    <a:pt x="63948" y="38001"/>
                  </a:lnTo>
                  <a:lnTo>
                    <a:pt x="64039" y="39032"/>
                  </a:lnTo>
                  <a:lnTo>
                    <a:pt x="65110" y="40250"/>
                  </a:lnTo>
                  <a:lnTo>
                    <a:pt x="65224" y="41668"/>
                  </a:lnTo>
                  <a:lnTo>
                    <a:pt x="65298" y="42580"/>
                  </a:lnTo>
                  <a:lnTo>
                    <a:pt x="65868" y="43283"/>
                  </a:lnTo>
                  <a:lnTo>
                    <a:pt x="68565" y="44842"/>
                  </a:lnTo>
                  <a:lnTo>
                    <a:pt x="72061" y="46347"/>
                  </a:lnTo>
                  <a:lnTo>
                    <a:pt x="72951" y="47642"/>
                  </a:lnTo>
                  <a:lnTo>
                    <a:pt x="73491" y="49274"/>
                  </a:lnTo>
                  <a:lnTo>
                    <a:pt x="73320" y="52021"/>
                  </a:lnTo>
                  <a:lnTo>
                    <a:pt x="73089" y="54415"/>
                  </a:lnTo>
                  <a:lnTo>
                    <a:pt x="77660" y="57628"/>
                  </a:lnTo>
                  <a:lnTo>
                    <a:pt x="77140" y="58225"/>
                  </a:lnTo>
                  <a:lnTo>
                    <a:pt x="76436" y="58883"/>
                  </a:lnTo>
                  <a:lnTo>
                    <a:pt x="72065" y="59372"/>
                  </a:lnTo>
                  <a:lnTo>
                    <a:pt x="71178" y="59640"/>
                  </a:lnTo>
                  <a:lnTo>
                    <a:pt x="69278" y="57220"/>
                  </a:lnTo>
                  <a:lnTo>
                    <a:pt x="68280" y="56917"/>
                  </a:lnTo>
                  <a:lnTo>
                    <a:pt x="67345" y="57804"/>
                  </a:lnTo>
                  <a:lnTo>
                    <a:pt x="66248" y="58301"/>
                  </a:lnTo>
                  <a:lnTo>
                    <a:pt x="64924" y="58053"/>
                  </a:lnTo>
                  <a:lnTo>
                    <a:pt x="63507" y="57307"/>
                  </a:lnTo>
                  <a:lnTo>
                    <a:pt x="62795" y="56777"/>
                  </a:lnTo>
                  <a:lnTo>
                    <a:pt x="62221" y="56716"/>
                  </a:lnTo>
                  <a:lnTo>
                    <a:pt x="61337" y="57245"/>
                  </a:lnTo>
                  <a:lnTo>
                    <a:pt x="60158" y="57018"/>
                  </a:lnTo>
                  <a:lnTo>
                    <a:pt x="59392" y="56421"/>
                  </a:lnTo>
                  <a:lnTo>
                    <a:pt x="58280" y="58473"/>
                  </a:lnTo>
                  <a:lnTo>
                    <a:pt x="57600" y="58907"/>
                  </a:lnTo>
                  <a:lnTo>
                    <a:pt x="57174" y="58841"/>
                  </a:lnTo>
                  <a:lnTo>
                    <a:pt x="57090" y="55356"/>
                  </a:lnTo>
                  <a:lnTo>
                    <a:pt x="56768" y="54828"/>
                  </a:lnTo>
                  <a:lnTo>
                    <a:pt x="55885" y="54747"/>
                  </a:lnTo>
                  <a:lnTo>
                    <a:pt x="53754" y="55576"/>
                  </a:lnTo>
                  <a:lnTo>
                    <a:pt x="51730" y="56645"/>
                  </a:lnTo>
                  <a:lnTo>
                    <a:pt x="51046" y="57599"/>
                  </a:lnTo>
                  <a:lnTo>
                    <a:pt x="51115" y="59315"/>
                  </a:lnTo>
                  <a:lnTo>
                    <a:pt x="51406" y="61361"/>
                  </a:lnTo>
                  <a:lnTo>
                    <a:pt x="52788" y="64460"/>
                  </a:lnTo>
                  <a:lnTo>
                    <a:pt x="52028" y="65810"/>
                  </a:lnTo>
                  <a:lnTo>
                    <a:pt x="51495" y="67958"/>
                  </a:lnTo>
                  <a:lnTo>
                    <a:pt x="49323" y="69927"/>
                  </a:lnTo>
                  <a:lnTo>
                    <a:pt x="46874" y="71072"/>
                  </a:lnTo>
                  <a:lnTo>
                    <a:pt x="46664" y="73421"/>
                  </a:lnTo>
                  <a:lnTo>
                    <a:pt x="45300" y="75024"/>
                  </a:lnTo>
                  <a:lnTo>
                    <a:pt x="42972" y="76624"/>
                  </a:lnTo>
                  <a:lnTo>
                    <a:pt x="41408" y="78551"/>
                  </a:lnTo>
                  <a:lnTo>
                    <a:pt x="41804" y="79870"/>
                  </a:lnTo>
                  <a:lnTo>
                    <a:pt x="41899" y="81119"/>
                  </a:lnTo>
                  <a:lnTo>
                    <a:pt x="41633" y="81967"/>
                  </a:lnTo>
                  <a:lnTo>
                    <a:pt x="41573" y="82622"/>
                  </a:lnTo>
                  <a:lnTo>
                    <a:pt x="40962" y="82912"/>
                  </a:lnTo>
                  <a:lnTo>
                    <a:pt x="37401" y="83148"/>
                  </a:lnTo>
                  <a:lnTo>
                    <a:pt x="36394" y="83552"/>
                  </a:lnTo>
                  <a:close/>
                </a:path>
              </a:pathLst>
            </a:custGeom>
            <a:solidFill>
              <a:srgbClr val="C7CDD0"/>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AT" sz="1600" err="1">
                <a:solidFill>
                  <a:schemeClr val="tx1"/>
                </a:solidFill>
                <a:latin typeface="Calibri" panose="020F0502020204030204" pitchFamily="34" charset="0"/>
                <a:cs typeface="Calibri" panose="020F0502020204030204" pitchFamily="34" charset="0"/>
              </a:endParaRPr>
            </a:p>
          </p:txBody>
        </p:sp>
        <p:sp>
          <p:nvSpPr>
            <p:cNvPr id="95" name="ee4p_MK_1_86241">
              <a:extLst>
                <a:ext uri="{FF2B5EF4-FFF2-40B4-BE49-F238E27FC236}">
                  <a16:creationId xmlns:a16="http://schemas.microsoft.com/office/drawing/2014/main" id="{29B10E0B-55F8-40EB-A542-443B01313288}"/>
                </a:ext>
              </a:extLst>
            </p:cNvPr>
            <p:cNvSpPr>
              <a:spLocks noChangeAspect="1"/>
            </p:cNvSpPr>
            <p:nvPr>
              <p:custDataLst>
                <p:tags r:id="rId33"/>
              </p:custDataLst>
            </p:nvPr>
          </p:nvSpPr>
          <p:spPr>
            <a:xfrm>
              <a:off x="7482300" y="3698838"/>
              <a:ext cx="171357" cy="124103"/>
            </a:xfrm>
            <a:custGeom>
              <a:avLst/>
              <a:gdLst/>
              <a:ahLst/>
              <a:cxnLst/>
              <a:rect l="0" t="0" r="0" b="0"/>
              <a:pathLst>
                <a:path w="56542" h="39897">
                  <a:moveTo>
                    <a:pt x="41911" y="1177"/>
                  </a:moveTo>
                  <a:lnTo>
                    <a:pt x="45321" y="5138"/>
                  </a:lnTo>
                  <a:lnTo>
                    <a:pt x="47188" y="6740"/>
                  </a:lnTo>
                  <a:lnTo>
                    <a:pt x="49391" y="7954"/>
                  </a:lnTo>
                  <a:lnTo>
                    <a:pt x="51907" y="8842"/>
                  </a:lnTo>
                  <a:lnTo>
                    <a:pt x="52807" y="9694"/>
                  </a:lnTo>
                  <a:lnTo>
                    <a:pt x="54407" y="13896"/>
                  </a:lnTo>
                  <a:lnTo>
                    <a:pt x="55176" y="15489"/>
                  </a:lnTo>
                  <a:lnTo>
                    <a:pt x="56238" y="15963"/>
                  </a:lnTo>
                  <a:lnTo>
                    <a:pt x="56495" y="16423"/>
                  </a:lnTo>
                  <a:lnTo>
                    <a:pt x="56541" y="17029"/>
                  </a:lnTo>
                  <a:lnTo>
                    <a:pt x="55342" y="19975"/>
                  </a:lnTo>
                  <a:lnTo>
                    <a:pt x="54861" y="26568"/>
                  </a:lnTo>
                  <a:lnTo>
                    <a:pt x="54559" y="27091"/>
                  </a:lnTo>
                  <a:lnTo>
                    <a:pt x="53304" y="27062"/>
                  </a:lnTo>
                  <a:lnTo>
                    <a:pt x="51637" y="27204"/>
                  </a:lnTo>
                  <a:lnTo>
                    <a:pt x="51000" y="27712"/>
                  </a:lnTo>
                  <a:lnTo>
                    <a:pt x="50331" y="31250"/>
                  </a:lnTo>
                  <a:lnTo>
                    <a:pt x="47650" y="32260"/>
                  </a:lnTo>
                  <a:lnTo>
                    <a:pt x="45217" y="32831"/>
                  </a:lnTo>
                  <a:lnTo>
                    <a:pt x="43165" y="32703"/>
                  </a:lnTo>
                  <a:lnTo>
                    <a:pt x="39559" y="31865"/>
                  </a:lnTo>
                  <a:lnTo>
                    <a:pt x="38382" y="31774"/>
                  </a:lnTo>
                  <a:lnTo>
                    <a:pt x="37374" y="32252"/>
                  </a:lnTo>
                  <a:lnTo>
                    <a:pt x="34157" y="32503"/>
                  </a:lnTo>
                  <a:lnTo>
                    <a:pt x="32744" y="33123"/>
                  </a:lnTo>
                  <a:lnTo>
                    <a:pt x="29428" y="37254"/>
                  </a:lnTo>
                  <a:lnTo>
                    <a:pt x="26068" y="38676"/>
                  </a:lnTo>
                  <a:lnTo>
                    <a:pt x="24923" y="39396"/>
                  </a:lnTo>
                  <a:lnTo>
                    <a:pt x="22356" y="38485"/>
                  </a:lnTo>
                  <a:lnTo>
                    <a:pt x="21127" y="38391"/>
                  </a:lnTo>
                  <a:lnTo>
                    <a:pt x="19350" y="39443"/>
                  </a:lnTo>
                  <a:lnTo>
                    <a:pt x="15454" y="39549"/>
                  </a:lnTo>
                  <a:lnTo>
                    <a:pt x="14403" y="39732"/>
                  </a:lnTo>
                  <a:lnTo>
                    <a:pt x="11401" y="39896"/>
                  </a:lnTo>
                  <a:lnTo>
                    <a:pt x="11276" y="39328"/>
                  </a:lnTo>
                  <a:lnTo>
                    <a:pt x="10721" y="38498"/>
                  </a:lnTo>
                  <a:lnTo>
                    <a:pt x="9321" y="38109"/>
                  </a:lnTo>
                  <a:lnTo>
                    <a:pt x="6460" y="38441"/>
                  </a:lnTo>
                  <a:lnTo>
                    <a:pt x="5763" y="37834"/>
                  </a:lnTo>
                  <a:lnTo>
                    <a:pt x="4586" y="34328"/>
                  </a:lnTo>
                  <a:lnTo>
                    <a:pt x="3666" y="33765"/>
                  </a:lnTo>
                  <a:lnTo>
                    <a:pt x="2636" y="32586"/>
                  </a:lnTo>
                  <a:lnTo>
                    <a:pt x="891" y="28770"/>
                  </a:lnTo>
                  <a:lnTo>
                    <a:pt x="848" y="27096"/>
                  </a:lnTo>
                  <a:lnTo>
                    <a:pt x="967" y="25636"/>
                  </a:lnTo>
                  <a:lnTo>
                    <a:pt x="0" y="22205"/>
                  </a:lnTo>
                  <a:lnTo>
                    <a:pt x="596" y="21337"/>
                  </a:lnTo>
                  <a:lnTo>
                    <a:pt x="1494" y="20791"/>
                  </a:lnTo>
                  <a:lnTo>
                    <a:pt x="1503" y="19408"/>
                  </a:lnTo>
                  <a:lnTo>
                    <a:pt x="1250" y="17306"/>
                  </a:lnTo>
                  <a:lnTo>
                    <a:pt x="2310" y="13176"/>
                  </a:lnTo>
                  <a:lnTo>
                    <a:pt x="2599" y="12876"/>
                  </a:lnTo>
                  <a:lnTo>
                    <a:pt x="2871" y="13074"/>
                  </a:lnTo>
                  <a:lnTo>
                    <a:pt x="5445" y="13403"/>
                  </a:lnTo>
                  <a:lnTo>
                    <a:pt x="6110" y="12880"/>
                  </a:lnTo>
                  <a:lnTo>
                    <a:pt x="6534" y="12064"/>
                  </a:lnTo>
                  <a:lnTo>
                    <a:pt x="6672" y="9037"/>
                  </a:lnTo>
                  <a:lnTo>
                    <a:pt x="7285" y="7638"/>
                  </a:lnTo>
                  <a:lnTo>
                    <a:pt x="13513" y="4973"/>
                  </a:lnTo>
                  <a:lnTo>
                    <a:pt x="15342" y="4875"/>
                  </a:lnTo>
                  <a:lnTo>
                    <a:pt x="16748" y="6099"/>
                  </a:lnTo>
                  <a:lnTo>
                    <a:pt x="17860" y="6881"/>
                  </a:lnTo>
                  <a:lnTo>
                    <a:pt x="18529" y="6858"/>
                  </a:lnTo>
                  <a:lnTo>
                    <a:pt x="18771" y="6069"/>
                  </a:lnTo>
                  <a:lnTo>
                    <a:pt x="19527" y="4551"/>
                  </a:lnTo>
                  <a:lnTo>
                    <a:pt x="20805" y="3682"/>
                  </a:lnTo>
                  <a:lnTo>
                    <a:pt x="24593" y="2942"/>
                  </a:lnTo>
                  <a:lnTo>
                    <a:pt x="24629" y="2946"/>
                  </a:lnTo>
                  <a:lnTo>
                    <a:pt x="25862" y="3089"/>
                  </a:lnTo>
                  <a:lnTo>
                    <a:pt x="28538" y="2408"/>
                  </a:lnTo>
                  <a:lnTo>
                    <a:pt x="30205" y="1466"/>
                  </a:lnTo>
                  <a:lnTo>
                    <a:pt x="31053" y="1325"/>
                  </a:lnTo>
                  <a:lnTo>
                    <a:pt x="32183" y="961"/>
                  </a:lnTo>
                  <a:lnTo>
                    <a:pt x="33807" y="1015"/>
                  </a:lnTo>
                  <a:lnTo>
                    <a:pt x="35454" y="1425"/>
                  </a:lnTo>
                  <a:lnTo>
                    <a:pt x="37547" y="883"/>
                  </a:lnTo>
                  <a:lnTo>
                    <a:pt x="39605" y="0"/>
                  </a:lnTo>
                  <a:lnTo>
                    <a:pt x="40430" y="221"/>
                  </a:lnTo>
                  <a:lnTo>
                    <a:pt x="41321" y="970"/>
                  </a:lnTo>
                  <a:close/>
                </a:path>
              </a:pathLst>
            </a:custGeom>
            <a:solidFill>
              <a:srgbClr val="C7CDD0"/>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AT" sz="1600" err="1">
                <a:solidFill>
                  <a:schemeClr val="tx1"/>
                </a:solidFill>
                <a:latin typeface="Calibri" panose="020F0502020204030204" pitchFamily="34" charset="0"/>
                <a:cs typeface="Calibri" panose="020F0502020204030204" pitchFamily="34" charset="0"/>
              </a:endParaRPr>
            </a:p>
          </p:txBody>
        </p:sp>
        <p:sp>
          <p:nvSpPr>
            <p:cNvPr id="96" name="ee4p_MT_1_86241">
              <a:extLst>
                <a:ext uri="{FF2B5EF4-FFF2-40B4-BE49-F238E27FC236}">
                  <a16:creationId xmlns:a16="http://schemas.microsoft.com/office/drawing/2014/main" id="{F18CD898-76D2-45AF-A396-C9285445E12A}"/>
                </a:ext>
              </a:extLst>
            </p:cNvPr>
            <p:cNvSpPr>
              <a:spLocks noChangeAspect="1"/>
            </p:cNvSpPr>
            <p:nvPr>
              <p:custDataLst>
                <p:tags r:id="rId34"/>
              </p:custDataLst>
            </p:nvPr>
          </p:nvSpPr>
          <p:spPr>
            <a:xfrm>
              <a:off x="7073695" y="4212875"/>
              <a:ext cx="14408" cy="12411"/>
            </a:xfrm>
            <a:custGeom>
              <a:avLst/>
              <a:gdLst/>
              <a:ahLst/>
              <a:cxnLst/>
              <a:rect l="0" t="0" r="0" b="0"/>
              <a:pathLst>
                <a:path w="4754" h="3990">
                  <a:moveTo>
                    <a:pt x="4753" y="3169"/>
                  </a:moveTo>
                  <a:lnTo>
                    <a:pt x="4012" y="3989"/>
                  </a:lnTo>
                  <a:lnTo>
                    <a:pt x="1883" y="3952"/>
                  </a:lnTo>
                  <a:lnTo>
                    <a:pt x="24" y="2677"/>
                  </a:lnTo>
                  <a:lnTo>
                    <a:pt x="0" y="0"/>
                  </a:lnTo>
                  <a:lnTo>
                    <a:pt x="2146" y="530"/>
                  </a:lnTo>
                  <a:lnTo>
                    <a:pt x="4107" y="2324"/>
                  </a:lnTo>
                  <a:close/>
                </a:path>
              </a:pathLst>
            </a:custGeom>
            <a:solidFill>
              <a:srgbClr val="C7CDD0"/>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AT" sz="1600" err="1">
                <a:solidFill>
                  <a:schemeClr val="tx1"/>
                </a:solidFill>
                <a:latin typeface="Calibri" panose="020F0502020204030204" pitchFamily="34" charset="0"/>
                <a:cs typeface="Calibri" panose="020F0502020204030204" pitchFamily="34" charset="0"/>
              </a:endParaRPr>
            </a:p>
          </p:txBody>
        </p:sp>
        <p:sp>
          <p:nvSpPr>
            <p:cNvPr id="97" name="ee4p_MT_2_86241">
              <a:extLst>
                <a:ext uri="{FF2B5EF4-FFF2-40B4-BE49-F238E27FC236}">
                  <a16:creationId xmlns:a16="http://schemas.microsoft.com/office/drawing/2014/main" id="{68A11B27-2016-4918-AAE7-6B3C5B8EC1EB}"/>
                </a:ext>
              </a:extLst>
            </p:cNvPr>
            <p:cNvSpPr>
              <a:spLocks noChangeAspect="1"/>
            </p:cNvSpPr>
            <p:nvPr>
              <p:custDataLst>
                <p:tags r:id="rId35"/>
              </p:custDataLst>
            </p:nvPr>
          </p:nvSpPr>
          <p:spPr>
            <a:xfrm>
              <a:off x="7062242" y="4205233"/>
              <a:ext cx="9419" cy="4999"/>
            </a:xfrm>
            <a:custGeom>
              <a:avLst/>
              <a:gdLst/>
              <a:ahLst/>
              <a:cxnLst/>
              <a:rect l="0" t="0" r="0" b="0"/>
              <a:pathLst>
                <a:path w="3108" h="1607">
                  <a:moveTo>
                    <a:pt x="2943" y="1216"/>
                  </a:moveTo>
                  <a:lnTo>
                    <a:pt x="1619" y="1606"/>
                  </a:lnTo>
                  <a:lnTo>
                    <a:pt x="307" y="847"/>
                  </a:lnTo>
                  <a:lnTo>
                    <a:pt x="0" y="388"/>
                  </a:lnTo>
                  <a:lnTo>
                    <a:pt x="1833" y="0"/>
                  </a:lnTo>
                  <a:lnTo>
                    <a:pt x="2727" y="340"/>
                  </a:lnTo>
                  <a:lnTo>
                    <a:pt x="3107" y="998"/>
                  </a:lnTo>
                  <a:close/>
                </a:path>
              </a:pathLst>
            </a:custGeom>
            <a:solidFill>
              <a:srgbClr val="C7CDD0"/>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AT" sz="1600" err="1">
                <a:solidFill>
                  <a:schemeClr val="tx1"/>
                </a:solidFill>
                <a:latin typeface="Calibri" panose="020F0502020204030204" pitchFamily="34" charset="0"/>
                <a:cs typeface="Calibri" panose="020F0502020204030204" pitchFamily="34" charset="0"/>
              </a:endParaRPr>
            </a:p>
          </p:txBody>
        </p:sp>
        <p:sp>
          <p:nvSpPr>
            <p:cNvPr id="98" name="ee4p_ME_1_86241">
              <a:extLst>
                <a:ext uri="{FF2B5EF4-FFF2-40B4-BE49-F238E27FC236}">
                  <a16:creationId xmlns:a16="http://schemas.microsoft.com/office/drawing/2014/main" id="{F31C7B51-4161-4E4E-BC20-C73BD6310408}"/>
                </a:ext>
              </a:extLst>
            </p:cNvPr>
            <p:cNvSpPr>
              <a:spLocks noChangeAspect="1"/>
            </p:cNvSpPr>
            <p:nvPr>
              <p:custDataLst>
                <p:tags r:id="rId36"/>
              </p:custDataLst>
            </p:nvPr>
          </p:nvSpPr>
          <p:spPr>
            <a:xfrm>
              <a:off x="7347447" y="3600170"/>
              <a:ext cx="128089" cy="139102"/>
            </a:xfrm>
            <a:custGeom>
              <a:avLst/>
              <a:gdLst/>
              <a:ahLst/>
              <a:cxnLst/>
              <a:rect l="0" t="0" r="0" b="0"/>
              <a:pathLst>
                <a:path w="42265" h="44719">
                  <a:moveTo>
                    <a:pt x="16761" y="243"/>
                  </a:moveTo>
                  <a:lnTo>
                    <a:pt x="16701" y="573"/>
                  </a:lnTo>
                  <a:lnTo>
                    <a:pt x="16809" y="1544"/>
                  </a:lnTo>
                  <a:lnTo>
                    <a:pt x="17301" y="2488"/>
                  </a:lnTo>
                  <a:lnTo>
                    <a:pt x="19059" y="3456"/>
                  </a:lnTo>
                  <a:lnTo>
                    <a:pt x="21633" y="5370"/>
                  </a:lnTo>
                  <a:lnTo>
                    <a:pt x="24661" y="8878"/>
                  </a:lnTo>
                  <a:lnTo>
                    <a:pt x="26051" y="9920"/>
                  </a:lnTo>
                  <a:lnTo>
                    <a:pt x="27301" y="10174"/>
                  </a:lnTo>
                  <a:lnTo>
                    <a:pt x="29737" y="11629"/>
                  </a:lnTo>
                  <a:lnTo>
                    <a:pt x="31436" y="11984"/>
                  </a:lnTo>
                  <a:lnTo>
                    <a:pt x="33339" y="12383"/>
                  </a:lnTo>
                  <a:lnTo>
                    <a:pt x="38288" y="15416"/>
                  </a:lnTo>
                  <a:lnTo>
                    <a:pt x="40512" y="16301"/>
                  </a:lnTo>
                  <a:lnTo>
                    <a:pt x="42093" y="17441"/>
                  </a:lnTo>
                  <a:lnTo>
                    <a:pt x="42264" y="18514"/>
                  </a:lnTo>
                  <a:lnTo>
                    <a:pt x="42190" y="19179"/>
                  </a:lnTo>
                  <a:lnTo>
                    <a:pt x="39333" y="19958"/>
                  </a:lnTo>
                  <a:lnTo>
                    <a:pt x="38834" y="21140"/>
                  </a:lnTo>
                  <a:lnTo>
                    <a:pt x="37450" y="21002"/>
                  </a:lnTo>
                  <a:lnTo>
                    <a:pt x="35777" y="20995"/>
                  </a:lnTo>
                  <a:lnTo>
                    <a:pt x="35228" y="21744"/>
                  </a:lnTo>
                  <a:lnTo>
                    <a:pt x="36030" y="22978"/>
                  </a:lnTo>
                  <a:lnTo>
                    <a:pt x="36550" y="24429"/>
                  </a:lnTo>
                  <a:lnTo>
                    <a:pt x="36131" y="26417"/>
                  </a:lnTo>
                  <a:lnTo>
                    <a:pt x="35990" y="26678"/>
                  </a:lnTo>
                  <a:lnTo>
                    <a:pt x="35587" y="26608"/>
                  </a:lnTo>
                  <a:lnTo>
                    <a:pt x="33229" y="27761"/>
                  </a:lnTo>
                  <a:lnTo>
                    <a:pt x="31475" y="28304"/>
                  </a:lnTo>
                  <a:lnTo>
                    <a:pt x="29895" y="28575"/>
                  </a:lnTo>
                  <a:lnTo>
                    <a:pt x="29147" y="28021"/>
                  </a:lnTo>
                  <a:lnTo>
                    <a:pt x="28778" y="27269"/>
                  </a:lnTo>
                  <a:lnTo>
                    <a:pt x="28843" y="25086"/>
                  </a:lnTo>
                  <a:lnTo>
                    <a:pt x="28558" y="24349"/>
                  </a:lnTo>
                  <a:lnTo>
                    <a:pt x="28018" y="23991"/>
                  </a:lnTo>
                  <a:lnTo>
                    <a:pt x="26936" y="24508"/>
                  </a:lnTo>
                  <a:lnTo>
                    <a:pt x="25675" y="26194"/>
                  </a:lnTo>
                  <a:lnTo>
                    <a:pt x="24505" y="28154"/>
                  </a:lnTo>
                  <a:lnTo>
                    <a:pt x="22749" y="30196"/>
                  </a:lnTo>
                  <a:lnTo>
                    <a:pt x="21300" y="32153"/>
                  </a:lnTo>
                  <a:lnTo>
                    <a:pt x="19739" y="34619"/>
                  </a:lnTo>
                  <a:lnTo>
                    <a:pt x="18670" y="36660"/>
                  </a:lnTo>
                  <a:lnTo>
                    <a:pt x="19780" y="37810"/>
                  </a:lnTo>
                  <a:lnTo>
                    <a:pt x="20456" y="39409"/>
                  </a:lnTo>
                  <a:lnTo>
                    <a:pt x="20251" y="40606"/>
                  </a:lnTo>
                  <a:lnTo>
                    <a:pt x="20450" y="41304"/>
                  </a:lnTo>
                  <a:lnTo>
                    <a:pt x="20104" y="43398"/>
                  </a:lnTo>
                  <a:lnTo>
                    <a:pt x="20035" y="44718"/>
                  </a:lnTo>
                  <a:lnTo>
                    <a:pt x="16586" y="42608"/>
                  </a:lnTo>
                  <a:lnTo>
                    <a:pt x="15168" y="39638"/>
                  </a:lnTo>
                  <a:lnTo>
                    <a:pt x="10125" y="34614"/>
                  </a:lnTo>
                  <a:lnTo>
                    <a:pt x="4347" y="31190"/>
                  </a:lnTo>
                  <a:lnTo>
                    <a:pt x="4040" y="30648"/>
                  </a:lnTo>
                  <a:lnTo>
                    <a:pt x="4358" y="29989"/>
                  </a:lnTo>
                  <a:lnTo>
                    <a:pt x="4634" y="29467"/>
                  </a:lnTo>
                  <a:lnTo>
                    <a:pt x="3434" y="29427"/>
                  </a:lnTo>
                  <a:lnTo>
                    <a:pt x="2591" y="29845"/>
                  </a:lnTo>
                  <a:lnTo>
                    <a:pt x="1794" y="29728"/>
                  </a:lnTo>
                  <a:lnTo>
                    <a:pt x="892" y="28443"/>
                  </a:lnTo>
                  <a:lnTo>
                    <a:pt x="39" y="27327"/>
                  </a:lnTo>
                  <a:lnTo>
                    <a:pt x="0" y="26346"/>
                  </a:lnTo>
                  <a:lnTo>
                    <a:pt x="389" y="26218"/>
                  </a:lnTo>
                  <a:lnTo>
                    <a:pt x="967" y="25826"/>
                  </a:lnTo>
                  <a:lnTo>
                    <a:pt x="2181" y="24734"/>
                  </a:lnTo>
                  <a:lnTo>
                    <a:pt x="2423" y="24160"/>
                  </a:lnTo>
                  <a:lnTo>
                    <a:pt x="2365" y="23290"/>
                  </a:lnTo>
                  <a:lnTo>
                    <a:pt x="657" y="20535"/>
                  </a:lnTo>
                  <a:lnTo>
                    <a:pt x="415" y="18747"/>
                  </a:lnTo>
                  <a:lnTo>
                    <a:pt x="166" y="15417"/>
                  </a:lnTo>
                  <a:lnTo>
                    <a:pt x="527" y="14628"/>
                  </a:lnTo>
                  <a:lnTo>
                    <a:pt x="1153" y="14246"/>
                  </a:lnTo>
                  <a:lnTo>
                    <a:pt x="4142" y="13830"/>
                  </a:lnTo>
                  <a:lnTo>
                    <a:pt x="4103" y="11231"/>
                  </a:lnTo>
                  <a:lnTo>
                    <a:pt x="4282" y="10451"/>
                  </a:lnTo>
                  <a:lnTo>
                    <a:pt x="4876" y="9369"/>
                  </a:lnTo>
                  <a:lnTo>
                    <a:pt x="5261" y="8380"/>
                  </a:lnTo>
                  <a:lnTo>
                    <a:pt x="6919" y="6963"/>
                  </a:lnTo>
                  <a:lnTo>
                    <a:pt x="9171" y="5275"/>
                  </a:lnTo>
                  <a:lnTo>
                    <a:pt x="10156" y="5225"/>
                  </a:lnTo>
                  <a:lnTo>
                    <a:pt x="11019" y="5460"/>
                  </a:lnTo>
                  <a:lnTo>
                    <a:pt x="11993" y="6913"/>
                  </a:lnTo>
                  <a:lnTo>
                    <a:pt x="13053" y="6724"/>
                  </a:lnTo>
                  <a:lnTo>
                    <a:pt x="13276" y="4980"/>
                  </a:lnTo>
                  <a:lnTo>
                    <a:pt x="11885" y="2691"/>
                  </a:lnTo>
                  <a:lnTo>
                    <a:pt x="11143" y="1228"/>
                  </a:lnTo>
                  <a:lnTo>
                    <a:pt x="11374" y="422"/>
                  </a:lnTo>
                  <a:lnTo>
                    <a:pt x="11894" y="0"/>
                  </a:lnTo>
                  <a:lnTo>
                    <a:pt x="13090" y="264"/>
                  </a:lnTo>
                  <a:lnTo>
                    <a:pt x="14235" y="663"/>
                  </a:lnTo>
                  <a:lnTo>
                    <a:pt x="14958" y="393"/>
                  </a:lnTo>
                  <a:lnTo>
                    <a:pt x="16098" y="185"/>
                  </a:lnTo>
                  <a:close/>
                </a:path>
              </a:pathLst>
            </a:custGeom>
            <a:solidFill>
              <a:srgbClr val="C7CDD0"/>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AT" sz="1600" err="1">
                <a:solidFill>
                  <a:schemeClr val="tx1"/>
                </a:solidFill>
                <a:latin typeface="Calibri" panose="020F0502020204030204" pitchFamily="34" charset="0"/>
                <a:cs typeface="Calibri" panose="020F0502020204030204" pitchFamily="34" charset="0"/>
              </a:endParaRPr>
            </a:p>
          </p:txBody>
        </p:sp>
        <p:sp>
          <p:nvSpPr>
            <p:cNvPr id="99" name="ee4p_NL_1_86241">
              <a:extLst>
                <a:ext uri="{FF2B5EF4-FFF2-40B4-BE49-F238E27FC236}">
                  <a16:creationId xmlns:a16="http://schemas.microsoft.com/office/drawing/2014/main" id="{759BB8CA-D33F-4AB8-B5E4-6E13BC6E8AC1}"/>
                </a:ext>
              </a:extLst>
            </p:cNvPr>
            <p:cNvSpPr>
              <a:spLocks noChangeAspect="1"/>
            </p:cNvSpPr>
            <p:nvPr>
              <p:custDataLst>
                <p:tags r:id="rId37"/>
              </p:custDataLst>
            </p:nvPr>
          </p:nvSpPr>
          <p:spPr>
            <a:xfrm>
              <a:off x="6336470" y="2707722"/>
              <a:ext cx="257811" cy="265109"/>
            </a:xfrm>
            <a:custGeom>
              <a:avLst/>
              <a:gdLst>
                <a:gd name="connsiteX0" fmla="*/ 5293 w 85069"/>
                <a:gd name="connsiteY0" fmla="*/ 66254 h 85228"/>
                <a:gd name="connsiteX1" fmla="*/ 8102 w 85069"/>
                <a:gd name="connsiteY1" fmla="*/ 67143 h 85228"/>
                <a:gd name="connsiteX2" fmla="*/ 11792 w 85069"/>
                <a:gd name="connsiteY2" fmla="*/ 67572 h 85228"/>
                <a:gd name="connsiteX3" fmla="*/ 14614 w 85069"/>
                <a:gd name="connsiteY3" fmla="*/ 66356 h 85228"/>
                <a:gd name="connsiteX4" fmla="*/ 16836 w 85069"/>
                <a:gd name="connsiteY4" fmla="*/ 67392 h 85228"/>
                <a:gd name="connsiteX5" fmla="*/ 19372 w 85069"/>
                <a:gd name="connsiteY5" fmla="*/ 66634 h 85228"/>
                <a:gd name="connsiteX6" fmla="*/ 19046 w 85069"/>
                <a:gd name="connsiteY6" fmla="*/ 67741 h 85228"/>
                <a:gd name="connsiteX7" fmla="*/ 18186 w 85069"/>
                <a:gd name="connsiteY7" fmla="*/ 68963 h 85228"/>
                <a:gd name="connsiteX8" fmla="*/ 15256 w 85069"/>
                <a:gd name="connsiteY8" fmla="*/ 70722 h 85228"/>
                <a:gd name="connsiteX9" fmla="*/ 12205 w 85069"/>
                <a:gd name="connsiteY9" fmla="*/ 71876 h 85228"/>
                <a:gd name="connsiteX10" fmla="*/ 10628 w 85069"/>
                <a:gd name="connsiteY10" fmla="*/ 71732 h 85228"/>
                <a:gd name="connsiteX11" fmla="*/ 9548 w 85069"/>
                <a:gd name="connsiteY11" fmla="*/ 71128 h 85228"/>
                <a:gd name="connsiteX12" fmla="*/ 8968 w 85069"/>
                <a:gd name="connsiteY12" fmla="*/ 70494 h 85228"/>
                <a:gd name="connsiteX13" fmla="*/ 7335 w 85069"/>
                <a:gd name="connsiteY13" fmla="*/ 69883 h 85228"/>
                <a:gd name="connsiteX14" fmla="*/ 5089 w 85069"/>
                <a:gd name="connsiteY14" fmla="*/ 69576 h 85228"/>
                <a:gd name="connsiteX15" fmla="*/ 3692 w 85069"/>
                <a:gd name="connsiteY15" fmla="*/ 70237 h 85228"/>
                <a:gd name="connsiteX16" fmla="*/ 2695 w 85069"/>
                <a:gd name="connsiteY16" fmla="*/ 70863 h 85228"/>
                <a:gd name="connsiteX17" fmla="*/ 1822 w 85069"/>
                <a:gd name="connsiteY17" fmla="*/ 70760 h 85228"/>
                <a:gd name="connsiteX18" fmla="*/ 1166 w 85069"/>
                <a:gd name="connsiteY18" fmla="*/ 70237 h 85228"/>
                <a:gd name="connsiteX19" fmla="*/ 663 w 85069"/>
                <a:gd name="connsiteY19" fmla="*/ 69431 h 85228"/>
                <a:gd name="connsiteX20" fmla="*/ 0 w 85069"/>
                <a:gd name="connsiteY20" fmla="*/ 66892 h 85228"/>
                <a:gd name="connsiteX21" fmla="*/ 1673 w 85069"/>
                <a:gd name="connsiteY21" fmla="*/ 66428 h 85228"/>
                <a:gd name="connsiteX22" fmla="*/ 9706 w 85069"/>
                <a:gd name="connsiteY22" fmla="*/ 56047 h 85228"/>
                <a:gd name="connsiteX23" fmla="*/ 13246 w 85069"/>
                <a:gd name="connsiteY23" fmla="*/ 56253 h 85228"/>
                <a:gd name="connsiteX24" fmla="*/ 15405 w 85069"/>
                <a:gd name="connsiteY24" fmla="*/ 57860 h 85228"/>
                <a:gd name="connsiteX25" fmla="*/ 15865 w 85069"/>
                <a:gd name="connsiteY25" fmla="*/ 58373 h 85228"/>
                <a:gd name="connsiteX26" fmla="*/ 16031 w 85069"/>
                <a:gd name="connsiteY26" fmla="*/ 58924 h 85228"/>
                <a:gd name="connsiteX27" fmla="*/ 13287 w 85069"/>
                <a:gd name="connsiteY27" fmla="*/ 59563 h 85228"/>
                <a:gd name="connsiteX28" fmla="*/ 10369 w 85069"/>
                <a:gd name="connsiteY28" fmla="*/ 57592 h 85228"/>
                <a:gd name="connsiteX29" fmla="*/ 8441 w 85069"/>
                <a:gd name="connsiteY29" fmla="*/ 58057 h 85228"/>
                <a:gd name="connsiteX30" fmla="*/ 7715 w 85069"/>
                <a:gd name="connsiteY30" fmla="*/ 57123 h 85228"/>
                <a:gd name="connsiteX31" fmla="*/ 7704 w 85069"/>
                <a:gd name="connsiteY31" fmla="*/ 56540 h 85228"/>
                <a:gd name="connsiteX32" fmla="*/ 33971 w 85069"/>
                <a:gd name="connsiteY32" fmla="*/ 13310 h 85228"/>
                <a:gd name="connsiteX33" fmla="*/ 33965 w 85069"/>
                <a:gd name="connsiteY33" fmla="*/ 16687 h 85228"/>
                <a:gd name="connsiteX34" fmla="*/ 31775 w 85069"/>
                <a:gd name="connsiteY34" fmla="*/ 18811 h 85228"/>
                <a:gd name="connsiteX35" fmla="*/ 30441 w 85069"/>
                <a:gd name="connsiteY35" fmla="*/ 18218 h 85228"/>
                <a:gd name="connsiteX36" fmla="*/ 30052 w 85069"/>
                <a:gd name="connsiteY36" fmla="*/ 17726 h 85228"/>
                <a:gd name="connsiteX37" fmla="*/ 30730 w 85069"/>
                <a:gd name="connsiteY37" fmla="*/ 16070 h 85228"/>
                <a:gd name="connsiteX38" fmla="*/ 37081 w 85069"/>
                <a:gd name="connsiteY38" fmla="*/ 9498 h 85228"/>
                <a:gd name="connsiteX39" fmla="*/ 38884 w 85069"/>
                <a:gd name="connsiteY39" fmla="*/ 9564 h 85228"/>
                <a:gd name="connsiteX40" fmla="*/ 34796 w 85069"/>
                <a:gd name="connsiteY40" fmla="*/ 11771 h 85228"/>
                <a:gd name="connsiteX41" fmla="*/ 34446 w 85069"/>
                <a:gd name="connsiteY41" fmla="*/ 11420 h 85228"/>
                <a:gd name="connsiteX42" fmla="*/ 76643 w 85069"/>
                <a:gd name="connsiteY42" fmla="*/ 5558 h 85228"/>
                <a:gd name="connsiteX43" fmla="*/ 78770 w 85069"/>
                <a:gd name="connsiteY43" fmla="*/ 7538 h 85228"/>
                <a:gd name="connsiteX44" fmla="*/ 80003 w 85069"/>
                <a:gd name="connsiteY44" fmla="*/ 8984 h 85228"/>
                <a:gd name="connsiteX45" fmla="*/ 81989 w 85069"/>
                <a:gd name="connsiteY45" fmla="*/ 9787 h 85228"/>
                <a:gd name="connsiteX46" fmla="*/ 85069 w 85069"/>
                <a:gd name="connsiteY46" fmla="*/ 10338 h 85228"/>
                <a:gd name="connsiteX47" fmla="*/ 84885 w 85069"/>
                <a:gd name="connsiteY47" fmla="*/ 13193 h 85228"/>
                <a:gd name="connsiteX48" fmla="*/ 84907 w 85069"/>
                <a:gd name="connsiteY48" fmla="*/ 18820 h 85228"/>
                <a:gd name="connsiteX49" fmla="*/ 84676 w 85069"/>
                <a:gd name="connsiteY49" fmla="*/ 19817 h 85228"/>
                <a:gd name="connsiteX50" fmla="*/ 83296 w 85069"/>
                <a:gd name="connsiteY50" fmla="*/ 22186 h 85228"/>
                <a:gd name="connsiteX51" fmla="*/ 81832 w 85069"/>
                <a:gd name="connsiteY51" fmla="*/ 26435 h 85228"/>
                <a:gd name="connsiteX52" fmla="*/ 81437 w 85069"/>
                <a:gd name="connsiteY52" fmla="*/ 29222 h 85228"/>
                <a:gd name="connsiteX53" fmla="*/ 80998 w 85069"/>
                <a:gd name="connsiteY53" fmla="*/ 29753 h 85228"/>
                <a:gd name="connsiteX54" fmla="*/ 75144 w 85069"/>
                <a:gd name="connsiteY54" fmla="*/ 29737 h 85228"/>
                <a:gd name="connsiteX55" fmla="*/ 74311 w 85069"/>
                <a:gd name="connsiteY55" fmla="*/ 30220 h 85228"/>
                <a:gd name="connsiteX56" fmla="*/ 74192 w 85069"/>
                <a:gd name="connsiteY56" fmla="*/ 30822 h 85228"/>
                <a:gd name="connsiteX57" fmla="*/ 74488 w 85069"/>
                <a:gd name="connsiteY57" fmla="*/ 31539 h 85228"/>
                <a:gd name="connsiteX58" fmla="*/ 74347 w 85069"/>
                <a:gd name="connsiteY58" fmla="*/ 32252 h 85228"/>
                <a:gd name="connsiteX59" fmla="*/ 73888 w 85069"/>
                <a:gd name="connsiteY59" fmla="*/ 32832 h 85228"/>
                <a:gd name="connsiteX60" fmla="*/ 74138 w 85069"/>
                <a:gd name="connsiteY60" fmla="*/ 33753 h 85228"/>
                <a:gd name="connsiteX61" fmla="*/ 75153 w 85069"/>
                <a:gd name="connsiteY61" fmla="*/ 34800 h 85228"/>
                <a:gd name="connsiteX62" fmla="*/ 77003 w 85069"/>
                <a:gd name="connsiteY62" fmla="*/ 35447 h 85228"/>
                <a:gd name="connsiteX63" fmla="*/ 78984 w 85069"/>
                <a:gd name="connsiteY63" fmla="*/ 35506 h 85228"/>
                <a:gd name="connsiteX64" fmla="*/ 80003 w 85069"/>
                <a:gd name="connsiteY64" fmla="*/ 35393 h 85228"/>
                <a:gd name="connsiteX65" fmla="*/ 80748 w 85069"/>
                <a:gd name="connsiteY65" fmla="*/ 36139 h 85228"/>
                <a:gd name="connsiteX66" fmla="*/ 81484 w 85069"/>
                <a:gd name="connsiteY66" fmla="*/ 37291 h 85228"/>
                <a:gd name="connsiteX67" fmla="*/ 81428 w 85069"/>
                <a:gd name="connsiteY67" fmla="*/ 38738 h 85228"/>
                <a:gd name="connsiteX68" fmla="*/ 81141 w 85069"/>
                <a:gd name="connsiteY68" fmla="*/ 40682 h 85228"/>
                <a:gd name="connsiteX69" fmla="*/ 80203 w 85069"/>
                <a:gd name="connsiteY69" fmla="*/ 42476 h 85228"/>
                <a:gd name="connsiteX70" fmla="*/ 77502 w 85069"/>
                <a:gd name="connsiteY70" fmla="*/ 44542 h 85228"/>
                <a:gd name="connsiteX71" fmla="*/ 76293 w 85069"/>
                <a:gd name="connsiteY71" fmla="*/ 45270 h 85228"/>
                <a:gd name="connsiteX72" fmla="*/ 75157 w 85069"/>
                <a:gd name="connsiteY72" fmla="*/ 45641 h 85228"/>
                <a:gd name="connsiteX73" fmla="*/ 74615 w 85069"/>
                <a:gd name="connsiteY73" fmla="*/ 46187 h 85228"/>
                <a:gd name="connsiteX74" fmla="*/ 74360 w 85069"/>
                <a:gd name="connsiteY74" fmla="*/ 46878 h 85228"/>
                <a:gd name="connsiteX75" fmla="*/ 74419 w 85069"/>
                <a:gd name="connsiteY75" fmla="*/ 47491 h 85228"/>
                <a:gd name="connsiteX76" fmla="*/ 76338 w 85069"/>
                <a:gd name="connsiteY76" fmla="*/ 49147 h 85228"/>
                <a:gd name="connsiteX77" fmla="*/ 76293 w 85069"/>
                <a:gd name="connsiteY77" fmla="*/ 49525 h 85228"/>
                <a:gd name="connsiteX78" fmla="*/ 75736 w 85069"/>
                <a:gd name="connsiteY78" fmla="*/ 50385 h 85228"/>
                <a:gd name="connsiteX79" fmla="*/ 74997 w 85069"/>
                <a:gd name="connsiteY79" fmla="*/ 51194 h 85228"/>
                <a:gd name="connsiteX80" fmla="*/ 70039 w 85069"/>
                <a:gd name="connsiteY80" fmla="*/ 52876 h 85228"/>
                <a:gd name="connsiteX81" fmla="*/ 67992 w 85069"/>
                <a:gd name="connsiteY81" fmla="*/ 52744 h 85228"/>
                <a:gd name="connsiteX82" fmla="*/ 66824 w 85069"/>
                <a:gd name="connsiteY82" fmla="*/ 53581 h 85228"/>
                <a:gd name="connsiteX83" fmla="*/ 66459 w 85069"/>
                <a:gd name="connsiteY83" fmla="*/ 53740 h 85228"/>
                <a:gd name="connsiteX84" fmla="*/ 65164 w 85069"/>
                <a:gd name="connsiteY84" fmla="*/ 52971 h 85228"/>
                <a:gd name="connsiteX85" fmla="*/ 62276 w 85069"/>
                <a:gd name="connsiteY85" fmla="*/ 52084 h 85228"/>
                <a:gd name="connsiteX86" fmla="*/ 61186 w 85069"/>
                <a:gd name="connsiteY86" fmla="*/ 52390 h 85228"/>
                <a:gd name="connsiteX87" fmla="*/ 60581 w 85069"/>
                <a:gd name="connsiteY87" fmla="*/ 52876 h 85228"/>
                <a:gd name="connsiteX88" fmla="*/ 58763 w 85069"/>
                <a:gd name="connsiteY88" fmla="*/ 53465 h 85228"/>
                <a:gd name="connsiteX89" fmla="*/ 57461 w 85069"/>
                <a:gd name="connsiteY89" fmla="*/ 54388 h 85228"/>
                <a:gd name="connsiteX90" fmla="*/ 57457 w 85069"/>
                <a:gd name="connsiteY90" fmla="*/ 55576 h 85228"/>
                <a:gd name="connsiteX91" fmla="*/ 59761 w 85069"/>
                <a:gd name="connsiteY91" fmla="*/ 58645 h 85228"/>
                <a:gd name="connsiteX92" fmla="*/ 60571 w 85069"/>
                <a:gd name="connsiteY92" fmla="*/ 59247 h 85228"/>
                <a:gd name="connsiteX93" fmla="*/ 60609 w 85069"/>
                <a:gd name="connsiteY93" fmla="*/ 60391 h 85228"/>
                <a:gd name="connsiteX94" fmla="*/ 61726 w 85069"/>
                <a:gd name="connsiteY94" fmla="*/ 61827 h 85228"/>
                <a:gd name="connsiteX95" fmla="*/ 62868 w 85069"/>
                <a:gd name="connsiteY95" fmla="*/ 63626 h 85228"/>
                <a:gd name="connsiteX96" fmla="*/ 62991 w 85069"/>
                <a:gd name="connsiteY96" fmla="*/ 64769 h 85228"/>
                <a:gd name="connsiteX97" fmla="*/ 62860 w 85069"/>
                <a:gd name="connsiteY97" fmla="*/ 65926 h 85228"/>
                <a:gd name="connsiteX98" fmla="*/ 62270 w 85069"/>
                <a:gd name="connsiteY98" fmla="*/ 67562 h 85228"/>
                <a:gd name="connsiteX99" fmla="*/ 60273 w 85069"/>
                <a:gd name="connsiteY99" fmla="*/ 71394 h 85228"/>
                <a:gd name="connsiteX100" fmla="*/ 60249 w 85069"/>
                <a:gd name="connsiteY100" fmla="*/ 72129 h 85228"/>
                <a:gd name="connsiteX101" fmla="*/ 60417 w 85069"/>
                <a:gd name="connsiteY101" fmla="*/ 72687 h 85228"/>
                <a:gd name="connsiteX102" fmla="*/ 61102 w 85069"/>
                <a:gd name="connsiteY102" fmla="*/ 72841 h 85228"/>
                <a:gd name="connsiteX103" fmla="*/ 61622 w 85069"/>
                <a:gd name="connsiteY103" fmla="*/ 73130 h 85228"/>
                <a:gd name="connsiteX104" fmla="*/ 61469 w 85069"/>
                <a:gd name="connsiteY104" fmla="*/ 73640 h 85228"/>
                <a:gd name="connsiteX105" fmla="*/ 57733 w 85069"/>
                <a:gd name="connsiteY105" fmla="*/ 76293 h 85228"/>
                <a:gd name="connsiteX106" fmla="*/ 57251 w 85069"/>
                <a:gd name="connsiteY106" fmla="*/ 76757 h 85228"/>
                <a:gd name="connsiteX107" fmla="*/ 55684 w 85069"/>
                <a:gd name="connsiteY107" fmla="*/ 76626 h 85228"/>
                <a:gd name="connsiteX108" fmla="*/ 55444 w 85069"/>
                <a:gd name="connsiteY108" fmla="*/ 77069 h 85228"/>
                <a:gd name="connsiteX109" fmla="*/ 55658 w 85069"/>
                <a:gd name="connsiteY109" fmla="*/ 77784 h 85228"/>
                <a:gd name="connsiteX110" fmla="*/ 56267 w 85069"/>
                <a:gd name="connsiteY110" fmla="*/ 78410 h 85228"/>
                <a:gd name="connsiteX111" fmla="*/ 57601 w 85069"/>
                <a:gd name="connsiteY111" fmla="*/ 78740 h 85228"/>
                <a:gd name="connsiteX112" fmla="*/ 58746 w 85069"/>
                <a:gd name="connsiteY112" fmla="*/ 79411 h 85228"/>
                <a:gd name="connsiteX113" fmla="*/ 59666 w 85069"/>
                <a:gd name="connsiteY113" fmla="*/ 80726 h 85228"/>
                <a:gd name="connsiteX114" fmla="*/ 58461 w 85069"/>
                <a:gd name="connsiteY114" fmla="*/ 85228 h 85228"/>
                <a:gd name="connsiteX115" fmla="*/ 54114 w 85069"/>
                <a:gd name="connsiteY115" fmla="*/ 85109 h 85228"/>
                <a:gd name="connsiteX116" fmla="*/ 53002 w 85069"/>
                <a:gd name="connsiteY116" fmla="*/ 84963 h 85228"/>
                <a:gd name="connsiteX117" fmla="*/ 51821 w 85069"/>
                <a:gd name="connsiteY117" fmla="*/ 84523 h 85228"/>
                <a:gd name="connsiteX118" fmla="*/ 51818 w 85069"/>
                <a:gd name="connsiteY118" fmla="*/ 84520 h 85228"/>
                <a:gd name="connsiteX119" fmla="*/ 51278 w 85069"/>
                <a:gd name="connsiteY119" fmla="*/ 83611 h 85228"/>
                <a:gd name="connsiteX120" fmla="*/ 50622 w 85069"/>
                <a:gd name="connsiteY120" fmla="*/ 82514 h 85228"/>
                <a:gd name="connsiteX121" fmla="*/ 50801 w 85069"/>
                <a:gd name="connsiteY121" fmla="*/ 81842 h 85228"/>
                <a:gd name="connsiteX122" fmla="*/ 52771 w 85069"/>
                <a:gd name="connsiteY122" fmla="*/ 79931 h 85228"/>
                <a:gd name="connsiteX123" fmla="*/ 53067 w 85069"/>
                <a:gd name="connsiteY123" fmla="*/ 79403 h 85228"/>
                <a:gd name="connsiteX124" fmla="*/ 52864 w 85069"/>
                <a:gd name="connsiteY124" fmla="*/ 79120 h 85228"/>
                <a:gd name="connsiteX125" fmla="*/ 53062 w 85069"/>
                <a:gd name="connsiteY125" fmla="*/ 78278 h 85228"/>
                <a:gd name="connsiteX126" fmla="*/ 54576 w 85069"/>
                <a:gd name="connsiteY126" fmla="*/ 75424 h 85228"/>
                <a:gd name="connsiteX127" fmla="*/ 54772 w 85069"/>
                <a:gd name="connsiteY127" fmla="*/ 74277 h 85228"/>
                <a:gd name="connsiteX128" fmla="*/ 54095 w 85069"/>
                <a:gd name="connsiteY128" fmla="*/ 73474 h 85228"/>
                <a:gd name="connsiteX129" fmla="*/ 53118 w 85069"/>
                <a:gd name="connsiteY129" fmla="*/ 72994 h 85228"/>
                <a:gd name="connsiteX130" fmla="*/ 49944 w 85069"/>
                <a:gd name="connsiteY130" fmla="*/ 72146 h 85228"/>
                <a:gd name="connsiteX131" fmla="*/ 48433 w 85069"/>
                <a:gd name="connsiteY131" fmla="*/ 70949 h 85228"/>
                <a:gd name="connsiteX132" fmla="*/ 47733 w 85069"/>
                <a:gd name="connsiteY132" fmla="*/ 69903 h 85228"/>
                <a:gd name="connsiteX133" fmla="*/ 47027 w 85069"/>
                <a:gd name="connsiteY133" fmla="*/ 69609 h 85228"/>
                <a:gd name="connsiteX134" fmla="*/ 45986 w 85069"/>
                <a:gd name="connsiteY134" fmla="*/ 69962 h 85228"/>
                <a:gd name="connsiteX135" fmla="*/ 43356 w 85069"/>
                <a:gd name="connsiteY135" fmla="*/ 70351 h 85228"/>
                <a:gd name="connsiteX136" fmla="*/ 41218 w 85069"/>
                <a:gd name="connsiteY136" fmla="*/ 69787 h 85228"/>
                <a:gd name="connsiteX137" fmla="*/ 38692 w 85069"/>
                <a:gd name="connsiteY137" fmla="*/ 67807 h 85228"/>
                <a:gd name="connsiteX138" fmla="*/ 38106 w 85069"/>
                <a:gd name="connsiteY138" fmla="*/ 66036 h 85228"/>
                <a:gd name="connsiteX139" fmla="*/ 37798 w 85069"/>
                <a:gd name="connsiteY139" fmla="*/ 64677 h 85228"/>
                <a:gd name="connsiteX140" fmla="*/ 37167 w 85069"/>
                <a:gd name="connsiteY140" fmla="*/ 64208 h 85228"/>
                <a:gd name="connsiteX141" fmla="*/ 36319 w 85069"/>
                <a:gd name="connsiteY141" fmla="*/ 64905 h 85228"/>
                <a:gd name="connsiteX142" fmla="*/ 35243 w 85069"/>
                <a:gd name="connsiteY142" fmla="*/ 66009 h 85228"/>
                <a:gd name="connsiteX143" fmla="*/ 33123 w 85069"/>
                <a:gd name="connsiteY143" fmla="*/ 66141 h 85228"/>
                <a:gd name="connsiteX144" fmla="*/ 32518 w 85069"/>
                <a:gd name="connsiteY144" fmla="*/ 65883 h 85228"/>
                <a:gd name="connsiteX145" fmla="*/ 32414 w 85069"/>
                <a:gd name="connsiteY145" fmla="*/ 65274 h 85228"/>
                <a:gd name="connsiteX146" fmla="*/ 32293 w 85069"/>
                <a:gd name="connsiteY146" fmla="*/ 64689 h 85228"/>
                <a:gd name="connsiteX147" fmla="*/ 31710 w 85069"/>
                <a:gd name="connsiteY147" fmla="*/ 63964 h 85228"/>
                <a:gd name="connsiteX148" fmla="*/ 31080 w 85069"/>
                <a:gd name="connsiteY148" fmla="*/ 63561 h 85228"/>
                <a:gd name="connsiteX149" fmla="*/ 28389 w 85069"/>
                <a:gd name="connsiteY149" fmla="*/ 65599 h 85228"/>
                <a:gd name="connsiteX150" fmla="*/ 27389 w 85069"/>
                <a:gd name="connsiteY150" fmla="*/ 65594 h 85228"/>
                <a:gd name="connsiteX151" fmla="*/ 26126 w 85069"/>
                <a:gd name="connsiteY151" fmla="*/ 64811 h 85228"/>
                <a:gd name="connsiteX152" fmla="*/ 25502 w 85069"/>
                <a:gd name="connsiteY152" fmla="*/ 64043 h 85228"/>
                <a:gd name="connsiteX153" fmla="*/ 24120 w 85069"/>
                <a:gd name="connsiteY153" fmla="*/ 64481 h 85228"/>
                <a:gd name="connsiteX154" fmla="*/ 22878 w 85069"/>
                <a:gd name="connsiteY154" fmla="*/ 65427 h 85228"/>
                <a:gd name="connsiteX155" fmla="*/ 23304 w 85069"/>
                <a:gd name="connsiteY155" fmla="*/ 67203 h 85228"/>
                <a:gd name="connsiteX156" fmla="*/ 22634 w 85069"/>
                <a:gd name="connsiteY156" fmla="*/ 67528 h 85228"/>
                <a:gd name="connsiteX157" fmla="*/ 21104 w 85069"/>
                <a:gd name="connsiteY157" fmla="*/ 67366 h 85228"/>
                <a:gd name="connsiteX158" fmla="*/ 19372 w 85069"/>
                <a:gd name="connsiteY158" fmla="*/ 66634 h 85228"/>
                <a:gd name="connsiteX159" fmla="*/ 17441 w 85069"/>
                <a:gd name="connsiteY159" fmla="*/ 66193 h 85228"/>
                <a:gd name="connsiteX160" fmla="*/ 14515 w 85069"/>
                <a:gd name="connsiteY160" fmla="*/ 64968 h 85228"/>
                <a:gd name="connsiteX161" fmla="*/ 10432 w 85069"/>
                <a:gd name="connsiteY161" fmla="*/ 65962 h 85228"/>
                <a:gd name="connsiteX162" fmla="*/ 7594 w 85069"/>
                <a:gd name="connsiteY162" fmla="*/ 64772 h 85228"/>
                <a:gd name="connsiteX163" fmla="*/ 5236 w 85069"/>
                <a:gd name="connsiteY163" fmla="*/ 64654 h 85228"/>
                <a:gd name="connsiteX164" fmla="*/ 3768 w 85069"/>
                <a:gd name="connsiteY164" fmla="*/ 63706 h 85228"/>
                <a:gd name="connsiteX165" fmla="*/ 2185 w 85069"/>
                <a:gd name="connsiteY165" fmla="*/ 62102 h 85228"/>
                <a:gd name="connsiteX166" fmla="*/ 3306 w 85069"/>
                <a:gd name="connsiteY166" fmla="*/ 61046 h 85228"/>
                <a:gd name="connsiteX167" fmla="*/ 4390 w 85069"/>
                <a:gd name="connsiteY167" fmla="*/ 60680 h 85228"/>
                <a:gd name="connsiteX168" fmla="*/ 8709 w 85069"/>
                <a:gd name="connsiteY168" fmla="*/ 60476 h 85228"/>
                <a:gd name="connsiteX169" fmla="*/ 11850 w 85069"/>
                <a:gd name="connsiteY169" fmla="*/ 61118 h 85228"/>
                <a:gd name="connsiteX170" fmla="*/ 17495 w 85069"/>
                <a:gd name="connsiteY170" fmla="*/ 64600 h 85228"/>
                <a:gd name="connsiteX171" fmla="*/ 18920 w 85069"/>
                <a:gd name="connsiteY171" fmla="*/ 64573 h 85228"/>
                <a:gd name="connsiteX172" fmla="*/ 20432 w 85069"/>
                <a:gd name="connsiteY172" fmla="*/ 64134 h 85228"/>
                <a:gd name="connsiteX173" fmla="*/ 19663 w 85069"/>
                <a:gd name="connsiteY173" fmla="*/ 63185 h 85228"/>
                <a:gd name="connsiteX174" fmla="*/ 18251 w 85069"/>
                <a:gd name="connsiteY174" fmla="*/ 62733 h 85228"/>
                <a:gd name="connsiteX175" fmla="*/ 16150 w 85069"/>
                <a:gd name="connsiteY175" fmla="*/ 61797 h 85228"/>
                <a:gd name="connsiteX176" fmla="*/ 14476 w 85069"/>
                <a:gd name="connsiteY176" fmla="*/ 60482 h 85228"/>
                <a:gd name="connsiteX177" fmla="*/ 18408 w 85069"/>
                <a:gd name="connsiteY177" fmla="*/ 60056 h 85228"/>
                <a:gd name="connsiteX178" fmla="*/ 17864 w 85069"/>
                <a:gd name="connsiteY178" fmla="*/ 59375 h 85228"/>
                <a:gd name="connsiteX179" fmla="*/ 17346 w 85069"/>
                <a:gd name="connsiteY179" fmla="*/ 58213 h 85228"/>
                <a:gd name="connsiteX180" fmla="*/ 13196 w 85069"/>
                <a:gd name="connsiteY180" fmla="*/ 54156 h 85228"/>
                <a:gd name="connsiteX181" fmla="*/ 13904 w 85069"/>
                <a:gd name="connsiteY181" fmla="*/ 53057 h 85228"/>
                <a:gd name="connsiteX182" fmla="*/ 14947 w 85069"/>
                <a:gd name="connsiteY182" fmla="*/ 50697 h 85228"/>
                <a:gd name="connsiteX183" fmla="*/ 16247 w 85069"/>
                <a:gd name="connsiteY183" fmla="*/ 48735 h 85228"/>
                <a:gd name="connsiteX184" fmla="*/ 17283 w 85069"/>
                <a:gd name="connsiteY184" fmla="*/ 48209 h 85228"/>
                <a:gd name="connsiteX185" fmla="*/ 18987 w 85069"/>
                <a:gd name="connsiteY185" fmla="*/ 46816 h 85228"/>
                <a:gd name="connsiteX186" fmla="*/ 22691 w 85069"/>
                <a:gd name="connsiteY186" fmla="*/ 42733 h 85228"/>
                <a:gd name="connsiteX187" fmla="*/ 25046 w 85069"/>
                <a:gd name="connsiteY187" fmla="*/ 39401 h 85228"/>
                <a:gd name="connsiteX188" fmla="*/ 26800 w 85069"/>
                <a:gd name="connsiteY188" fmla="*/ 35438 h 85228"/>
                <a:gd name="connsiteX189" fmla="*/ 29369 w 85069"/>
                <a:gd name="connsiteY189" fmla="*/ 24495 h 85228"/>
                <a:gd name="connsiteX190" fmla="*/ 30130 w 85069"/>
                <a:gd name="connsiteY190" fmla="*/ 22631 h 85228"/>
                <a:gd name="connsiteX191" fmla="*/ 31369 w 85069"/>
                <a:gd name="connsiteY191" fmla="*/ 20562 h 85228"/>
                <a:gd name="connsiteX192" fmla="*/ 32924 w 85069"/>
                <a:gd name="connsiteY192" fmla="*/ 20952 h 85228"/>
                <a:gd name="connsiteX193" fmla="*/ 34006 w 85069"/>
                <a:gd name="connsiteY193" fmla="*/ 21548 h 85228"/>
                <a:gd name="connsiteX194" fmla="*/ 37837 w 85069"/>
                <a:gd name="connsiteY194" fmla="*/ 19984 h 85228"/>
                <a:gd name="connsiteX195" fmla="*/ 44408 w 85069"/>
                <a:gd name="connsiteY195" fmla="*/ 15914 h 85228"/>
                <a:gd name="connsiteX196" fmla="*/ 46344 w 85069"/>
                <a:gd name="connsiteY196" fmla="*/ 12387 h 85228"/>
                <a:gd name="connsiteX197" fmla="*/ 48247 w 85069"/>
                <a:gd name="connsiteY197" fmla="*/ 10746 h 85228"/>
                <a:gd name="connsiteX198" fmla="*/ 55798 w 85069"/>
                <a:gd name="connsiteY198" fmla="*/ 7544 h 85228"/>
                <a:gd name="connsiteX199" fmla="*/ 59970 w 85069"/>
                <a:gd name="connsiteY199" fmla="*/ 6584 h 85228"/>
                <a:gd name="connsiteX200" fmla="*/ 66405 w 85069"/>
                <a:gd name="connsiteY200" fmla="*/ 6337 h 85228"/>
                <a:gd name="connsiteX201" fmla="*/ 71056 w 85069"/>
                <a:gd name="connsiteY201" fmla="*/ 5765 h 85228"/>
                <a:gd name="connsiteX202" fmla="*/ 48808 w 85069"/>
                <a:gd name="connsiteY202" fmla="*/ 5486 h 85228"/>
                <a:gd name="connsiteX203" fmla="*/ 49365 w 85069"/>
                <a:gd name="connsiteY203" fmla="*/ 5650 h 85228"/>
                <a:gd name="connsiteX204" fmla="*/ 43686 w 85069"/>
                <a:gd name="connsiteY204" fmla="*/ 7226 h 85228"/>
                <a:gd name="connsiteX205" fmla="*/ 41626 w 85069"/>
                <a:gd name="connsiteY205" fmla="*/ 7466 h 85228"/>
                <a:gd name="connsiteX206" fmla="*/ 40689 w 85069"/>
                <a:gd name="connsiteY206" fmla="*/ 7044 h 85228"/>
                <a:gd name="connsiteX207" fmla="*/ 45662 w 85069"/>
                <a:gd name="connsiteY207" fmla="*/ 5850 h 85228"/>
                <a:gd name="connsiteX208" fmla="*/ 55859 w 85069"/>
                <a:gd name="connsiteY208" fmla="*/ 4536 h 85228"/>
                <a:gd name="connsiteX209" fmla="*/ 57008 w 85069"/>
                <a:gd name="connsiteY209" fmla="*/ 4840 h 85228"/>
                <a:gd name="connsiteX210" fmla="*/ 57031 w 85069"/>
                <a:gd name="connsiteY210" fmla="*/ 5026 h 85228"/>
                <a:gd name="connsiteX211" fmla="*/ 52669 w 85069"/>
                <a:gd name="connsiteY211" fmla="*/ 5514 h 85228"/>
                <a:gd name="connsiteX212" fmla="*/ 51194 w 85069"/>
                <a:gd name="connsiteY212" fmla="*/ 5145 h 85228"/>
                <a:gd name="connsiteX213" fmla="*/ 50951 w 85069"/>
                <a:gd name="connsiteY213" fmla="*/ 4795 h 85228"/>
                <a:gd name="connsiteX214" fmla="*/ 52140 w 85069"/>
                <a:gd name="connsiteY214" fmla="*/ 4587 h 85228"/>
                <a:gd name="connsiteX215" fmla="*/ 65028 w 85069"/>
                <a:gd name="connsiteY215" fmla="*/ 3334 h 85228"/>
                <a:gd name="connsiteX216" fmla="*/ 65967 w 85069"/>
                <a:gd name="connsiteY216" fmla="*/ 3462 h 85228"/>
                <a:gd name="connsiteX217" fmla="*/ 62868 w 85069"/>
                <a:gd name="connsiteY217" fmla="*/ 4484 h 85228"/>
                <a:gd name="connsiteX218" fmla="*/ 62117 w 85069"/>
                <a:gd name="connsiteY218" fmla="*/ 4270 h 85228"/>
                <a:gd name="connsiteX219" fmla="*/ 62302 w 85069"/>
                <a:gd name="connsiteY219" fmla="*/ 3974 h 85228"/>
                <a:gd name="connsiteX220" fmla="*/ 75280 w 85069"/>
                <a:gd name="connsiteY220" fmla="*/ 0 h 85228"/>
                <a:gd name="connsiteX221" fmla="*/ 76304 w 85069"/>
                <a:gd name="connsiteY221" fmla="*/ 0 h 85228"/>
                <a:gd name="connsiteX222" fmla="*/ 74842 w 85069"/>
                <a:gd name="connsiteY222" fmla="*/ 1297 h 85228"/>
                <a:gd name="connsiteX223" fmla="*/ 72793 w 85069"/>
                <a:gd name="connsiteY223" fmla="*/ 1397 h 85228"/>
                <a:gd name="connsiteX224" fmla="*/ 73378 w 85069"/>
                <a:gd name="connsiteY224" fmla="*/ 599 h 85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85069" h="85228">
                  <a:moveTo>
                    <a:pt x="5293" y="66254"/>
                  </a:moveTo>
                  <a:lnTo>
                    <a:pt x="8102" y="67143"/>
                  </a:lnTo>
                  <a:lnTo>
                    <a:pt x="11792" y="67572"/>
                  </a:lnTo>
                  <a:lnTo>
                    <a:pt x="14614" y="66356"/>
                  </a:lnTo>
                  <a:lnTo>
                    <a:pt x="16836" y="67392"/>
                  </a:lnTo>
                  <a:lnTo>
                    <a:pt x="19372" y="66634"/>
                  </a:lnTo>
                  <a:lnTo>
                    <a:pt x="19046" y="67741"/>
                  </a:lnTo>
                  <a:lnTo>
                    <a:pt x="18186" y="68963"/>
                  </a:lnTo>
                  <a:lnTo>
                    <a:pt x="15256" y="70722"/>
                  </a:lnTo>
                  <a:lnTo>
                    <a:pt x="12205" y="71876"/>
                  </a:lnTo>
                  <a:lnTo>
                    <a:pt x="10628" y="71732"/>
                  </a:lnTo>
                  <a:lnTo>
                    <a:pt x="9548" y="71128"/>
                  </a:lnTo>
                  <a:lnTo>
                    <a:pt x="8968" y="70494"/>
                  </a:lnTo>
                  <a:lnTo>
                    <a:pt x="7335" y="69883"/>
                  </a:lnTo>
                  <a:lnTo>
                    <a:pt x="5089" y="69576"/>
                  </a:lnTo>
                  <a:lnTo>
                    <a:pt x="3692" y="70237"/>
                  </a:lnTo>
                  <a:lnTo>
                    <a:pt x="2695" y="70863"/>
                  </a:lnTo>
                  <a:lnTo>
                    <a:pt x="1822" y="70760"/>
                  </a:lnTo>
                  <a:lnTo>
                    <a:pt x="1166" y="70237"/>
                  </a:lnTo>
                  <a:lnTo>
                    <a:pt x="663" y="69431"/>
                  </a:lnTo>
                  <a:lnTo>
                    <a:pt x="0" y="66892"/>
                  </a:lnTo>
                  <a:lnTo>
                    <a:pt x="1673" y="66428"/>
                  </a:lnTo>
                  <a:close/>
                  <a:moveTo>
                    <a:pt x="9706" y="56047"/>
                  </a:moveTo>
                  <a:lnTo>
                    <a:pt x="13246" y="56253"/>
                  </a:lnTo>
                  <a:lnTo>
                    <a:pt x="15405" y="57860"/>
                  </a:lnTo>
                  <a:lnTo>
                    <a:pt x="15865" y="58373"/>
                  </a:lnTo>
                  <a:lnTo>
                    <a:pt x="16031" y="58924"/>
                  </a:lnTo>
                  <a:lnTo>
                    <a:pt x="13287" y="59563"/>
                  </a:lnTo>
                  <a:lnTo>
                    <a:pt x="10369" y="57592"/>
                  </a:lnTo>
                  <a:lnTo>
                    <a:pt x="8441" y="58057"/>
                  </a:lnTo>
                  <a:lnTo>
                    <a:pt x="7715" y="57123"/>
                  </a:lnTo>
                  <a:lnTo>
                    <a:pt x="7704" y="56540"/>
                  </a:lnTo>
                  <a:close/>
                  <a:moveTo>
                    <a:pt x="33971" y="13310"/>
                  </a:moveTo>
                  <a:lnTo>
                    <a:pt x="33965" y="16687"/>
                  </a:lnTo>
                  <a:lnTo>
                    <a:pt x="31775" y="18811"/>
                  </a:lnTo>
                  <a:lnTo>
                    <a:pt x="30441" y="18218"/>
                  </a:lnTo>
                  <a:lnTo>
                    <a:pt x="30052" y="17726"/>
                  </a:lnTo>
                  <a:lnTo>
                    <a:pt x="30730" y="16070"/>
                  </a:lnTo>
                  <a:close/>
                  <a:moveTo>
                    <a:pt x="37081" y="9498"/>
                  </a:moveTo>
                  <a:lnTo>
                    <a:pt x="38884" y="9564"/>
                  </a:lnTo>
                  <a:lnTo>
                    <a:pt x="34796" y="11771"/>
                  </a:lnTo>
                  <a:lnTo>
                    <a:pt x="34446" y="11420"/>
                  </a:lnTo>
                  <a:close/>
                  <a:moveTo>
                    <a:pt x="76643" y="5558"/>
                  </a:moveTo>
                  <a:lnTo>
                    <a:pt x="78770" y="7538"/>
                  </a:lnTo>
                  <a:lnTo>
                    <a:pt x="80003" y="8984"/>
                  </a:lnTo>
                  <a:lnTo>
                    <a:pt x="81989" y="9787"/>
                  </a:lnTo>
                  <a:lnTo>
                    <a:pt x="85069" y="10338"/>
                  </a:lnTo>
                  <a:lnTo>
                    <a:pt x="84885" y="13193"/>
                  </a:lnTo>
                  <a:lnTo>
                    <a:pt x="84907" y="18820"/>
                  </a:lnTo>
                  <a:lnTo>
                    <a:pt x="84676" y="19817"/>
                  </a:lnTo>
                  <a:lnTo>
                    <a:pt x="83296" y="22186"/>
                  </a:lnTo>
                  <a:lnTo>
                    <a:pt x="81832" y="26435"/>
                  </a:lnTo>
                  <a:lnTo>
                    <a:pt x="81437" y="29222"/>
                  </a:lnTo>
                  <a:lnTo>
                    <a:pt x="80998" y="29753"/>
                  </a:lnTo>
                  <a:lnTo>
                    <a:pt x="75144" y="29737"/>
                  </a:lnTo>
                  <a:lnTo>
                    <a:pt x="74311" y="30220"/>
                  </a:lnTo>
                  <a:lnTo>
                    <a:pt x="74192" y="30822"/>
                  </a:lnTo>
                  <a:lnTo>
                    <a:pt x="74488" y="31539"/>
                  </a:lnTo>
                  <a:lnTo>
                    <a:pt x="74347" y="32252"/>
                  </a:lnTo>
                  <a:lnTo>
                    <a:pt x="73888" y="32832"/>
                  </a:lnTo>
                  <a:lnTo>
                    <a:pt x="74138" y="33753"/>
                  </a:lnTo>
                  <a:lnTo>
                    <a:pt x="75153" y="34800"/>
                  </a:lnTo>
                  <a:lnTo>
                    <a:pt x="77003" y="35447"/>
                  </a:lnTo>
                  <a:lnTo>
                    <a:pt x="78984" y="35506"/>
                  </a:lnTo>
                  <a:lnTo>
                    <a:pt x="80003" y="35393"/>
                  </a:lnTo>
                  <a:lnTo>
                    <a:pt x="80748" y="36139"/>
                  </a:lnTo>
                  <a:lnTo>
                    <a:pt x="81484" y="37291"/>
                  </a:lnTo>
                  <a:lnTo>
                    <a:pt x="81428" y="38738"/>
                  </a:lnTo>
                  <a:lnTo>
                    <a:pt x="81141" y="40682"/>
                  </a:lnTo>
                  <a:lnTo>
                    <a:pt x="80203" y="42476"/>
                  </a:lnTo>
                  <a:lnTo>
                    <a:pt x="77502" y="44542"/>
                  </a:lnTo>
                  <a:lnTo>
                    <a:pt x="76293" y="45270"/>
                  </a:lnTo>
                  <a:lnTo>
                    <a:pt x="75157" y="45641"/>
                  </a:lnTo>
                  <a:lnTo>
                    <a:pt x="74615" y="46187"/>
                  </a:lnTo>
                  <a:lnTo>
                    <a:pt x="74360" y="46878"/>
                  </a:lnTo>
                  <a:lnTo>
                    <a:pt x="74419" y="47491"/>
                  </a:lnTo>
                  <a:lnTo>
                    <a:pt x="76338" y="49147"/>
                  </a:lnTo>
                  <a:lnTo>
                    <a:pt x="76293" y="49525"/>
                  </a:lnTo>
                  <a:lnTo>
                    <a:pt x="75736" y="50385"/>
                  </a:lnTo>
                  <a:lnTo>
                    <a:pt x="74997" y="51194"/>
                  </a:lnTo>
                  <a:lnTo>
                    <a:pt x="70039" y="52876"/>
                  </a:lnTo>
                  <a:lnTo>
                    <a:pt x="67992" y="52744"/>
                  </a:lnTo>
                  <a:lnTo>
                    <a:pt x="66824" y="53581"/>
                  </a:lnTo>
                  <a:lnTo>
                    <a:pt x="66459" y="53740"/>
                  </a:lnTo>
                  <a:lnTo>
                    <a:pt x="65164" y="52971"/>
                  </a:lnTo>
                  <a:lnTo>
                    <a:pt x="62276" y="52084"/>
                  </a:lnTo>
                  <a:lnTo>
                    <a:pt x="61186" y="52390"/>
                  </a:lnTo>
                  <a:lnTo>
                    <a:pt x="60581" y="52876"/>
                  </a:lnTo>
                  <a:lnTo>
                    <a:pt x="58763" y="53465"/>
                  </a:lnTo>
                  <a:lnTo>
                    <a:pt x="57461" y="54388"/>
                  </a:lnTo>
                  <a:lnTo>
                    <a:pt x="57457" y="55576"/>
                  </a:lnTo>
                  <a:lnTo>
                    <a:pt x="59761" y="58645"/>
                  </a:lnTo>
                  <a:lnTo>
                    <a:pt x="60571" y="59247"/>
                  </a:lnTo>
                  <a:lnTo>
                    <a:pt x="60609" y="60391"/>
                  </a:lnTo>
                  <a:lnTo>
                    <a:pt x="61726" y="61827"/>
                  </a:lnTo>
                  <a:lnTo>
                    <a:pt x="62868" y="63626"/>
                  </a:lnTo>
                  <a:lnTo>
                    <a:pt x="62991" y="64769"/>
                  </a:lnTo>
                  <a:lnTo>
                    <a:pt x="62860" y="65926"/>
                  </a:lnTo>
                  <a:lnTo>
                    <a:pt x="62270" y="67562"/>
                  </a:lnTo>
                  <a:lnTo>
                    <a:pt x="60273" y="71394"/>
                  </a:lnTo>
                  <a:lnTo>
                    <a:pt x="60249" y="72129"/>
                  </a:lnTo>
                  <a:lnTo>
                    <a:pt x="60417" y="72687"/>
                  </a:lnTo>
                  <a:lnTo>
                    <a:pt x="61102" y="72841"/>
                  </a:lnTo>
                  <a:lnTo>
                    <a:pt x="61622" y="73130"/>
                  </a:lnTo>
                  <a:lnTo>
                    <a:pt x="61469" y="73640"/>
                  </a:lnTo>
                  <a:lnTo>
                    <a:pt x="57733" y="76293"/>
                  </a:lnTo>
                  <a:lnTo>
                    <a:pt x="57251" y="76757"/>
                  </a:lnTo>
                  <a:lnTo>
                    <a:pt x="55684" y="76626"/>
                  </a:lnTo>
                  <a:lnTo>
                    <a:pt x="55444" y="77069"/>
                  </a:lnTo>
                  <a:lnTo>
                    <a:pt x="55658" y="77784"/>
                  </a:lnTo>
                  <a:lnTo>
                    <a:pt x="56267" y="78410"/>
                  </a:lnTo>
                  <a:lnTo>
                    <a:pt x="57601" y="78740"/>
                  </a:lnTo>
                  <a:lnTo>
                    <a:pt x="58746" y="79411"/>
                  </a:lnTo>
                  <a:lnTo>
                    <a:pt x="59666" y="80726"/>
                  </a:lnTo>
                  <a:lnTo>
                    <a:pt x="58461" y="85228"/>
                  </a:lnTo>
                  <a:lnTo>
                    <a:pt x="54114" y="85109"/>
                  </a:lnTo>
                  <a:lnTo>
                    <a:pt x="53002" y="84963"/>
                  </a:lnTo>
                  <a:lnTo>
                    <a:pt x="51821" y="84523"/>
                  </a:lnTo>
                  <a:lnTo>
                    <a:pt x="51818" y="84520"/>
                  </a:lnTo>
                  <a:lnTo>
                    <a:pt x="51278" y="83611"/>
                  </a:lnTo>
                  <a:lnTo>
                    <a:pt x="50622" y="82514"/>
                  </a:lnTo>
                  <a:lnTo>
                    <a:pt x="50801" y="81842"/>
                  </a:lnTo>
                  <a:lnTo>
                    <a:pt x="52771" y="79931"/>
                  </a:lnTo>
                  <a:lnTo>
                    <a:pt x="53067" y="79403"/>
                  </a:lnTo>
                  <a:lnTo>
                    <a:pt x="52864" y="79120"/>
                  </a:lnTo>
                  <a:lnTo>
                    <a:pt x="53062" y="78278"/>
                  </a:lnTo>
                  <a:lnTo>
                    <a:pt x="54576" y="75424"/>
                  </a:lnTo>
                  <a:lnTo>
                    <a:pt x="54772" y="74277"/>
                  </a:lnTo>
                  <a:lnTo>
                    <a:pt x="54095" y="73474"/>
                  </a:lnTo>
                  <a:lnTo>
                    <a:pt x="53118" y="72994"/>
                  </a:lnTo>
                  <a:lnTo>
                    <a:pt x="49944" y="72146"/>
                  </a:lnTo>
                  <a:lnTo>
                    <a:pt x="48433" y="70949"/>
                  </a:lnTo>
                  <a:lnTo>
                    <a:pt x="47733" y="69903"/>
                  </a:lnTo>
                  <a:lnTo>
                    <a:pt x="47027" y="69609"/>
                  </a:lnTo>
                  <a:lnTo>
                    <a:pt x="45986" y="69962"/>
                  </a:lnTo>
                  <a:lnTo>
                    <a:pt x="43356" y="70351"/>
                  </a:lnTo>
                  <a:lnTo>
                    <a:pt x="41218" y="69787"/>
                  </a:lnTo>
                  <a:lnTo>
                    <a:pt x="38692" y="67807"/>
                  </a:lnTo>
                  <a:lnTo>
                    <a:pt x="38106" y="66036"/>
                  </a:lnTo>
                  <a:lnTo>
                    <a:pt x="37798" y="64677"/>
                  </a:lnTo>
                  <a:lnTo>
                    <a:pt x="37167" y="64208"/>
                  </a:lnTo>
                  <a:lnTo>
                    <a:pt x="36319" y="64905"/>
                  </a:lnTo>
                  <a:lnTo>
                    <a:pt x="35243" y="66009"/>
                  </a:lnTo>
                  <a:lnTo>
                    <a:pt x="33123" y="66141"/>
                  </a:lnTo>
                  <a:lnTo>
                    <a:pt x="32518" y="65883"/>
                  </a:lnTo>
                  <a:lnTo>
                    <a:pt x="32414" y="65274"/>
                  </a:lnTo>
                  <a:lnTo>
                    <a:pt x="32293" y="64689"/>
                  </a:lnTo>
                  <a:lnTo>
                    <a:pt x="31710" y="63964"/>
                  </a:lnTo>
                  <a:lnTo>
                    <a:pt x="31080" y="63561"/>
                  </a:lnTo>
                  <a:lnTo>
                    <a:pt x="28389" y="65599"/>
                  </a:lnTo>
                  <a:lnTo>
                    <a:pt x="27389" y="65594"/>
                  </a:lnTo>
                  <a:lnTo>
                    <a:pt x="26126" y="64811"/>
                  </a:lnTo>
                  <a:lnTo>
                    <a:pt x="25502" y="64043"/>
                  </a:lnTo>
                  <a:lnTo>
                    <a:pt x="24120" y="64481"/>
                  </a:lnTo>
                  <a:lnTo>
                    <a:pt x="22878" y="65427"/>
                  </a:lnTo>
                  <a:lnTo>
                    <a:pt x="23304" y="67203"/>
                  </a:lnTo>
                  <a:lnTo>
                    <a:pt x="22634" y="67528"/>
                  </a:lnTo>
                  <a:lnTo>
                    <a:pt x="21104" y="67366"/>
                  </a:lnTo>
                  <a:lnTo>
                    <a:pt x="19372" y="66634"/>
                  </a:lnTo>
                  <a:lnTo>
                    <a:pt x="17441" y="66193"/>
                  </a:lnTo>
                  <a:lnTo>
                    <a:pt x="14515" y="64968"/>
                  </a:lnTo>
                  <a:lnTo>
                    <a:pt x="10432" y="65962"/>
                  </a:lnTo>
                  <a:lnTo>
                    <a:pt x="7594" y="64772"/>
                  </a:lnTo>
                  <a:lnTo>
                    <a:pt x="5236" y="64654"/>
                  </a:lnTo>
                  <a:lnTo>
                    <a:pt x="3768" y="63706"/>
                  </a:lnTo>
                  <a:lnTo>
                    <a:pt x="2185" y="62102"/>
                  </a:lnTo>
                  <a:lnTo>
                    <a:pt x="3306" y="61046"/>
                  </a:lnTo>
                  <a:lnTo>
                    <a:pt x="4390" y="60680"/>
                  </a:lnTo>
                  <a:lnTo>
                    <a:pt x="8709" y="60476"/>
                  </a:lnTo>
                  <a:lnTo>
                    <a:pt x="11850" y="61118"/>
                  </a:lnTo>
                  <a:lnTo>
                    <a:pt x="17495" y="64600"/>
                  </a:lnTo>
                  <a:lnTo>
                    <a:pt x="18920" y="64573"/>
                  </a:lnTo>
                  <a:lnTo>
                    <a:pt x="20432" y="64134"/>
                  </a:lnTo>
                  <a:lnTo>
                    <a:pt x="19663" y="63185"/>
                  </a:lnTo>
                  <a:lnTo>
                    <a:pt x="18251" y="62733"/>
                  </a:lnTo>
                  <a:lnTo>
                    <a:pt x="16150" y="61797"/>
                  </a:lnTo>
                  <a:lnTo>
                    <a:pt x="14476" y="60482"/>
                  </a:lnTo>
                  <a:lnTo>
                    <a:pt x="18408" y="60056"/>
                  </a:lnTo>
                  <a:lnTo>
                    <a:pt x="17864" y="59375"/>
                  </a:lnTo>
                  <a:lnTo>
                    <a:pt x="17346" y="58213"/>
                  </a:lnTo>
                  <a:lnTo>
                    <a:pt x="13196" y="54156"/>
                  </a:lnTo>
                  <a:lnTo>
                    <a:pt x="13904" y="53057"/>
                  </a:lnTo>
                  <a:lnTo>
                    <a:pt x="14947" y="50697"/>
                  </a:lnTo>
                  <a:lnTo>
                    <a:pt x="16247" y="48735"/>
                  </a:lnTo>
                  <a:lnTo>
                    <a:pt x="17283" y="48209"/>
                  </a:lnTo>
                  <a:lnTo>
                    <a:pt x="18987" y="46816"/>
                  </a:lnTo>
                  <a:lnTo>
                    <a:pt x="22691" y="42733"/>
                  </a:lnTo>
                  <a:lnTo>
                    <a:pt x="25046" y="39401"/>
                  </a:lnTo>
                  <a:lnTo>
                    <a:pt x="26800" y="35438"/>
                  </a:lnTo>
                  <a:lnTo>
                    <a:pt x="29369" y="24495"/>
                  </a:lnTo>
                  <a:lnTo>
                    <a:pt x="30130" y="22631"/>
                  </a:lnTo>
                  <a:lnTo>
                    <a:pt x="31369" y="20562"/>
                  </a:lnTo>
                  <a:lnTo>
                    <a:pt x="32924" y="20952"/>
                  </a:lnTo>
                  <a:lnTo>
                    <a:pt x="34006" y="21548"/>
                  </a:lnTo>
                  <a:lnTo>
                    <a:pt x="37837" y="19984"/>
                  </a:lnTo>
                  <a:lnTo>
                    <a:pt x="44408" y="15914"/>
                  </a:lnTo>
                  <a:lnTo>
                    <a:pt x="46344" y="12387"/>
                  </a:lnTo>
                  <a:lnTo>
                    <a:pt x="48247" y="10746"/>
                  </a:lnTo>
                  <a:lnTo>
                    <a:pt x="55798" y="7544"/>
                  </a:lnTo>
                  <a:lnTo>
                    <a:pt x="59970" y="6584"/>
                  </a:lnTo>
                  <a:lnTo>
                    <a:pt x="66405" y="6337"/>
                  </a:lnTo>
                  <a:lnTo>
                    <a:pt x="71056" y="5765"/>
                  </a:lnTo>
                  <a:close/>
                  <a:moveTo>
                    <a:pt x="48808" y="5486"/>
                  </a:moveTo>
                  <a:lnTo>
                    <a:pt x="49365" y="5650"/>
                  </a:lnTo>
                  <a:lnTo>
                    <a:pt x="43686" y="7226"/>
                  </a:lnTo>
                  <a:lnTo>
                    <a:pt x="41626" y="7466"/>
                  </a:lnTo>
                  <a:lnTo>
                    <a:pt x="40689" y="7044"/>
                  </a:lnTo>
                  <a:lnTo>
                    <a:pt x="45662" y="5850"/>
                  </a:lnTo>
                  <a:close/>
                  <a:moveTo>
                    <a:pt x="55859" y="4536"/>
                  </a:moveTo>
                  <a:lnTo>
                    <a:pt x="57008" y="4840"/>
                  </a:lnTo>
                  <a:lnTo>
                    <a:pt x="57031" y="5026"/>
                  </a:lnTo>
                  <a:lnTo>
                    <a:pt x="52669" y="5514"/>
                  </a:lnTo>
                  <a:lnTo>
                    <a:pt x="51194" y="5145"/>
                  </a:lnTo>
                  <a:lnTo>
                    <a:pt x="50951" y="4795"/>
                  </a:lnTo>
                  <a:lnTo>
                    <a:pt x="52140" y="4587"/>
                  </a:lnTo>
                  <a:close/>
                  <a:moveTo>
                    <a:pt x="65028" y="3334"/>
                  </a:moveTo>
                  <a:lnTo>
                    <a:pt x="65967" y="3462"/>
                  </a:lnTo>
                  <a:lnTo>
                    <a:pt x="62868" y="4484"/>
                  </a:lnTo>
                  <a:lnTo>
                    <a:pt x="62117" y="4270"/>
                  </a:lnTo>
                  <a:lnTo>
                    <a:pt x="62302" y="3974"/>
                  </a:lnTo>
                  <a:close/>
                  <a:moveTo>
                    <a:pt x="75280" y="0"/>
                  </a:moveTo>
                  <a:lnTo>
                    <a:pt x="76304" y="0"/>
                  </a:lnTo>
                  <a:lnTo>
                    <a:pt x="74842" y="1297"/>
                  </a:lnTo>
                  <a:lnTo>
                    <a:pt x="72793" y="1397"/>
                  </a:lnTo>
                  <a:lnTo>
                    <a:pt x="73378" y="599"/>
                  </a:lnTo>
                  <a:close/>
                </a:path>
              </a:pathLst>
            </a:custGeom>
            <a:solidFill>
              <a:srgbClr val="C7CDD0"/>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AT" sz="1600" err="1">
                <a:solidFill>
                  <a:schemeClr val="tx1"/>
                </a:solidFill>
                <a:latin typeface="Calibri" panose="020F0502020204030204" pitchFamily="34" charset="0"/>
                <a:cs typeface="Calibri" panose="020F0502020204030204" pitchFamily="34" charset="0"/>
              </a:endParaRPr>
            </a:p>
          </p:txBody>
        </p:sp>
        <p:sp>
          <p:nvSpPr>
            <p:cNvPr id="100" name="ee4p_NO_1_86241">
              <a:extLst>
                <a:ext uri="{FF2B5EF4-FFF2-40B4-BE49-F238E27FC236}">
                  <a16:creationId xmlns:a16="http://schemas.microsoft.com/office/drawing/2014/main" id="{2433017E-DB46-4D07-834F-62C53C08EE49}"/>
                </a:ext>
              </a:extLst>
            </p:cNvPr>
            <p:cNvSpPr>
              <a:spLocks noChangeAspect="1"/>
            </p:cNvSpPr>
            <p:nvPr>
              <p:custDataLst>
                <p:tags r:id="rId38"/>
              </p:custDataLst>
            </p:nvPr>
          </p:nvSpPr>
          <p:spPr>
            <a:xfrm>
              <a:off x="6433565" y="818823"/>
              <a:ext cx="1753174" cy="1463679"/>
            </a:xfrm>
            <a:custGeom>
              <a:avLst/>
              <a:gdLst>
                <a:gd name="connsiteX0" fmla="*/ 4236 w 578488"/>
                <a:gd name="connsiteY0" fmla="*/ 391131 h 470547"/>
                <a:gd name="connsiteX1" fmla="*/ 5553 w 578488"/>
                <a:gd name="connsiteY1" fmla="*/ 393229 h 470547"/>
                <a:gd name="connsiteX2" fmla="*/ 6342 w 578488"/>
                <a:gd name="connsiteY2" fmla="*/ 395934 h 470547"/>
                <a:gd name="connsiteX3" fmla="*/ 6413 w 578488"/>
                <a:gd name="connsiteY3" fmla="*/ 399875 h 470547"/>
                <a:gd name="connsiteX4" fmla="*/ 4376 w 578488"/>
                <a:gd name="connsiteY4" fmla="*/ 399577 h 470547"/>
                <a:gd name="connsiteX5" fmla="*/ 3461 w 578488"/>
                <a:gd name="connsiteY5" fmla="*/ 398066 h 470547"/>
                <a:gd name="connsiteX6" fmla="*/ 3196 w 578488"/>
                <a:gd name="connsiteY6" fmla="*/ 397101 h 470547"/>
                <a:gd name="connsiteX7" fmla="*/ 3355 w 578488"/>
                <a:gd name="connsiteY7" fmla="*/ 394818 h 470547"/>
                <a:gd name="connsiteX8" fmla="*/ 2897 w 578488"/>
                <a:gd name="connsiteY8" fmla="*/ 392461 h 470547"/>
                <a:gd name="connsiteX9" fmla="*/ 3498 w 578488"/>
                <a:gd name="connsiteY9" fmla="*/ 391290 h 470547"/>
                <a:gd name="connsiteX10" fmla="*/ 2573 w 578488"/>
                <a:gd name="connsiteY10" fmla="*/ 366113 h 470547"/>
                <a:gd name="connsiteX11" fmla="*/ 3852 w 578488"/>
                <a:gd name="connsiteY11" fmla="*/ 367834 h 470547"/>
                <a:gd name="connsiteX12" fmla="*/ 3530 w 578488"/>
                <a:gd name="connsiteY12" fmla="*/ 369975 h 470547"/>
                <a:gd name="connsiteX13" fmla="*/ 1572 w 578488"/>
                <a:gd name="connsiteY13" fmla="*/ 370400 h 470547"/>
                <a:gd name="connsiteX14" fmla="*/ 0 w 578488"/>
                <a:gd name="connsiteY14" fmla="*/ 370038 h 470547"/>
                <a:gd name="connsiteX15" fmla="*/ 561 w 578488"/>
                <a:gd name="connsiteY15" fmla="*/ 366825 h 470547"/>
                <a:gd name="connsiteX16" fmla="*/ 1384 w 578488"/>
                <a:gd name="connsiteY16" fmla="*/ 366299 h 470547"/>
                <a:gd name="connsiteX17" fmla="*/ 72406 w 578488"/>
                <a:gd name="connsiteY17" fmla="*/ 288176 h 470547"/>
                <a:gd name="connsiteX18" fmla="*/ 73790 w 578488"/>
                <a:gd name="connsiteY18" fmla="*/ 289555 h 470547"/>
                <a:gd name="connsiteX19" fmla="*/ 73896 w 578488"/>
                <a:gd name="connsiteY19" fmla="*/ 291823 h 470547"/>
                <a:gd name="connsiteX20" fmla="*/ 73052 w 578488"/>
                <a:gd name="connsiteY20" fmla="*/ 292828 h 470547"/>
                <a:gd name="connsiteX21" fmla="*/ 70884 w 578488"/>
                <a:gd name="connsiteY21" fmla="*/ 292852 h 470547"/>
                <a:gd name="connsiteX22" fmla="*/ 68309 w 578488"/>
                <a:gd name="connsiteY22" fmla="*/ 292314 h 470547"/>
                <a:gd name="connsiteX23" fmla="*/ 66697 w 578488"/>
                <a:gd name="connsiteY23" fmla="*/ 291172 h 470547"/>
                <a:gd name="connsiteX24" fmla="*/ 66446 w 578488"/>
                <a:gd name="connsiteY24" fmla="*/ 290164 h 470547"/>
                <a:gd name="connsiteX25" fmla="*/ 69417 w 578488"/>
                <a:gd name="connsiteY25" fmla="*/ 288910 h 470547"/>
                <a:gd name="connsiteX26" fmla="*/ 87688 w 578488"/>
                <a:gd name="connsiteY26" fmla="*/ 276468 h 470547"/>
                <a:gd name="connsiteX27" fmla="*/ 88672 w 578488"/>
                <a:gd name="connsiteY27" fmla="*/ 277636 h 470547"/>
                <a:gd name="connsiteX28" fmla="*/ 88798 w 578488"/>
                <a:gd name="connsiteY28" fmla="*/ 279233 h 470547"/>
                <a:gd name="connsiteX29" fmla="*/ 88172 w 578488"/>
                <a:gd name="connsiteY29" fmla="*/ 280023 h 470547"/>
                <a:gd name="connsiteX30" fmla="*/ 81190 w 578488"/>
                <a:gd name="connsiteY30" fmla="*/ 281299 h 470547"/>
                <a:gd name="connsiteX31" fmla="*/ 78655 w 578488"/>
                <a:gd name="connsiteY31" fmla="*/ 281381 h 470547"/>
                <a:gd name="connsiteX32" fmla="*/ 77129 w 578488"/>
                <a:gd name="connsiteY32" fmla="*/ 280596 h 470547"/>
                <a:gd name="connsiteX33" fmla="*/ 80758 w 578488"/>
                <a:gd name="connsiteY33" fmla="*/ 279027 h 470547"/>
                <a:gd name="connsiteX34" fmla="*/ 86455 w 578488"/>
                <a:gd name="connsiteY34" fmla="*/ 277535 h 470547"/>
                <a:gd name="connsiteX35" fmla="*/ 86997 w 578488"/>
                <a:gd name="connsiteY35" fmla="*/ 276585 h 470547"/>
                <a:gd name="connsiteX36" fmla="*/ 137580 w 578488"/>
                <a:gd name="connsiteY36" fmla="*/ 234750 h 470547"/>
                <a:gd name="connsiteX37" fmla="*/ 140049 w 578488"/>
                <a:gd name="connsiteY37" fmla="*/ 234842 h 470547"/>
                <a:gd name="connsiteX38" fmla="*/ 142560 w 578488"/>
                <a:gd name="connsiteY38" fmla="*/ 237291 h 470547"/>
                <a:gd name="connsiteX39" fmla="*/ 142234 w 578488"/>
                <a:gd name="connsiteY39" fmla="*/ 238798 h 470547"/>
                <a:gd name="connsiteX40" fmla="*/ 141074 w 578488"/>
                <a:gd name="connsiteY40" fmla="*/ 239795 h 470547"/>
                <a:gd name="connsiteX41" fmla="*/ 138498 w 578488"/>
                <a:gd name="connsiteY41" fmla="*/ 238994 h 470547"/>
                <a:gd name="connsiteX42" fmla="*/ 133413 w 578488"/>
                <a:gd name="connsiteY42" fmla="*/ 239613 h 470547"/>
                <a:gd name="connsiteX43" fmla="*/ 131364 w 578488"/>
                <a:gd name="connsiteY43" fmla="*/ 238638 h 470547"/>
                <a:gd name="connsiteX44" fmla="*/ 132992 w 578488"/>
                <a:gd name="connsiteY44" fmla="*/ 236741 h 470547"/>
                <a:gd name="connsiteX45" fmla="*/ 156473 w 578488"/>
                <a:gd name="connsiteY45" fmla="*/ 208471 h 470547"/>
                <a:gd name="connsiteX46" fmla="*/ 158617 w 578488"/>
                <a:gd name="connsiteY46" fmla="*/ 208629 h 470547"/>
                <a:gd name="connsiteX47" fmla="*/ 159300 w 578488"/>
                <a:gd name="connsiteY47" fmla="*/ 209433 h 470547"/>
                <a:gd name="connsiteX48" fmla="*/ 158520 w 578488"/>
                <a:gd name="connsiteY48" fmla="*/ 211357 h 470547"/>
                <a:gd name="connsiteX49" fmla="*/ 157058 w 578488"/>
                <a:gd name="connsiteY49" fmla="*/ 212476 h 470547"/>
                <a:gd name="connsiteX50" fmla="*/ 154327 w 578488"/>
                <a:gd name="connsiteY50" fmla="*/ 212155 h 470547"/>
                <a:gd name="connsiteX51" fmla="*/ 154035 w 578488"/>
                <a:gd name="connsiteY51" fmla="*/ 211196 h 470547"/>
                <a:gd name="connsiteX52" fmla="*/ 154815 w 578488"/>
                <a:gd name="connsiteY52" fmla="*/ 209272 h 470547"/>
                <a:gd name="connsiteX53" fmla="*/ 175748 w 578488"/>
                <a:gd name="connsiteY53" fmla="*/ 197328 h 470547"/>
                <a:gd name="connsiteX54" fmla="*/ 176449 w 578488"/>
                <a:gd name="connsiteY54" fmla="*/ 198048 h 470547"/>
                <a:gd name="connsiteX55" fmla="*/ 175119 w 578488"/>
                <a:gd name="connsiteY55" fmla="*/ 199065 h 470547"/>
                <a:gd name="connsiteX56" fmla="*/ 170496 w 578488"/>
                <a:gd name="connsiteY56" fmla="*/ 201327 h 470547"/>
                <a:gd name="connsiteX57" fmla="*/ 168725 w 578488"/>
                <a:gd name="connsiteY57" fmla="*/ 201432 h 470547"/>
                <a:gd name="connsiteX58" fmla="*/ 168740 w 578488"/>
                <a:gd name="connsiteY58" fmla="*/ 199939 h 470547"/>
                <a:gd name="connsiteX59" fmla="*/ 169755 w 578488"/>
                <a:gd name="connsiteY59" fmla="*/ 198582 h 470547"/>
                <a:gd name="connsiteX60" fmla="*/ 171364 w 578488"/>
                <a:gd name="connsiteY60" fmla="*/ 197674 h 470547"/>
                <a:gd name="connsiteX61" fmla="*/ 173433 w 578488"/>
                <a:gd name="connsiteY61" fmla="*/ 197432 h 470547"/>
                <a:gd name="connsiteX62" fmla="*/ 170891 w 578488"/>
                <a:gd name="connsiteY62" fmla="*/ 190029 h 470547"/>
                <a:gd name="connsiteX63" fmla="*/ 172956 w 578488"/>
                <a:gd name="connsiteY63" fmla="*/ 191226 h 470547"/>
                <a:gd name="connsiteX64" fmla="*/ 172996 w 578488"/>
                <a:gd name="connsiteY64" fmla="*/ 193260 h 470547"/>
                <a:gd name="connsiteX65" fmla="*/ 171973 w 578488"/>
                <a:gd name="connsiteY65" fmla="*/ 195112 h 470547"/>
                <a:gd name="connsiteX66" fmla="*/ 168514 w 578488"/>
                <a:gd name="connsiteY66" fmla="*/ 196161 h 470547"/>
                <a:gd name="connsiteX67" fmla="*/ 166467 w 578488"/>
                <a:gd name="connsiteY67" fmla="*/ 196404 h 470547"/>
                <a:gd name="connsiteX68" fmla="*/ 166808 w 578488"/>
                <a:gd name="connsiteY68" fmla="*/ 194788 h 470547"/>
                <a:gd name="connsiteX69" fmla="*/ 168464 w 578488"/>
                <a:gd name="connsiteY69" fmla="*/ 193253 h 470547"/>
                <a:gd name="connsiteX70" fmla="*/ 169099 w 578488"/>
                <a:gd name="connsiteY70" fmla="*/ 192202 h 470547"/>
                <a:gd name="connsiteX71" fmla="*/ 169429 w 578488"/>
                <a:gd name="connsiteY71" fmla="*/ 190966 h 470547"/>
                <a:gd name="connsiteX72" fmla="*/ 182845 w 578488"/>
                <a:gd name="connsiteY72" fmla="*/ 120497 h 470547"/>
                <a:gd name="connsiteX73" fmla="*/ 184057 w 578488"/>
                <a:gd name="connsiteY73" fmla="*/ 121330 h 470547"/>
                <a:gd name="connsiteX74" fmla="*/ 183502 w 578488"/>
                <a:gd name="connsiteY74" fmla="*/ 123106 h 470547"/>
                <a:gd name="connsiteX75" fmla="*/ 183513 w 578488"/>
                <a:gd name="connsiteY75" fmla="*/ 124862 h 470547"/>
                <a:gd name="connsiteX76" fmla="*/ 182990 w 578488"/>
                <a:gd name="connsiteY76" fmla="*/ 125692 h 470547"/>
                <a:gd name="connsiteX77" fmla="*/ 180716 w 578488"/>
                <a:gd name="connsiteY77" fmla="*/ 127984 h 470547"/>
                <a:gd name="connsiteX78" fmla="*/ 177449 w 578488"/>
                <a:gd name="connsiteY78" fmla="*/ 129987 h 470547"/>
                <a:gd name="connsiteX79" fmla="*/ 178641 w 578488"/>
                <a:gd name="connsiteY79" fmla="*/ 126329 h 470547"/>
                <a:gd name="connsiteX80" fmla="*/ 180405 w 578488"/>
                <a:gd name="connsiteY80" fmla="*/ 122620 h 470547"/>
                <a:gd name="connsiteX81" fmla="*/ 198678 w 578488"/>
                <a:gd name="connsiteY81" fmla="*/ 112691 h 470547"/>
                <a:gd name="connsiteX82" fmla="*/ 200641 w 578488"/>
                <a:gd name="connsiteY82" fmla="*/ 113103 h 470547"/>
                <a:gd name="connsiteX83" fmla="*/ 201956 w 578488"/>
                <a:gd name="connsiteY83" fmla="*/ 113756 h 470547"/>
                <a:gd name="connsiteX84" fmla="*/ 205392 w 578488"/>
                <a:gd name="connsiteY84" fmla="*/ 113566 h 470547"/>
                <a:gd name="connsiteX85" fmla="*/ 206080 w 578488"/>
                <a:gd name="connsiteY85" fmla="*/ 113810 h 470547"/>
                <a:gd name="connsiteX86" fmla="*/ 205592 w 578488"/>
                <a:gd name="connsiteY86" fmla="*/ 114887 h 470547"/>
                <a:gd name="connsiteX87" fmla="*/ 204100 w 578488"/>
                <a:gd name="connsiteY87" fmla="*/ 116071 h 470547"/>
                <a:gd name="connsiteX88" fmla="*/ 200969 w 578488"/>
                <a:gd name="connsiteY88" fmla="*/ 116797 h 470547"/>
                <a:gd name="connsiteX89" fmla="*/ 199561 w 578488"/>
                <a:gd name="connsiteY89" fmla="*/ 118603 h 470547"/>
                <a:gd name="connsiteX90" fmla="*/ 198553 w 578488"/>
                <a:gd name="connsiteY90" fmla="*/ 119216 h 470547"/>
                <a:gd name="connsiteX91" fmla="*/ 195849 w 578488"/>
                <a:gd name="connsiteY91" fmla="*/ 119224 h 470547"/>
                <a:gd name="connsiteX92" fmla="*/ 194254 w 578488"/>
                <a:gd name="connsiteY92" fmla="*/ 119640 h 470547"/>
                <a:gd name="connsiteX93" fmla="*/ 192291 w 578488"/>
                <a:gd name="connsiteY93" fmla="*/ 121245 h 470547"/>
                <a:gd name="connsiteX94" fmla="*/ 190721 w 578488"/>
                <a:gd name="connsiteY94" fmla="*/ 120062 h 470547"/>
                <a:gd name="connsiteX95" fmla="*/ 190283 w 578488"/>
                <a:gd name="connsiteY95" fmla="*/ 120902 h 470547"/>
                <a:gd name="connsiteX96" fmla="*/ 189997 w 578488"/>
                <a:gd name="connsiteY96" fmla="*/ 122401 h 470547"/>
                <a:gd name="connsiteX97" fmla="*/ 189125 w 578488"/>
                <a:gd name="connsiteY97" fmla="*/ 122841 h 470547"/>
                <a:gd name="connsiteX98" fmla="*/ 186413 w 578488"/>
                <a:gd name="connsiteY98" fmla="*/ 123384 h 470547"/>
                <a:gd name="connsiteX99" fmla="*/ 185752 w 578488"/>
                <a:gd name="connsiteY99" fmla="*/ 119891 h 470547"/>
                <a:gd name="connsiteX100" fmla="*/ 187000 w 578488"/>
                <a:gd name="connsiteY100" fmla="*/ 118622 h 470547"/>
                <a:gd name="connsiteX101" fmla="*/ 187978 w 578488"/>
                <a:gd name="connsiteY101" fmla="*/ 117104 h 470547"/>
                <a:gd name="connsiteX102" fmla="*/ 189477 w 578488"/>
                <a:gd name="connsiteY102" fmla="*/ 116872 h 470547"/>
                <a:gd name="connsiteX103" fmla="*/ 190820 w 578488"/>
                <a:gd name="connsiteY103" fmla="*/ 116998 h 470547"/>
                <a:gd name="connsiteX104" fmla="*/ 193237 w 578488"/>
                <a:gd name="connsiteY104" fmla="*/ 113726 h 470547"/>
                <a:gd name="connsiteX105" fmla="*/ 196547 w 578488"/>
                <a:gd name="connsiteY105" fmla="*/ 112796 h 470547"/>
                <a:gd name="connsiteX106" fmla="*/ 227817 w 578488"/>
                <a:gd name="connsiteY106" fmla="*/ 84536 h 470547"/>
                <a:gd name="connsiteX107" fmla="*/ 228398 w 578488"/>
                <a:gd name="connsiteY107" fmla="*/ 84693 h 470547"/>
                <a:gd name="connsiteX108" fmla="*/ 229447 w 578488"/>
                <a:gd name="connsiteY108" fmla="*/ 85561 h 470547"/>
                <a:gd name="connsiteX109" fmla="*/ 230145 w 578488"/>
                <a:gd name="connsiteY109" fmla="*/ 87049 h 470547"/>
                <a:gd name="connsiteX110" fmla="*/ 233021 w 578488"/>
                <a:gd name="connsiteY110" fmla="*/ 90942 h 470547"/>
                <a:gd name="connsiteX111" fmla="*/ 234334 w 578488"/>
                <a:gd name="connsiteY111" fmla="*/ 93213 h 470547"/>
                <a:gd name="connsiteX112" fmla="*/ 233269 w 578488"/>
                <a:gd name="connsiteY112" fmla="*/ 97497 h 470547"/>
                <a:gd name="connsiteX113" fmla="*/ 230475 w 578488"/>
                <a:gd name="connsiteY113" fmla="*/ 99655 h 470547"/>
                <a:gd name="connsiteX114" fmla="*/ 226163 w 578488"/>
                <a:gd name="connsiteY114" fmla="*/ 100039 h 470547"/>
                <a:gd name="connsiteX115" fmla="*/ 223138 w 578488"/>
                <a:gd name="connsiteY115" fmla="*/ 99860 h 470547"/>
                <a:gd name="connsiteX116" fmla="*/ 221231 w 578488"/>
                <a:gd name="connsiteY116" fmla="*/ 98822 h 470547"/>
                <a:gd name="connsiteX117" fmla="*/ 220993 w 578488"/>
                <a:gd name="connsiteY117" fmla="*/ 97657 h 470547"/>
                <a:gd name="connsiteX118" fmla="*/ 219892 w 578488"/>
                <a:gd name="connsiteY118" fmla="*/ 97313 h 470547"/>
                <a:gd name="connsiteX119" fmla="*/ 216987 w 578488"/>
                <a:gd name="connsiteY119" fmla="*/ 98809 h 470547"/>
                <a:gd name="connsiteX120" fmla="*/ 214969 w 578488"/>
                <a:gd name="connsiteY120" fmla="*/ 99011 h 470547"/>
                <a:gd name="connsiteX121" fmla="*/ 212401 w 578488"/>
                <a:gd name="connsiteY121" fmla="*/ 97851 h 470547"/>
                <a:gd name="connsiteX122" fmla="*/ 211710 w 578488"/>
                <a:gd name="connsiteY122" fmla="*/ 95995 h 470547"/>
                <a:gd name="connsiteX123" fmla="*/ 214435 w 578488"/>
                <a:gd name="connsiteY123" fmla="*/ 93665 h 470547"/>
                <a:gd name="connsiteX124" fmla="*/ 215696 w 578488"/>
                <a:gd name="connsiteY124" fmla="*/ 91852 h 470547"/>
                <a:gd name="connsiteX125" fmla="*/ 218720 w 578488"/>
                <a:gd name="connsiteY125" fmla="*/ 92012 h 470547"/>
                <a:gd name="connsiteX126" fmla="*/ 219475 w 578488"/>
                <a:gd name="connsiteY126" fmla="*/ 92576 h 470547"/>
                <a:gd name="connsiteX127" fmla="*/ 221183 w 578488"/>
                <a:gd name="connsiteY127" fmla="*/ 92928 h 470547"/>
                <a:gd name="connsiteX128" fmla="*/ 222222 w 578488"/>
                <a:gd name="connsiteY128" fmla="*/ 90744 h 470547"/>
                <a:gd name="connsiteX129" fmla="*/ 221982 w 578488"/>
                <a:gd name="connsiteY129" fmla="*/ 89232 h 470547"/>
                <a:gd name="connsiteX130" fmla="*/ 222742 w 578488"/>
                <a:gd name="connsiteY130" fmla="*/ 88181 h 470547"/>
                <a:gd name="connsiteX131" fmla="*/ 226394 w 578488"/>
                <a:gd name="connsiteY131" fmla="*/ 88938 h 470547"/>
                <a:gd name="connsiteX132" fmla="*/ 226400 w 578488"/>
                <a:gd name="connsiteY132" fmla="*/ 84826 h 470547"/>
                <a:gd name="connsiteX133" fmla="*/ 246910 w 578488"/>
                <a:gd name="connsiteY133" fmla="*/ 73108 h 470547"/>
                <a:gd name="connsiteX134" fmla="*/ 248739 w 578488"/>
                <a:gd name="connsiteY134" fmla="*/ 73108 h 470547"/>
                <a:gd name="connsiteX135" fmla="*/ 250540 w 578488"/>
                <a:gd name="connsiteY135" fmla="*/ 74204 h 470547"/>
                <a:gd name="connsiteX136" fmla="*/ 250216 w 578488"/>
                <a:gd name="connsiteY136" fmla="*/ 76443 h 470547"/>
                <a:gd name="connsiteX137" fmla="*/ 247515 w 578488"/>
                <a:gd name="connsiteY137" fmla="*/ 80477 h 470547"/>
                <a:gd name="connsiteX138" fmla="*/ 243513 w 578488"/>
                <a:gd name="connsiteY138" fmla="*/ 83908 h 470547"/>
                <a:gd name="connsiteX139" fmla="*/ 244001 w 578488"/>
                <a:gd name="connsiteY139" fmla="*/ 86367 h 470547"/>
                <a:gd name="connsiteX140" fmla="*/ 245595 w 578488"/>
                <a:gd name="connsiteY140" fmla="*/ 88389 h 470547"/>
                <a:gd name="connsiteX141" fmla="*/ 245986 w 578488"/>
                <a:gd name="connsiteY141" fmla="*/ 91839 h 470547"/>
                <a:gd name="connsiteX142" fmla="*/ 246083 w 578488"/>
                <a:gd name="connsiteY142" fmla="*/ 95156 h 470547"/>
                <a:gd name="connsiteX143" fmla="*/ 243049 w 578488"/>
                <a:gd name="connsiteY143" fmla="*/ 99627 h 470547"/>
                <a:gd name="connsiteX144" fmla="*/ 242378 w 578488"/>
                <a:gd name="connsiteY144" fmla="*/ 101772 h 470547"/>
                <a:gd name="connsiteX145" fmla="*/ 242643 w 578488"/>
                <a:gd name="connsiteY145" fmla="*/ 102042 h 470547"/>
                <a:gd name="connsiteX146" fmla="*/ 245656 w 578488"/>
                <a:gd name="connsiteY146" fmla="*/ 98341 h 470547"/>
                <a:gd name="connsiteX147" fmla="*/ 248994 w 578488"/>
                <a:gd name="connsiteY147" fmla="*/ 97185 h 470547"/>
                <a:gd name="connsiteX148" fmla="*/ 249201 w 578488"/>
                <a:gd name="connsiteY148" fmla="*/ 95895 h 470547"/>
                <a:gd name="connsiteX149" fmla="*/ 250495 w 578488"/>
                <a:gd name="connsiteY149" fmla="*/ 94646 h 470547"/>
                <a:gd name="connsiteX150" fmla="*/ 250348 w 578488"/>
                <a:gd name="connsiteY150" fmla="*/ 92605 h 470547"/>
                <a:gd name="connsiteX151" fmla="*/ 251006 w 578488"/>
                <a:gd name="connsiteY151" fmla="*/ 90944 h 470547"/>
                <a:gd name="connsiteX152" fmla="*/ 252708 w 578488"/>
                <a:gd name="connsiteY152" fmla="*/ 90504 h 470547"/>
                <a:gd name="connsiteX153" fmla="*/ 253771 w 578488"/>
                <a:gd name="connsiteY153" fmla="*/ 89942 h 470547"/>
                <a:gd name="connsiteX154" fmla="*/ 254950 w 578488"/>
                <a:gd name="connsiteY154" fmla="*/ 89632 h 470547"/>
                <a:gd name="connsiteX155" fmla="*/ 257079 w 578488"/>
                <a:gd name="connsiteY155" fmla="*/ 90976 h 470547"/>
                <a:gd name="connsiteX156" fmla="*/ 258284 w 578488"/>
                <a:gd name="connsiteY156" fmla="*/ 92467 h 470547"/>
                <a:gd name="connsiteX157" fmla="*/ 259780 w 578488"/>
                <a:gd name="connsiteY157" fmla="*/ 95797 h 470547"/>
                <a:gd name="connsiteX158" fmla="*/ 259158 w 578488"/>
                <a:gd name="connsiteY158" fmla="*/ 99013 h 470547"/>
                <a:gd name="connsiteX159" fmla="*/ 255150 w 578488"/>
                <a:gd name="connsiteY159" fmla="*/ 101517 h 470547"/>
                <a:gd name="connsiteX160" fmla="*/ 251965 w 578488"/>
                <a:gd name="connsiteY160" fmla="*/ 102646 h 470547"/>
                <a:gd name="connsiteX161" fmla="*/ 248748 w 578488"/>
                <a:gd name="connsiteY161" fmla="*/ 105516 h 470547"/>
                <a:gd name="connsiteX162" fmla="*/ 247131 w 578488"/>
                <a:gd name="connsiteY162" fmla="*/ 107859 h 470547"/>
                <a:gd name="connsiteX163" fmla="*/ 245742 w 578488"/>
                <a:gd name="connsiteY163" fmla="*/ 108366 h 470547"/>
                <a:gd name="connsiteX164" fmla="*/ 244863 w 578488"/>
                <a:gd name="connsiteY164" fmla="*/ 108175 h 470547"/>
                <a:gd name="connsiteX165" fmla="*/ 244082 w 578488"/>
                <a:gd name="connsiteY165" fmla="*/ 107609 h 470547"/>
                <a:gd name="connsiteX166" fmla="*/ 242451 w 578488"/>
                <a:gd name="connsiteY166" fmla="*/ 107607 h 470547"/>
                <a:gd name="connsiteX167" fmla="*/ 240657 w 578488"/>
                <a:gd name="connsiteY167" fmla="*/ 109638 h 470547"/>
                <a:gd name="connsiteX168" fmla="*/ 235239 w 578488"/>
                <a:gd name="connsiteY168" fmla="*/ 111288 h 470547"/>
                <a:gd name="connsiteX169" fmla="*/ 233114 w 578488"/>
                <a:gd name="connsiteY169" fmla="*/ 110812 h 470547"/>
                <a:gd name="connsiteX170" fmla="*/ 233017 w 578488"/>
                <a:gd name="connsiteY170" fmla="*/ 108788 h 470547"/>
                <a:gd name="connsiteX171" fmla="*/ 231749 w 578488"/>
                <a:gd name="connsiteY171" fmla="*/ 108956 h 470547"/>
                <a:gd name="connsiteX172" fmla="*/ 229719 w 578488"/>
                <a:gd name="connsiteY172" fmla="*/ 111382 h 470547"/>
                <a:gd name="connsiteX173" fmla="*/ 227733 w 578488"/>
                <a:gd name="connsiteY173" fmla="*/ 112191 h 470547"/>
                <a:gd name="connsiteX174" fmla="*/ 226398 w 578488"/>
                <a:gd name="connsiteY174" fmla="*/ 112440 h 470547"/>
                <a:gd name="connsiteX175" fmla="*/ 223947 w 578488"/>
                <a:gd name="connsiteY175" fmla="*/ 111527 h 470547"/>
                <a:gd name="connsiteX176" fmla="*/ 217359 w 578488"/>
                <a:gd name="connsiteY176" fmla="*/ 115654 h 470547"/>
                <a:gd name="connsiteX177" fmla="*/ 211181 w 578488"/>
                <a:gd name="connsiteY177" fmla="*/ 116425 h 470547"/>
                <a:gd name="connsiteX178" fmla="*/ 209147 w 578488"/>
                <a:gd name="connsiteY178" fmla="*/ 115948 h 470547"/>
                <a:gd name="connsiteX179" fmla="*/ 209140 w 578488"/>
                <a:gd name="connsiteY179" fmla="*/ 113424 h 470547"/>
                <a:gd name="connsiteX180" fmla="*/ 213133 w 578488"/>
                <a:gd name="connsiteY180" fmla="*/ 110191 h 470547"/>
                <a:gd name="connsiteX181" fmla="*/ 216407 w 578488"/>
                <a:gd name="connsiteY181" fmla="*/ 107941 h 470547"/>
                <a:gd name="connsiteX182" fmla="*/ 227672 w 578488"/>
                <a:gd name="connsiteY182" fmla="*/ 106369 h 470547"/>
                <a:gd name="connsiteX183" fmla="*/ 234688 w 578488"/>
                <a:gd name="connsiteY183" fmla="*/ 99674 h 470547"/>
                <a:gd name="connsiteX184" fmla="*/ 236383 w 578488"/>
                <a:gd name="connsiteY184" fmla="*/ 92374 h 470547"/>
                <a:gd name="connsiteX185" fmla="*/ 238042 w 578488"/>
                <a:gd name="connsiteY185" fmla="*/ 89732 h 470547"/>
                <a:gd name="connsiteX186" fmla="*/ 237262 w 578488"/>
                <a:gd name="connsiteY186" fmla="*/ 88238 h 470547"/>
                <a:gd name="connsiteX187" fmla="*/ 235375 w 578488"/>
                <a:gd name="connsiteY187" fmla="*/ 87975 h 470547"/>
                <a:gd name="connsiteX188" fmla="*/ 235260 w 578488"/>
                <a:gd name="connsiteY188" fmla="*/ 85677 h 470547"/>
                <a:gd name="connsiteX189" fmla="*/ 236245 w 578488"/>
                <a:gd name="connsiteY189" fmla="*/ 83162 h 470547"/>
                <a:gd name="connsiteX190" fmla="*/ 239927 w 578488"/>
                <a:gd name="connsiteY190" fmla="*/ 79703 h 470547"/>
                <a:gd name="connsiteX191" fmla="*/ 241972 w 578488"/>
                <a:gd name="connsiteY191" fmla="*/ 78229 h 470547"/>
                <a:gd name="connsiteX192" fmla="*/ 245304 w 578488"/>
                <a:gd name="connsiteY192" fmla="*/ 74050 h 470547"/>
                <a:gd name="connsiteX193" fmla="*/ 280912 w 578488"/>
                <a:gd name="connsiteY193" fmla="*/ 61606 h 470547"/>
                <a:gd name="connsiteX194" fmla="*/ 283570 w 578488"/>
                <a:gd name="connsiteY194" fmla="*/ 63847 h 470547"/>
                <a:gd name="connsiteX195" fmla="*/ 284766 w 578488"/>
                <a:gd name="connsiteY195" fmla="*/ 63162 h 470547"/>
                <a:gd name="connsiteX196" fmla="*/ 287118 w 578488"/>
                <a:gd name="connsiteY196" fmla="*/ 62907 h 470547"/>
                <a:gd name="connsiteX197" fmla="*/ 288867 w 578488"/>
                <a:gd name="connsiteY197" fmla="*/ 63693 h 470547"/>
                <a:gd name="connsiteX198" fmla="*/ 290297 w 578488"/>
                <a:gd name="connsiteY198" fmla="*/ 65116 h 470547"/>
                <a:gd name="connsiteX199" fmla="*/ 291992 w 578488"/>
                <a:gd name="connsiteY199" fmla="*/ 65181 h 470547"/>
                <a:gd name="connsiteX200" fmla="*/ 293056 w 578488"/>
                <a:gd name="connsiteY200" fmla="*/ 67038 h 470547"/>
                <a:gd name="connsiteX201" fmla="*/ 293598 w 578488"/>
                <a:gd name="connsiteY201" fmla="*/ 69452 h 470547"/>
                <a:gd name="connsiteX202" fmla="*/ 292367 w 578488"/>
                <a:gd name="connsiteY202" fmla="*/ 71253 h 470547"/>
                <a:gd name="connsiteX203" fmla="*/ 290621 w 578488"/>
                <a:gd name="connsiteY203" fmla="*/ 72068 h 470547"/>
                <a:gd name="connsiteX204" fmla="*/ 290148 w 578488"/>
                <a:gd name="connsiteY204" fmla="*/ 74189 h 470547"/>
                <a:gd name="connsiteX205" fmla="*/ 290811 w 578488"/>
                <a:gd name="connsiteY205" fmla="*/ 77154 h 470547"/>
                <a:gd name="connsiteX206" fmla="*/ 286893 w 578488"/>
                <a:gd name="connsiteY206" fmla="*/ 78170 h 470547"/>
                <a:gd name="connsiteX207" fmla="*/ 282352 w 578488"/>
                <a:gd name="connsiteY207" fmla="*/ 78622 h 470547"/>
                <a:gd name="connsiteX208" fmla="*/ 280577 w 578488"/>
                <a:gd name="connsiteY208" fmla="*/ 77205 h 470547"/>
                <a:gd name="connsiteX209" fmla="*/ 276945 w 578488"/>
                <a:gd name="connsiteY209" fmla="*/ 79802 h 470547"/>
                <a:gd name="connsiteX210" fmla="*/ 273348 w 578488"/>
                <a:gd name="connsiteY210" fmla="*/ 83842 h 470547"/>
                <a:gd name="connsiteX211" fmla="*/ 271614 w 578488"/>
                <a:gd name="connsiteY211" fmla="*/ 84317 h 470547"/>
                <a:gd name="connsiteX212" fmla="*/ 271493 w 578488"/>
                <a:gd name="connsiteY212" fmla="*/ 83039 h 470547"/>
                <a:gd name="connsiteX213" fmla="*/ 268908 w 578488"/>
                <a:gd name="connsiteY213" fmla="*/ 82156 h 470547"/>
                <a:gd name="connsiteX214" fmla="*/ 265598 w 578488"/>
                <a:gd name="connsiteY214" fmla="*/ 82105 h 470547"/>
                <a:gd name="connsiteX215" fmla="*/ 265708 w 578488"/>
                <a:gd name="connsiteY215" fmla="*/ 81158 h 470547"/>
                <a:gd name="connsiteX216" fmla="*/ 266308 w 578488"/>
                <a:gd name="connsiteY216" fmla="*/ 80489 h 470547"/>
                <a:gd name="connsiteX217" fmla="*/ 269165 w 578488"/>
                <a:gd name="connsiteY217" fmla="*/ 79496 h 470547"/>
                <a:gd name="connsiteX218" fmla="*/ 269735 w 578488"/>
                <a:gd name="connsiteY218" fmla="*/ 77447 h 470547"/>
                <a:gd name="connsiteX219" fmla="*/ 269216 w 578488"/>
                <a:gd name="connsiteY219" fmla="*/ 73784 h 470547"/>
                <a:gd name="connsiteX220" fmla="*/ 269720 w 578488"/>
                <a:gd name="connsiteY220" fmla="*/ 72004 h 470547"/>
                <a:gd name="connsiteX221" fmla="*/ 269828 w 578488"/>
                <a:gd name="connsiteY221" fmla="*/ 70773 h 470547"/>
                <a:gd name="connsiteX222" fmla="*/ 271624 w 578488"/>
                <a:gd name="connsiteY222" fmla="*/ 69332 h 470547"/>
                <a:gd name="connsiteX223" fmla="*/ 277768 w 578488"/>
                <a:gd name="connsiteY223" fmla="*/ 70009 h 470547"/>
                <a:gd name="connsiteX224" fmla="*/ 278513 w 578488"/>
                <a:gd name="connsiteY224" fmla="*/ 68633 h 470547"/>
                <a:gd name="connsiteX225" fmla="*/ 278047 w 578488"/>
                <a:gd name="connsiteY225" fmla="*/ 67767 h 470547"/>
                <a:gd name="connsiteX226" fmla="*/ 274872 w 578488"/>
                <a:gd name="connsiteY226" fmla="*/ 66249 h 470547"/>
                <a:gd name="connsiteX227" fmla="*/ 275360 w 578488"/>
                <a:gd name="connsiteY227" fmla="*/ 65227 h 470547"/>
                <a:gd name="connsiteX228" fmla="*/ 277651 w 578488"/>
                <a:gd name="connsiteY228" fmla="*/ 64313 h 470547"/>
                <a:gd name="connsiteX229" fmla="*/ 279819 w 578488"/>
                <a:gd name="connsiteY229" fmla="*/ 64195 h 470547"/>
                <a:gd name="connsiteX230" fmla="*/ 280471 w 578488"/>
                <a:gd name="connsiteY230" fmla="*/ 62647 h 470547"/>
                <a:gd name="connsiteX231" fmla="*/ 280584 w 578488"/>
                <a:gd name="connsiteY231" fmla="*/ 61973 h 470547"/>
                <a:gd name="connsiteX232" fmla="*/ 553617 w 578488"/>
                <a:gd name="connsiteY232" fmla="*/ 49437 h 470547"/>
                <a:gd name="connsiteX233" fmla="*/ 555344 w 578488"/>
                <a:gd name="connsiteY233" fmla="*/ 49560 h 470547"/>
                <a:gd name="connsiteX234" fmla="*/ 557091 w 578488"/>
                <a:gd name="connsiteY234" fmla="*/ 50712 h 470547"/>
                <a:gd name="connsiteX235" fmla="*/ 558466 w 578488"/>
                <a:gd name="connsiteY235" fmla="*/ 52086 h 470547"/>
                <a:gd name="connsiteX236" fmla="*/ 556277 w 578488"/>
                <a:gd name="connsiteY236" fmla="*/ 53725 h 470547"/>
                <a:gd name="connsiteX237" fmla="*/ 552077 w 578488"/>
                <a:gd name="connsiteY237" fmla="*/ 54876 h 470547"/>
                <a:gd name="connsiteX238" fmla="*/ 551591 w 578488"/>
                <a:gd name="connsiteY238" fmla="*/ 53929 h 470547"/>
                <a:gd name="connsiteX239" fmla="*/ 552513 w 578488"/>
                <a:gd name="connsiteY239" fmla="*/ 52454 h 470547"/>
                <a:gd name="connsiteX240" fmla="*/ 350606 w 578488"/>
                <a:gd name="connsiteY240" fmla="*/ 36555 h 470547"/>
                <a:gd name="connsiteX241" fmla="*/ 353506 w 578488"/>
                <a:gd name="connsiteY241" fmla="*/ 37006 h 470547"/>
                <a:gd name="connsiteX242" fmla="*/ 354245 w 578488"/>
                <a:gd name="connsiteY242" fmla="*/ 37564 h 470547"/>
                <a:gd name="connsiteX243" fmla="*/ 353355 w 578488"/>
                <a:gd name="connsiteY243" fmla="*/ 42154 h 470547"/>
                <a:gd name="connsiteX244" fmla="*/ 352163 w 578488"/>
                <a:gd name="connsiteY244" fmla="*/ 43074 h 470547"/>
                <a:gd name="connsiteX245" fmla="*/ 350334 w 578488"/>
                <a:gd name="connsiteY245" fmla="*/ 43450 h 470547"/>
                <a:gd name="connsiteX246" fmla="*/ 349349 w 578488"/>
                <a:gd name="connsiteY246" fmla="*/ 42879 h 470547"/>
                <a:gd name="connsiteX247" fmla="*/ 347948 w 578488"/>
                <a:gd name="connsiteY247" fmla="*/ 42504 h 470547"/>
                <a:gd name="connsiteX248" fmla="*/ 346391 w 578488"/>
                <a:gd name="connsiteY248" fmla="*/ 42676 h 470547"/>
                <a:gd name="connsiteX249" fmla="*/ 345082 w 578488"/>
                <a:gd name="connsiteY249" fmla="*/ 40989 h 470547"/>
                <a:gd name="connsiteX250" fmla="*/ 345229 w 578488"/>
                <a:gd name="connsiteY250" fmla="*/ 39572 h 470547"/>
                <a:gd name="connsiteX251" fmla="*/ 347021 w 578488"/>
                <a:gd name="connsiteY251" fmla="*/ 37649 h 470547"/>
                <a:gd name="connsiteX252" fmla="*/ 318716 w 578488"/>
                <a:gd name="connsiteY252" fmla="*/ 35896 h 470547"/>
                <a:gd name="connsiteX253" fmla="*/ 319528 w 578488"/>
                <a:gd name="connsiteY253" fmla="*/ 38632 h 470547"/>
                <a:gd name="connsiteX254" fmla="*/ 319653 w 578488"/>
                <a:gd name="connsiteY254" fmla="*/ 43078 h 470547"/>
                <a:gd name="connsiteX255" fmla="*/ 321614 w 578488"/>
                <a:gd name="connsiteY255" fmla="*/ 45233 h 470547"/>
                <a:gd name="connsiteX256" fmla="*/ 323350 w 578488"/>
                <a:gd name="connsiteY256" fmla="*/ 45026 h 470547"/>
                <a:gd name="connsiteX257" fmla="*/ 323873 w 578488"/>
                <a:gd name="connsiteY257" fmla="*/ 44213 h 470547"/>
                <a:gd name="connsiteX258" fmla="*/ 325058 w 578488"/>
                <a:gd name="connsiteY258" fmla="*/ 43811 h 470547"/>
                <a:gd name="connsiteX259" fmla="*/ 327453 w 578488"/>
                <a:gd name="connsiteY259" fmla="*/ 44949 h 470547"/>
                <a:gd name="connsiteX260" fmla="*/ 327110 w 578488"/>
                <a:gd name="connsiteY260" fmla="*/ 46885 h 470547"/>
                <a:gd name="connsiteX261" fmla="*/ 323795 w 578488"/>
                <a:gd name="connsiteY261" fmla="*/ 49325 h 470547"/>
                <a:gd name="connsiteX262" fmla="*/ 321416 w 578488"/>
                <a:gd name="connsiteY262" fmla="*/ 52800 h 470547"/>
                <a:gd name="connsiteX263" fmla="*/ 318371 w 578488"/>
                <a:gd name="connsiteY263" fmla="*/ 53606 h 470547"/>
                <a:gd name="connsiteX264" fmla="*/ 316907 w 578488"/>
                <a:gd name="connsiteY264" fmla="*/ 53187 h 470547"/>
                <a:gd name="connsiteX265" fmla="*/ 314186 w 578488"/>
                <a:gd name="connsiteY265" fmla="*/ 55190 h 470547"/>
                <a:gd name="connsiteX266" fmla="*/ 312005 w 578488"/>
                <a:gd name="connsiteY266" fmla="*/ 57269 h 470547"/>
                <a:gd name="connsiteX267" fmla="*/ 309744 w 578488"/>
                <a:gd name="connsiteY267" fmla="*/ 59895 h 470547"/>
                <a:gd name="connsiteX268" fmla="*/ 309606 w 578488"/>
                <a:gd name="connsiteY268" fmla="*/ 61247 h 470547"/>
                <a:gd name="connsiteX269" fmla="*/ 309254 w 578488"/>
                <a:gd name="connsiteY269" fmla="*/ 62281 h 470547"/>
                <a:gd name="connsiteX270" fmla="*/ 300973 w 578488"/>
                <a:gd name="connsiteY270" fmla="*/ 63307 h 470547"/>
                <a:gd name="connsiteX271" fmla="*/ 297962 w 578488"/>
                <a:gd name="connsiteY271" fmla="*/ 63986 h 470547"/>
                <a:gd name="connsiteX272" fmla="*/ 294773 w 578488"/>
                <a:gd name="connsiteY272" fmla="*/ 63110 h 470547"/>
                <a:gd name="connsiteX273" fmla="*/ 293262 w 578488"/>
                <a:gd name="connsiteY273" fmla="*/ 61376 h 470547"/>
                <a:gd name="connsiteX274" fmla="*/ 293747 w 578488"/>
                <a:gd name="connsiteY274" fmla="*/ 60433 h 470547"/>
                <a:gd name="connsiteX275" fmla="*/ 296930 w 578488"/>
                <a:gd name="connsiteY275" fmla="*/ 60056 h 470547"/>
                <a:gd name="connsiteX276" fmla="*/ 297032 w 578488"/>
                <a:gd name="connsiteY276" fmla="*/ 58445 h 470547"/>
                <a:gd name="connsiteX277" fmla="*/ 297837 w 578488"/>
                <a:gd name="connsiteY277" fmla="*/ 57461 h 470547"/>
                <a:gd name="connsiteX278" fmla="*/ 298867 w 578488"/>
                <a:gd name="connsiteY278" fmla="*/ 56924 h 470547"/>
                <a:gd name="connsiteX279" fmla="*/ 299625 w 578488"/>
                <a:gd name="connsiteY279" fmla="*/ 54863 h 470547"/>
                <a:gd name="connsiteX280" fmla="*/ 300884 w 578488"/>
                <a:gd name="connsiteY280" fmla="*/ 54325 h 470547"/>
                <a:gd name="connsiteX281" fmla="*/ 303231 w 578488"/>
                <a:gd name="connsiteY281" fmla="*/ 54832 h 470547"/>
                <a:gd name="connsiteX282" fmla="*/ 304814 w 578488"/>
                <a:gd name="connsiteY282" fmla="*/ 53338 h 470547"/>
                <a:gd name="connsiteX283" fmla="*/ 305706 w 578488"/>
                <a:gd name="connsiteY283" fmla="*/ 53085 h 470547"/>
                <a:gd name="connsiteX284" fmla="*/ 306805 w 578488"/>
                <a:gd name="connsiteY284" fmla="*/ 54321 h 470547"/>
                <a:gd name="connsiteX285" fmla="*/ 307334 w 578488"/>
                <a:gd name="connsiteY285" fmla="*/ 52619 h 470547"/>
                <a:gd name="connsiteX286" fmla="*/ 306805 w 578488"/>
                <a:gd name="connsiteY286" fmla="*/ 51064 h 470547"/>
                <a:gd name="connsiteX287" fmla="*/ 307082 w 578488"/>
                <a:gd name="connsiteY287" fmla="*/ 50015 h 470547"/>
                <a:gd name="connsiteX288" fmla="*/ 310117 w 578488"/>
                <a:gd name="connsiteY288" fmla="*/ 47283 h 470547"/>
                <a:gd name="connsiteX289" fmla="*/ 311431 w 578488"/>
                <a:gd name="connsiteY289" fmla="*/ 45289 h 470547"/>
                <a:gd name="connsiteX290" fmla="*/ 313320 w 578488"/>
                <a:gd name="connsiteY290" fmla="*/ 44004 h 470547"/>
                <a:gd name="connsiteX291" fmla="*/ 315140 w 578488"/>
                <a:gd name="connsiteY291" fmla="*/ 44209 h 470547"/>
                <a:gd name="connsiteX292" fmla="*/ 315669 w 578488"/>
                <a:gd name="connsiteY292" fmla="*/ 42315 h 470547"/>
                <a:gd name="connsiteX293" fmla="*/ 315140 w 578488"/>
                <a:gd name="connsiteY293" fmla="*/ 40373 h 470547"/>
                <a:gd name="connsiteX294" fmla="*/ 315341 w 578488"/>
                <a:gd name="connsiteY294" fmla="*/ 39107 h 470547"/>
                <a:gd name="connsiteX295" fmla="*/ 316948 w 578488"/>
                <a:gd name="connsiteY295" fmla="*/ 36027 h 470547"/>
                <a:gd name="connsiteX296" fmla="*/ 329133 w 578488"/>
                <a:gd name="connsiteY296" fmla="*/ 34857 h 470547"/>
                <a:gd name="connsiteX297" fmla="*/ 330984 w 578488"/>
                <a:gd name="connsiteY297" fmla="*/ 37118 h 470547"/>
                <a:gd name="connsiteX298" fmla="*/ 332109 w 578488"/>
                <a:gd name="connsiteY298" fmla="*/ 37583 h 470547"/>
                <a:gd name="connsiteX299" fmla="*/ 333221 w 578488"/>
                <a:gd name="connsiteY299" fmla="*/ 37294 h 470547"/>
                <a:gd name="connsiteX300" fmla="*/ 334145 w 578488"/>
                <a:gd name="connsiteY300" fmla="*/ 37705 h 470547"/>
                <a:gd name="connsiteX301" fmla="*/ 335996 w 578488"/>
                <a:gd name="connsiteY301" fmla="*/ 39794 h 470547"/>
                <a:gd name="connsiteX302" fmla="*/ 337989 w 578488"/>
                <a:gd name="connsiteY302" fmla="*/ 40615 h 470547"/>
                <a:gd name="connsiteX303" fmla="*/ 338082 w 578488"/>
                <a:gd name="connsiteY303" fmla="*/ 41666 h 470547"/>
                <a:gd name="connsiteX304" fmla="*/ 336257 w 578488"/>
                <a:gd name="connsiteY304" fmla="*/ 42690 h 470547"/>
                <a:gd name="connsiteX305" fmla="*/ 333854 w 578488"/>
                <a:gd name="connsiteY305" fmla="*/ 42997 h 470547"/>
                <a:gd name="connsiteX306" fmla="*/ 331280 w 578488"/>
                <a:gd name="connsiteY306" fmla="*/ 42641 h 470547"/>
                <a:gd name="connsiteX307" fmla="*/ 330524 w 578488"/>
                <a:gd name="connsiteY307" fmla="*/ 41332 h 470547"/>
                <a:gd name="connsiteX308" fmla="*/ 329731 w 578488"/>
                <a:gd name="connsiteY308" fmla="*/ 39157 h 470547"/>
                <a:gd name="connsiteX309" fmla="*/ 327578 w 578488"/>
                <a:gd name="connsiteY309" fmla="*/ 37023 h 470547"/>
                <a:gd name="connsiteX310" fmla="*/ 327259 w 578488"/>
                <a:gd name="connsiteY310" fmla="*/ 35152 h 470547"/>
                <a:gd name="connsiteX311" fmla="*/ 414550 w 578488"/>
                <a:gd name="connsiteY311" fmla="*/ 21147 h 470547"/>
                <a:gd name="connsiteX312" fmla="*/ 415263 w 578488"/>
                <a:gd name="connsiteY312" fmla="*/ 22086 h 470547"/>
                <a:gd name="connsiteX313" fmla="*/ 416068 w 578488"/>
                <a:gd name="connsiteY313" fmla="*/ 23860 h 470547"/>
                <a:gd name="connsiteX314" fmla="*/ 416480 w 578488"/>
                <a:gd name="connsiteY314" fmla="*/ 25730 h 470547"/>
                <a:gd name="connsiteX315" fmla="*/ 416636 w 578488"/>
                <a:gd name="connsiteY315" fmla="*/ 27271 h 470547"/>
                <a:gd name="connsiteX316" fmla="*/ 414573 w 578488"/>
                <a:gd name="connsiteY316" fmla="*/ 29498 h 470547"/>
                <a:gd name="connsiteX317" fmla="*/ 409821 w 578488"/>
                <a:gd name="connsiteY317" fmla="*/ 32415 h 470547"/>
                <a:gd name="connsiteX318" fmla="*/ 410093 w 578488"/>
                <a:gd name="connsiteY318" fmla="*/ 33198 h 470547"/>
                <a:gd name="connsiteX319" fmla="*/ 408448 w 578488"/>
                <a:gd name="connsiteY319" fmla="*/ 33946 h 470547"/>
                <a:gd name="connsiteX320" fmla="*/ 405981 w 578488"/>
                <a:gd name="connsiteY320" fmla="*/ 34498 h 470547"/>
                <a:gd name="connsiteX321" fmla="*/ 404679 w 578488"/>
                <a:gd name="connsiteY321" fmla="*/ 33962 h 470547"/>
                <a:gd name="connsiteX322" fmla="*/ 404859 w 578488"/>
                <a:gd name="connsiteY322" fmla="*/ 31463 h 470547"/>
                <a:gd name="connsiteX323" fmla="*/ 404466 w 578488"/>
                <a:gd name="connsiteY323" fmla="*/ 30714 h 470547"/>
                <a:gd name="connsiteX324" fmla="*/ 402593 w 578488"/>
                <a:gd name="connsiteY324" fmla="*/ 31705 h 470547"/>
                <a:gd name="connsiteX325" fmla="*/ 400646 w 578488"/>
                <a:gd name="connsiteY325" fmla="*/ 30434 h 470547"/>
                <a:gd name="connsiteX326" fmla="*/ 400643 w 578488"/>
                <a:gd name="connsiteY326" fmla="*/ 29155 h 470547"/>
                <a:gd name="connsiteX327" fmla="*/ 401157 w 578488"/>
                <a:gd name="connsiteY327" fmla="*/ 28044 h 470547"/>
                <a:gd name="connsiteX328" fmla="*/ 402958 w 578488"/>
                <a:gd name="connsiteY328" fmla="*/ 26354 h 470547"/>
                <a:gd name="connsiteX329" fmla="*/ 405964 w 578488"/>
                <a:gd name="connsiteY329" fmla="*/ 25189 h 470547"/>
                <a:gd name="connsiteX330" fmla="*/ 407946 w 578488"/>
                <a:gd name="connsiteY330" fmla="*/ 25626 h 470547"/>
                <a:gd name="connsiteX331" fmla="*/ 419674 w 578488"/>
                <a:gd name="connsiteY331" fmla="*/ 15922 h 470547"/>
                <a:gd name="connsiteX332" fmla="*/ 420959 w 578488"/>
                <a:gd name="connsiteY332" fmla="*/ 16643 h 470547"/>
                <a:gd name="connsiteX333" fmla="*/ 421302 w 578488"/>
                <a:gd name="connsiteY333" fmla="*/ 17247 h 470547"/>
                <a:gd name="connsiteX334" fmla="*/ 423611 w 578488"/>
                <a:gd name="connsiteY334" fmla="*/ 17839 h 470547"/>
                <a:gd name="connsiteX335" fmla="*/ 426305 w 578488"/>
                <a:gd name="connsiteY335" fmla="*/ 19805 h 470547"/>
                <a:gd name="connsiteX336" fmla="*/ 424962 w 578488"/>
                <a:gd name="connsiteY336" fmla="*/ 23137 h 470547"/>
                <a:gd name="connsiteX337" fmla="*/ 420751 w 578488"/>
                <a:gd name="connsiteY337" fmla="*/ 24733 h 470547"/>
                <a:gd name="connsiteX338" fmla="*/ 418307 w 578488"/>
                <a:gd name="connsiteY338" fmla="*/ 23358 h 470547"/>
                <a:gd name="connsiteX339" fmla="*/ 417279 w 578488"/>
                <a:gd name="connsiteY339" fmla="*/ 21949 h 470547"/>
                <a:gd name="connsiteX340" fmla="*/ 417128 w 578488"/>
                <a:gd name="connsiteY340" fmla="*/ 18816 h 470547"/>
                <a:gd name="connsiteX341" fmla="*/ 417700 w 578488"/>
                <a:gd name="connsiteY341" fmla="*/ 16908 h 470547"/>
                <a:gd name="connsiteX342" fmla="*/ 411209 w 578488"/>
                <a:gd name="connsiteY342" fmla="*/ 12093 h 470547"/>
                <a:gd name="connsiteX343" fmla="*/ 412202 w 578488"/>
                <a:gd name="connsiteY343" fmla="*/ 13172 h 470547"/>
                <a:gd name="connsiteX344" fmla="*/ 411769 w 578488"/>
                <a:gd name="connsiteY344" fmla="*/ 14432 h 470547"/>
                <a:gd name="connsiteX345" fmla="*/ 411021 w 578488"/>
                <a:gd name="connsiteY345" fmla="*/ 15659 h 470547"/>
                <a:gd name="connsiteX346" fmla="*/ 409209 w 578488"/>
                <a:gd name="connsiteY346" fmla="*/ 16953 h 470547"/>
                <a:gd name="connsiteX347" fmla="*/ 403969 w 578488"/>
                <a:gd name="connsiteY347" fmla="*/ 22068 h 470547"/>
                <a:gd name="connsiteX348" fmla="*/ 400889 w 578488"/>
                <a:gd name="connsiteY348" fmla="*/ 22891 h 470547"/>
                <a:gd name="connsiteX349" fmla="*/ 399914 w 578488"/>
                <a:gd name="connsiteY349" fmla="*/ 23692 h 470547"/>
                <a:gd name="connsiteX350" fmla="*/ 398683 w 578488"/>
                <a:gd name="connsiteY350" fmla="*/ 24170 h 470547"/>
                <a:gd name="connsiteX351" fmla="*/ 394856 w 578488"/>
                <a:gd name="connsiteY351" fmla="*/ 23471 h 470547"/>
                <a:gd name="connsiteX352" fmla="*/ 393736 w 578488"/>
                <a:gd name="connsiteY352" fmla="*/ 24506 h 470547"/>
                <a:gd name="connsiteX353" fmla="*/ 392678 w 578488"/>
                <a:gd name="connsiteY353" fmla="*/ 25197 h 470547"/>
                <a:gd name="connsiteX354" fmla="*/ 389907 w 578488"/>
                <a:gd name="connsiteY354" fmla="*/ 25465 h 470547"/>
                <a:gd name="connsiteX355" fmla="*/ 388281 w 578488"/>
                <a:gd name="connsiteY355" fmla="*/ 25240 h 470547"/>
                <a:gd name="connsiteX356" fmla="*/ 384081 w 578488"/>
                <a:gd name="connsiteY356" fmla="*/ 23348 h 470547"/>
                <a:gd name="connsiteX357" fmla="*/ 381582 w 578488"/>
                <a:gd name="connsiteY357" fmla="*/ 21298 h 470547"/>
                <a:gd name="connsiteX358" fmla="*/ 380229 w 578488"/>
                <a:gd name="connsiteY358" fmla="*/ 19542 h 470547"/>
                <a:gd name="connsiteX359" fmla="*/ 384109 w 578488"/>
                <a:gd name="connsiteY359" fmla="*/ 19576 h 470547"/>
                <a:gd name="connsiteX360" fmla="*/ 385493 w 578488"/>
                <a:gd name="connsiteY360" fmla="*/ 19151 h 470547"/>
                <a:gd name="connsiteX361" fmla="*/ 388095 w 578488"/>
                <a:gd name="connsiteY361" fmla="*/ 19521 h 470547"/>
                <a:gd name="connsiteX362" fmla="*/ 389658 w 578488"/>
                <a:gd name="connsiteY362" fmla="*/ 17719 h 470547"/>
                <a:gd name="connsiteX363" fmla="*/ 392969 w 578488"/>
                <a:gd name="connsiteY363" fmla="*/ 17937 h 470547"/>
                <a:gd name="connsiteX364" fmla="*/ 399324 w 578488"/>
                <a:gd name="connsiteY364" fmla="*/ 16682 h 470547"/>
                <a:gd name="connsiteX365" fmla="*/ 401656 w 578488"/>
                <a:gd name="connsiteY365" fmla="*/ 17382 h 470547"/>
                <a:gd name="connsiteX366" fmla="*/ 406988 w 578488"/>
                <a:gd name="connsiteY366" fmla="*/ 13184 h 470547"/>
                <a:gd name="connsiteX367" fmla="*/ 408657 w 578488"/>
                <a:gd name="connsiteY367" fmla="*/ 13294 h 470547"/>
                <a:gd name="connsiteX368" fmla="*/ 504113 w 578488"/>
                <a:gd name="connsiteY368" fmla="*/ 2056 h 470547"/>
                <a:gd name="connsiteX369" fmla="*/ 507129 w 578488"/>
                <a:gd name="connsiteY369" fmla="*/ 2479 h 470547"/>
                <a:gd name="connsiteX370" fmla="*/ 508932 w 578488"/>
                <a:gd name="connsiteY370" fmla="*/ 3348 h 470547"/>
                <a:gd name="connsiteX371" fmla="*/ 516155 w 578488"/>
                <a:gd name="connsiteY371" fmla="*/ 4009 h 470547"/>
                <a:gd name="connsiteX372" fmla="*/ 521696 w 578488"/>
                <a:gd name="connsiteY372" fmla="*/ 6744 h 470547"/>
                <a:gd name="connsiteX373" fmla="*/ 521485 w 578488"/>
                <a:gd name="connsiteY373" fmla="*/ 11012 h 470547"/>
                <a:gd name="connsiteX374" fmla="*/ 520250 w 578488"/>
                <a:gd name="connsiteY374" fmla="*/ 12793 h 470547"/>
                <a:gd name="connsiteX375" fmla="*/ 519034 w 578488"/>
                <a:gd name="connsiteY375" fmla="*/ 13889 h 470547"/>
                <a:gd name="connsiteX376" fmla="*/ 511938 w 578488"/>
                <a:gd name="connsiteY376" fmla="*/ 17118 h 470547"/>
                <a:gd name="connsiteX377" fmla="*/ 510768 w 578488"/>
                <a:gd name="connsiteY377" fmla="*/ 18708 h 470547"/>
                <a:gd name="connsiteX378" fmla="*/ 512996 w 578488"/>
                <a:gd name="connsiteY378" fmla="*/ 19257 h 470547"/>
                <a:gd name="connsiteX379" fmla="*/ 517790 w 578488"/>
                <a:gd name="connsiteY379" fmla="*/ 17649 h 470547"/>
                <a:gd name="connsiteX380" fmla="*/ 519032 w 578488"/>
                <a:gd name="connsiteY380" fmla="*/ 19108 h 470547"/>
                <a:gd name="connsiteX381" fmla="*/ 517505 w 578488"/>
                <a:gd name="connsiteY381" fmla="*/ 22756 h 470547"/>
                <a:gd name="connsiteX382" fmla="*/ 517246 w 578488"/>
                <a:gd name="connsiteY382" fmla="*/ 28220 h 470547"/>
                <a:gd name="connsiteX383" fmla="*/ 516693 w 578488"/>
                <a:gd name="connsiteY383" fmla="*/ 31401 h 470547"/>
                <a:gd name="connsiteX384" fmla="*/ 516693 w 578488"/>
                <a:gd name="connsiteY384" fmla="*/ 34298 h 470547"/>
                <a:gd name="connsiteX385" fmla="*/ 517289 w 578488"/>
                <a:gd name="connsiteY385" fmla="*/ 35851 h 470547"/>
                <a:gd name="connsiteX386" fmla="*/ 519215 w 578488"/>
                <a:gd name="connsiteY386" fmla="*/ 29687 h 470547"/>
                <a:gd name="connsiteX387" fmla="*/ 519874 w 578488"/>
                <a:gd name="connsiteY387" fmla="*/ 28105 h 470547"/>
                <a:gd name="connsiteX388" fmla="*/ 522692 w 578488"/>
                <a:gd name="connsiteY388" fmla="*/ 25777 h 470547"/>
                <a:gd name="connsiteX389" fmla="*/ 523741 w 578488"/>
                <a:gd name="connsiteY389" fmla="*/ 21079 h 470547"/>
                <a:gd name="connsiteX390" fmla="*/ 526497 w 578488"/>
                <a:gd name="connsiteY390" fmla="*/ 15427 h 470547"/>
                <a:gd name="connsiteX391" fmla="*/ 529602 w 578488"/>
                <a:gd name="connsiteY391" fmla="*/ 12136 h 470547"/>
                <a:gd name="connsiteX392" fmla="*/ 531409 w 578488"/>
                <a:gd name="connsiteY392" fmla="*/ 11232 h 470547"/>
                <a:gd name="connsiteX393" fmla="*/ 537397 w 578488"/>
                <a:gd name="connsiteY393" fmla="*/ 11362 h 470547"/>
                <a:gd name="connsiteX394" fmla="*/ 539967 w 578488"/>
                <a:gd name="connsiteY394" fmla="*/ 12602 h 470547"/>
                <a:gd name="connsiteX395" fmla="*/ 542234 w 578488"/>
                <a:gd name="connsiteY395" fmla="*/ 15355 h 470547"/>
                <a:gd name="connsiteX396" fmla="*/ 543927 w 578488"/>
                <a:gd name="connsiteY396" fmla="*/ 16453 h 470547"/>
                <a:gd name="connsiteX397" fmla="*/ 549265 w 578488"/>
                <a:gd name="connsiteY397" fmla="*/ 17621 h 470547"/>
                <a:gd name="connsiteX398" fmla="*/ 551098 w 578488"/>
                <a:gd name="connsiteY398" fmla="*/ 19084 h 470547"/>
                <a:gd name="connsiteX399" fmla="*/ 551442 w 578488"/>
                <a:gd name="connsiteY399" fmla="*/ 19955 h 470547"/>
                <a:gd name="connsiteX400" fmla="*/ 552746 w 578488"/>
                <a:gd name="connsiteY400" fmla="*/ 20128 h 470547"/>
                <a:gd name="connsiteX401" fmla="*/ 556348 w 578488"/>
                <a:gd name="connsiteY401" fmla="*/ 18048 h 470547"/>
                <a:gd name="connsiteX402" fmla="*/ 558687 w 578488"/>
                <a:gd name="connsiteY402" fmla="*/ 17703 h 470547"/>
                <a:gd name="connsiteX403" fmla="*/ 562502 w 578488"/>
                <a:gd name="connsiteY403" fmla="*/ 20944 h 470547"/>
                <a:gd name="connsiteX404" fmla="*/ 561736 w 578488"/>
                <a:gd name="connsiteY404" fmla="*/ 23340 h 470547"/>
                <a:gd name="connsiteX405" fmla="*/ 561960 w 578488"/>
                <a:gd name="connsiteY405" fmla="*/ 24100 h 470547"/>
                <a:gd name="connsiteX406" fmla="*/ 566579 w 578488"/>
                <a:gd name="connsiteY406" fmla="*/ 23946 h 470547"/>
                <a:gd name="connsiteX407" fmla="*/ 570423 w 578488"/>
                <a:gd name="connsiteY407" fmla="*/ 24885 h 470547"/>
                <a:gd name="connsiteX408" fmla="*/ 577730 w 578488"/>
                <a:gd name="connsiteY408" fmla="*/ 29778 h 470547"/>
                <a:gd name="connsiteX409" fmla="*/ 578488 w 578488"/>
                <a:gd name="connsiteY409" fmla="*/ 32061 h 470547"/>
                <a:gd name="connsiteX410" fmla="*/ 578123 w 578488"/>
                <a:gd name="connsiteY410" fmla="*/ 34824 h 470547"/>
                <a:gd name="connsiteX411" fmla="*/ 567616 w 578488"/>
                <a:gd name="connsiteY411" fmla="*/ 37866 h 470547"/>
                <a:gd name="connsiteX412" fmla="*/ 563062 w 578488"/>
                <a:gd name="connsiteY412" fmla="*/ 40768 h 470547"/>
                <a:gd name="connsiteX413" fmla="*/ 555608 w 578488"/>
                <a:gd name="connsiteY413" fmla="*/ 41887 h 470547"/>
                <a:gd name="connsiteX414" fmla="*/ 530295 w 578488"/>
                <a:gd name="connsiteY414" fmla="*/ 39947 h 470547"/>
                <a:gd name="connsiteX415" fmla="*/ 530807 w 578488"/>
                <a:gd name="connsiteY415" fmla="*/ 42044 h 470547"/>
                <a:gd name="connsiteX416" fmla="*/ 548432 w 578488"/>
                <a:gd name="connsiteY416" fmla="*/ 46625 h 470547"/>
                <a:gd name="connsiteX417" fmla="*/ 549438 w 578488"/>
                <a:gd name="connsiteY417" fmla="*/ 47931 h 470547"/>
                <a:gd name="connsiteX418" fmla="*/ 548874 w 578488"/>
                <a:gd name="connsiteY418" fmla="*/ 50679 h 470547"/>
                <a:gd name="connsiteX419" fmla="*/ 548866 w 578488"/>
                <a:gd name="connsiteY419" fmla="*/ 52881 h 470547"/>
                <a:gd name="connsiteX420" fmla="*/ 549196 w 578488"/>
                <a:gd name="connsiteY420" fmla="*/ 54381 h 470547"/>
                <a:gd name="connsiteX421" fmla="*/ 550494 w 578488"/>
                <a:gd name="connsiteY421" fmla="*/ 55779 h 470547"/>
                <a:gd name="connsiteX422" fmla="*/ 552649 w 578488"/>
                <a:gd name="connsiteY422" fmla="*/ 56436 h 470547"/>
                <a:gd name="connsiteX423" fmla="*/ 557033 w 578488"/>
                <a:gd name="connsiteY423" fmla="*/ 56090 h 470547"/>
                <a:gd name="connsiteX424" fmla="*/ 559198 w 578488"/>
                <a:gd name="connsiteY424" fmla="*/ 56841 h 470547"/>
                <a:gd name="connsiteX425" fmla="*/ 560678 w 578488"/>
                <a:gd name="connsiteY425" fmla="*/ 55726 h 470547"/>
                <a:gd name="connsiteX426" fmla="*/ 561228 w 578488"/>
                <a:gd name="connsiteY426" fmla="*/ 51977 h 470547"/>
                <a:gd name="connsiteX427" fmla="*/ 562500 w 578488"/>
                <a:gd name="connsiteY427" fmla="*/ 51147 h 470547"/>
                <a:gd name="connsiteX428" fmla="*/ 564960 w 578488"/>
                <a:gd name="connsiteY428" fmla="*/ 52236 h 470547"/>
                <a:gd name="connsiteX429" fmla="*/ 566031 w 578488"/>
                <a:gd name="connsiteY429" fmla="*/ 56242 h 470547"/>
                <a:gd name="connsiteX430" fmla="*/ 566717 w 578488"/>
                <a:gd name="connsiteY430" fmla="*/ 56657 h 470547"/>
                <a:gd name="connsiteX431" fmla="*/ 567957 w 578488"/>
                <a:gd name="connsiteY431" fmla="*/ 53800 h 470547"/>
                <a:gd name="connsiteX432" fmla="*/ 570393 w 578488"/>
                <a:gd name="connsiteY432" fmla="*/ 54006 h 470547"/>
                <a:gd name="connsiteX433" fmla="*/ 573044 w 578488"/>
                <a:gd name="connsiteY433" fmla="*/ 53768 h 470547"/>
                <a:gd name="connsiteX434" fmla="*/ 576478 w 578488"/>
                <a:gd name="connsiteY434" fmla="*/ 54250 h 470547"/>
                <a:gd name="connsiteX435" fmla="*/ 577681 w 578488"/>
                <a:gd name="connsiteY435" fmla="*/ 59427 h 470547"/>
                <a:gd name="connsiteX436" fmla="*/ 577644 w 578488"/>
                <a:gd name="connsiteY436" fmla="*/ 61230 h 470547"/>
                <a:gd name="connsiteX437" fmla="*/ 577074 w 578488"/>
                <a:gd name="connsiteY437" fmla="*/ 62978 h 470547"/>
                <a:gd name="connsiteX438" fmla="*/ 576279 w 578488"/>
                <a:gd name="connsiteY438" fmla="*/ 63871 h 470547"/>
                <a:gd name="connsiteX439" fmla="*/ 574690 w 578488"/>
                <a:gd name="connsiteY439" fmla="*/ 64260 h 470547"/>
                <a:gd name="connsiteX440" fmla="*/ 570855 w 578488"/>
                <a:gd name="connsiteY440" fmla="*/ 64101 h 470547"/>
                <a:gd name="connsiteX441" fmla="*/ 565642 w 578488"/>
                <a:gd name="connsiteY441" fmla="*/ 62058 h 470547"/>
                <a:gd name="connsiteX442" fmla="*/ 562278 w 578488"/>
                <a:gd name="connsiteY442" fmla="*/ 60133 h 470547"/>
                <a:gd name="connsiteX443" fmla="*/ 561230 w 578488"/>
                <a:gd name="connsiteY443" fmla="*/ 60052 h 470547"/>
                <a:gd name="connsiteX444" fmla="*/ 560779 w 578488"/>
                <a:gd name="connsiteY444" fmla="*/ 60286 h 470547"/>
                <a:gd name="connsiteX445" fmla="*/ 561591 w 578488"/>
                <a:gd name="connsiteY445" fmla="*/ 62220 h 470547"/>
                <a:gd name="connsiteX446" fmla="*/ 561375 w 578488"/>
                <a:gd name="connsiteY446" fmla="*/ 63701 h 470547"/>
                <a:gd name="connsiteX447" fmla="*/ 560868 w 578488"/>
                <a:gd name="connsiteY447" fmla="*/ 65313 h 470547"/>
                <a:gd name="connsiteX448" fmla="*/ 560162 w 578488"/>
                <a:gd name="connsiteY448" fmla="*/ 66774 h 470547"/>
                <a:gd name="connsiteX449" fmla="*/ 559177 w 578488"/>
                <a:gd name="connsiteY449" fmla="*/ 68002 h 470547"/>
                <a:gd name="connsiteX450" fmla="*/ 557115 w 578488"/>
                <a:gd name="connsiteY450" fmla="*/ 69580 h 470547"/>
                <a:gd name="connsiteX451" fmla="*/ 553547 w 578488"/>
                <a:gd name="connsiteY451" fmla="*/ 70830 h 470547"/>
                <a:gd name="connsiteX452" fmla="*/ 543720 w 578488"/>
                <a:gd name="connsiteY452" fmla="*/ 73260 h 470547"/>
                <a:gd name="connsiteX453" fmla="*/ 542940 w 578488"/>
                <a:gd name="connsiteY453" fmla="*/ 74333 h 470547"/>
                <a:gd name="connsiteX454" fmla="*/ 539777 w 578488"/>
                <a:gd name="connsiteY454" fmla="*/ 81084 h 470547"/>
                <a:gd name="connsiteX455" fmla="*/ 538913 w 578488"/>
                <a:gd name="connsiteY455" fmla="*/ 82073 h 470547"/>
                <a:gd name="connsiteX456" fmla="*/ 537756 w 578488"/>
                <a:gd name="connsiteY456" fmla="*/ 82910 h 470547"/>
                <a:gd name="connsiteX457" fmla="*/ 534379 w 578488"/>
                <a:gd name="connsiteY457" fmla="*/ 83995 h 470547"/>
                <a:gd name="connsiteX458" fmla="*/ 532744 w 578488"/>
                <a:gd name="connsiteY458" fmla="*/ 82497 h 470547"/>
                <a:gd name="connsiteX459" fmla="*/ 531433 w 578488"/>
                <a:gd name="connsiteY459" fmla="*/ 80230 h 470547"/>
                <a:gd name="connsiteX460" fmla="*/ 531735 w 578488"/>
                <a:gd name="connsiteY460" fmla="*/ 77980 h 470547"/>
                <a:gd name="connsiteX461" fmla="*/ 535685 w 578488"/>
                <a:gd name="connsiteY461" fmla="*/ 73656 h 470547"/>
                <a:gd name="connsiteX462" fmla="*/ 539375 w 578488"/>
                <a:gd name="connsiteY462" fmla="*/ 70586 h 470547"/>
                <a:gd name="connsiteX463" fmla="*/ 540416 w 578488"/>
                <a:gd name="connsiteY463" fmla="*/ 69522 h 470547"/>
                <a:gd name="connsiteX464" fmla="*/ 542506 w 578488"/>
                <a:gd name="connsiteY464" fmla="*/ 66432 h 470547"/>
                <a:gd name="connsiteX465" fmla="*/ 538265 w 578488"/>
                <a:gd name="connsiteY465" fmla="*/ 58655 h 470547"/>
                <a:gd name="connsiteX466" fmla="*/ 530720 w 578488"/>
                <a:gd name="connsiteY466" fmla="*/ 56294 h 470547"/>
                <a:gd name="connsiteX467" fmla="*/ 522126 w 578488"/>
                <a:gd name="connsiteY467" fmla="*/ 52702 h 470547"/>
                <a:gd name="connsiteX468" fmla="*/ 518973 w 578488"/>
                <a:gd name="connsiteY468" fmla="*/ 50783 h 470547"/>
                <a:gd name="connsiteX469" fmla="*/ 514067 w 578488"/>
                <a:gd name="connsiteY469" fmla="*/ 46826 h 470547"/>
                <a:gd name="connsiteX470" fmla="*/ 510589 w 578488"/>
                <a:gd name="connsiteY470" fmla="*/ 43266 h 470547"/>
                <a:gd name="connsiteX471" fmla="*/ 507447 w 578488"/>
                <a:gd name="connsiteY471" fmla="*/ 43140 h 470547"/>
                <a:gd name="connsiteX472" fmla="*/ 503994 w 578488"/>
                <a:gd name="connsiteY472" fmla="*/ 44035 h 470547"/>
                <a:gd name="connsiteX473" fmla="*/ 498606 w 578488"/>
                <a:gd name="connsiteY473" fmla="*/ 47285 h 470547"/>
                <a:gd name="connsiteX474" fmla="*/ 495458 w 578488"/>
                <a:gd name="connsiteY474" fmla="*/ 48918 h 470547"/>
                <a:gd name="connsiteX475" fmla="*/ 493730 w 578488"/>
                <a:gd name="connsiteY475" fmla="*/ 49400 h 470547"/>
                <a:gd name="connsiteX476" fmla="*/ 493313 w 578488"/>
                <a:gd name="connsiteY476" fmla="*/ 49471 h 470547"/>
                <a:gd name="connsiteX477" fmla="*/ 489457 w 578488"/>
                <a:gd name="connsiteY477" fmla="*/ 48546 h 470547"/>
                <a:gd name="connsiteX478" fmla="*/ 485166 w 578488"/>
                <a:gd name="connsiteY478" fmla="*/ 48351 h 470547"/>
                <a:gd name="connsiteX479" fmla="*/ 481717 w 578488"/>
                <a:gd name="connsiteY479" fmla="*/ 48617 h 470547"/>
                <a:gd name="connsiteX480" fmla="*/ 480415 w 578488"/>
                <a:gd name="connsiteY480" fmla="*/ 49063 h 470547"/>
                <a:gd name="connsiteX481" fmla="*/ 475613 w 578488"/>
                <a:gd name="connsiteY481" fmla="*/ 54309 h 470547"/>
                <a:gd name="connsiteX482" fmla="*/ 472251 w 578488"/>
                <a:gd name="connsiteY482" fmla="*/ 56954 h 470547"/>
                <a:gd name="connsiteX483" fmla="*/ 470400 w 578488"/>
                <a:gd name="connsiteY483" fmla="*/ 57864 h 470547"/>
                <a:gd name="connsiteX484" fmla="*/ 469053 w 578488"/>
                <a:gd name="connsiteY484" fmla="*/ 59393 h 470547"/>
                <a:gd name="connsiteX485" fmla="*/ 467947 w 578488"/>
                <a:gd name="connsiteY485" fmla="*/ 61904 h 470547"/>
                <a:gd name="connsiteX486" fmla="*/ 465486 w 578488"/>
                <a:gd name="connsiteY486" fmla="*/ 70594 h 470547"/>
                <a:gd name="connsiteX487" fmla="*/ 463650 w 578488"/>
                <a:gd name="connsiteY487" fmla="*/ 73863 h 470547"/>
                <a:gd name="connsiteX488" fmla="*/ 463240 w 578488"/>
                <a:gd name="connsiteY488" fmla="*/ 75858 h 470547"/>
                <a:gd name="connsiteX489" fmla="*/ 463672 w 578488"/>
                <a:gd name="connsiteY489" fmla="*/ 81895 h 470547"/>
                <a:gd name="connsiteX490" fmla="*/ 463233 w 578488"/>
                <a:gd name="connsiteY490" fmla="*/ 85229 h 470547"/>
                <a:gd name="connsiteX491" fmla="*/ 460985 w 578488"/>
                <a:gd name="connsiteY491" fmla="*/ 87977 h 470547"/>
                <a:gd name="connsiteX492" fmla="*/ 459407 w 578488"/>
                <a:gd name="connsiteY492" fmla="*/ 89213 h 470547"/>
                <a:gd name="connsiteX493" fmla="*/ 457319 w 578488"/>
                <a:gd name="connsiteY493" fmla="*/ 89467 h 470547"/>
                <a:gd name="connsiteX494" fmla="*/ 454583 w 578488"/>
                <a:gd name="connsiteY494" fmla="*/ 90168 h 470547"/>
                <a:gd name="connsiteX495" fmla="*/ 452194 w 578488"/>
                <a:gd name="connsiteY495" fmla="*/ 91756 h 470547"/>
                <a:gd name="connsiteX496" fmla="*/ 450508 w 578488"/>
                <a:gd name="connsiteY496" fmla="*/ 93919 h 470547"/>
                <a:gd name="connsiteX497" fmla="*/ 448607 w 578488"/>
                <a:gd name="connsiteY497" fmla="*/ 98760 h 470547"/>
                <a:gd name="connsiteX498" fmla="*/ 445390 w 578488"/>
                <a:gd name="connsiteY498" fmla="*/ 100541 h 470547"/>
                <a:gd name="connsiteX499" fmla="*/ 442317 w 578488"/>
                <a:gd name="connsiteY499" fmla="*/ 100033 h 470547"/>
                <a:gd name="connsiteX500" fmla="*/ 440123 w 578488"/>
                <a:gd name="connsiteY500" fmla="*/ 98251 h 470547"/>
                <a:gd name="connsiteX501" fmla="*/ 435420 w 578488"/>
                <a:gd name="connsiteY501" fmla="*/ 96871 h 470547"/>
                <a:gd name="connsiteX502" fmla="*/ 431915 w 578488"/>
                <a:gd name="connsiteY502" fmla="*/ 95991 h 470547"/>
                <a:gd name="connsiteX503" fmla="*/ 427981 w 578488"/>
                <a:gd name="connsiteY503" fmla="*/ 94089 h 470547"/>
                <a:gd name="connsiteX504" fmla="*/ 424516 w 578488"/>
                <a:gd name="connsiteY504" fmla="*/ 92640 h 470547"/>
                <a:gd name="connsiteX505" fmla="*/ 421345 w 578488"/>
                <a:gd name="connsiteY505" fmla="*/ 92352 h 470547"/>
                <a:gd name="connsiteX506" fmla="*/ 419545 w 578488"/>
                <a:gd name="connsiteY506" fmla="*/ 94184 h 470547"/>
                <a:gd name="connsiteX507" fmla="*/ 418095 w 578488"/>
                <a:gd name="connsiteY507" fmla="*/ 95901 h 470547"/>
                <a:gd name="connsiteX508" fmla="*/ 412688 w 578488"/>
                <a:gd name="connsiteY508" fmla="*/ 97296 h 470547"/>
                <a:gd name="connsiteX509" fmla="*/ 409627 w 578488"/>
                <a:gd name="connsiteY509" fmla="*/ 98399 h 470547"/>
                <a:gd name="connsiteX510" fmla="*/ 405653 w 578488"/>
                <a:gd name="connsiteY510" fmla="*/ 98645 h 470547"/>
                <a:gd name="connsiteX511" fmla="*/ 404047 w 578488"/>
                <a:gd name="connsiteY511" fmla="*/ 97422 h 470547"/>
                <a:gd name="connsiteX512" fmla="*/ 398283 w 578488"/>
                <a:gd name="connsiteY512" fmla="*/ 96615 h 470547"/>
                <a:gd name="connsiteX513" fmla="*/ 391421 w 578488"/>
                <a:gd name="connsiteY513" fmla="*/ 95656 h 470547"/>
                <a:gd name="connsiteX514" fmla="*/ 389436 w 578488"/>
                <a:gd name="connsiteY514" fmla="*/ 95670 h 470547"/>
                <a:gd name="connsiteX515" fmla="*/ 388817 w 578488"/>
                <a:gd name="connsiteY515" fmla="*/ 93482 h 470547"/>
                <a:gd name="connsiteX516" fmla="*/ 386992 w 578488"/>
                <a:gd name="connsiteY516" fmla="*/ 90423 h 470547"/>
                <a:gd name="connsiteX517" fmla="*/ 382112 w 578488"/>
                <a:gd name="connsiteY517" fmla="*/ 85126 h 470547"/>
                <a:gd name="connsiteX518" fmla="*/ 380116 w 578488"/>
                <a:gd name="connsiteY518" fmla="*/ 83253 h 470547"/>
                <a:gd name="connsiteX519" fmla="*/ 376363 w 578488"/>
                <a:gd name="connsiteY519" fmla="*/ 78851 h 470547"/>
                <a:gd name="connsiteX520" fmla="*/ 371986 w 578488"/>
                <a:gd name="connsiteY520" fmla="*/ 74329 h 470547"/>
                <a:gd name="connsiteX521" fmla="*/ 371366 w 578488"/>
                <a:gd name="connsiteY521" fmla="*/ 74217 h 470547"/>
                <a:gd name="connsiteX522" fmla="*/ 368436 w 578488"/>
                <a:gd name="connsiteY522" fmla="*/ 74065 h 470547"/>
                <a:gd name="connsiteX523" fmla="*/ 364137 w 578488"/>
                <a:gd name="connsiteY523" fmla="*/ 74214 h 470547"/>
                <a:gd name="connsiteX524" fmla="*/ 361416 w 578488"/>
                <a:gd name="connsiteY524" fmla="*/ 75242 h 470547"/>
                <a:gd name="connsiteX525" fmla="*/ 359699 w 578488"/>
                <a:gd name="connsiteY525" fmla="*/ 76533 h 470547"/>
                <a:gd name="connsiteX526" fmla="*/ 359401 w 578488"/>
                <a:gd name="connsiteY526" fmla="*/ 77604 h 470547"/>
                <a:gd name="connsiteX527" fmla="*/ 361064 w 578488"/>
                <a:gd name="connsiteY527" fmla="*/ 81713 h 470547"/>
                <a:gd name="connsiteX528" fmla="*/ 360548 w 578488"/>
                <a:gd name="connsiteY528" fmla="*/ 82736 h 470547"/>
                <a:gd name="connsiteX529" fmla="*/ 359691 w 578488"/>
                <a:gd name="connsiteY529" fmla="*/ 83228 h 470547"/>
                <a:gd name="connsiteX530" fmla="*/ 355789 w 578488"/>
                <a:gd name="connsiteY530" fmla="*/ 82077 h 470547"/>
                <a:gd name="connsiteX531" fmla="*/ 351070 w 578488"/>
                <a:gd name="connsiteY531" fmla="*/ 82153 h 470547"/>
                <a:gd name="connsiteX532" fmla="*/ 349882 w 578488"/>
                <a:gd name="connsiteY532" fmla="*/ 83418 h 470547"/>
                <a:gd name="connsiteX533" fmla="*/ 347004 w 578488"/>
                <a:gd name="connsiteY533" fmla="*/ 83556 h 470547"/>
                <a:gd name="connsiteX534" fmla="*/ 338706 w 578488"/>
                <a:gd name="connsiteY534" fmla="*/ 84037 h 470547"/>
                <a:gd name="connsiteX535" fmla="*/ 342368 w 578488"/>
                <a:gd name="connsiteY535" fmla="*/ 87389 h 470547"/>
                <a:gd name="connsiteX536" fmla="*/ 343579 w 578488"/>
                <a:gd name="connsiteY536" fmla="*/ 88730 h 470547"/>
                <a:gd name="connsiteX537" fmla="*/ 343821 w 578488"/>
                <a:gd name="connsiteY537" fmla="*/ 90698 h 470547"/>
                <a:gd name="connsiteX538" fmla="*/ 343189 w 578488"/>
                <a:gd name="connsiteY538" fmla="*/ 94352 h 470547"/>
                <a:gd name="connsiteX539" fmla="*/ 341433 w 578488"/>
                <a:gd name="connsiteY539" fmla="*/ 97469 h 470547"/>
                <a:gd name="connsiteX540" fmla="*/ 339386 w 578488"/>
                <a:gd name="connsiteY540" fmla="*/ 100001 h 470547"/>
                <a:gd name="connsiteX541" fmla="*/ 335436 w 578488"/>
                <a:gd name="connsiteY541" fmla="*/ 102509 h 470547"/>
                <a:gd name="connsiteX542" fmla="*/ 341433 w 578488"/>
                <a:gd name="connsiteY542" fmla="*/ 104984 h 470547"/>
                <a:gd name="connsiteX543" fmla="*/ 337363 w 578488"/>
                <a:gd name="connsiteY543" fmla="*/ 108323 h 470547"/>
                <a:gd name="connsiteX544" fmla="*/ 335458 w 578488"/>
                <a:gd name="connsiteY544" fmla="*/ 109623 h 470547"/>
                <a:gd name="connsiteX545" fmla="*/ 333251 w 578488"/>
                <a:gd name="connsiteY545" fmla="*/ 109399 h 470547"/>
                <a:gd name="connsiteX546" fmla="*/ 329297 w 578488"/>
                <a:gd name="connsiteY546" fmla="*/ 108244 h 470547"/>
                <a:gd name="connsiteX547" fmla="*/ 319740 w 578488"/>
                <a:gd name="connsiteY547" fmla="*/ 105452 h 470547"/>
                <a:gd name="connsiteX548" fmla="*/ 315177 w 578488"/>
                <a:gd name="connsiteY548" fmla="*/ 104401 h 470547"/>
                <a:gd name="connsiteX549" fmla="*/ 311100 w 578488"/>
                <a:gd name="connsiteY549" fmla="*/ 104079 h 470547"/>
                <a:gd name="connsiteX550" fmla="*/ 308923 w 578488"/>
                <a:gd name="connsiteY550" fmla="*/ 104120 h 470547"/>
                <a:gd name="connsiteX551" fmla="*/ 300273 w 578488"/>
                <a:gd name="connsiteY551" fmla="*/ 101727 h 470547"/>
                <a:gd name="connsiteX552" fmla="*/ 298602 w 578488"/>
                <a:gd name="connsiteY552" fmla="*/ 101995 h 470547"/>
                <a:gd name="connsiteX553" fmla="*/ 295496 w 578488"/>
                <a:gd name="connsiteY553" fmla="*/ 103032 h 470547"/>
                <a:gd name="connsiteX554" fmla="*/ 295153 w 578488"/>
                <a:gd name="connsiteY554" fmla="*/ 105358 h 470547"/>
                <a:gd name="connsiteX555" fmla="*/ 295349 w 578488"/>
                <a:gd name="connsiteY555" fmla="*/ 111135 h 470547"/>
                <a:gd name="connsiteX556" fmla="*/ 295807 w 578488"/>
                <a:gd name="connsiteY556" fmla="*/ 115572 h 470547"/>
                <a:gd name="connsiteX557" fmla="*/ 294665 w 578488"/>
                <a:gd name="connsiteY557" fmla="*/ 118133 h 470547"/>
                <a:gd name="connsiteX558" fmla="*/ 293520 w 578488"/>
                <a:gd name="connsiteY558" fmla="*/ 119869 h 470547"/>
                <a:gd name="connsiteX559" fmla="*/ 290059 w 578488"/>
                <a:gd name="connsiteY559" fmla="*/ 124542 h 470547"/>
                <a:gd name="connsiteX560" fmla="*/ 282277 w 578488"/>
                <a:gd name="connsiteY560" fmla="*/ 121367 h 470547"/>
                <a:gd name="connsiteX561" fmla="*/ 276967 w 578488"/>
                <a:gd name="connsiteY561" fmla="*/ 119261 h 470547"/>
                <a:gd name="connsiteX562" fmla="*/ 273559 w 578488"/>
                <a:gd name="connsiteY562" fmla="*/ 122064 h 470547"/>
                <a:gd name="connsiteX563" fmla="*/ 265004 w 578488"/>
                <a:gd name="connsiteY563" fmla="*/ 127192 h 470547"/>
                <a:gd name="connsiteX564" fmla="*/ 260624 w 578488"/>
                <a:gd name="connsiteY564" fmla="*/ 137276 h 470547"/>
                <a:gd name="connsiteX565" fmla="*/ 260372 w 578488"/>
                <a:gd name="connsiteY565" fmla="*/ 137605 h 470547"/>
                <a:gd name="connsiteX566" fmla="*/ 257785 w 578488"/>
                <a:gd name="connsiteY566" fmla="*/ 140161 h 470547"/>
                <a:gd name="connsiteX567" fmla="*/ 254468 w 578488"/>
                <a:gd name="connsiteY567" fmla="*/ 141334 h 470547"/>
                <a:gd name="connsiteX568" fmla="*/ 251957 w 578488"/>
                <a:gd name="connsiteY568" fmla="*/ 141914 h 470547"/>
                <a:gd name="connsiteX569" fmla="*/ 250495 w 578488"/>
                <a:gd name="connsiteY569" fmla="*/ 144897 h 470547"/>
                <a:gd name="connsiteX570" fmla="*/ 253902 w 578488"/>
                <a:gd name="connsiteY570" fmla="*/ 149167 h 470547"/>
                <a:gd name="connsiteX571" fmla="*/ 255651 w 578488"/>
                <a:gd name="connsiteY571" fmla="*/ 151417 h 470547"/>
                <a:gd name="connsiteX572" fmla="*/ 257280 w 578488"/>
                <a:gd name="connsiteY572" fmla="*/ 155042 h 470547"/>
                <a:gd name="connsiteX573" fmla="*/ 256979 w 578488"/>
                <a:gd name="connsiteY573" fmla="*/ 157347 h 470547"/>
                <a:gd name="connsiteX574" fmla="*/ 256599 w 578488"/>
                <a:gd name="connsiteY574" fmla="*/ 158780 h 470547"/>
                <a:gd name="connsiteX575" fmla="*/ 252933 w 578488"/>
                <a:gd name="connsiteY575" fmla="*/ 161708 h 470547"/>
                <a:gd name="connsiteX576" fmla="*/ 245116 w 578488"/>
                <a:gd name="connsiteY576" fmla="*/ 169424 h 470547"/>
                <a:gd name="connsiteX577" fmla="*/ 237882 w 578488"/>
                <a:gd name="connsiteY577" fmla="*/ 177449 h 470547"/>
                <a:gd name="connsiteX578" fmla="*/ 234917 w 578488"/>
                <a:gd name="connsiteY578" fmla="*/ 179747 h 470547"/>
                <a:gd name="connsiteX579" fmla="*/ 236262 w 578488"/>
                <a:gd name="connsiteY579" fmla="*/ 186523 h 470547"/>
                <a:gd name="connsiteX580" fmla="*/ 233855 w 578488"/>
                <a:gd name="connsiteY580" fmla="*/ 188504 h 470547"/>
                <a:gd name="connsiteX581" fmla="*/ 228955 w 578488"/>
                <a:gd name="connsiteY581" fmla="*/ 190744 h 470547"/>
                <a:gd name="connsiteX582" fmla="*/ 226450 w 578488"/>
                <a:gd name="connsiteY582" fmla="*/ 191608 h 470547"/>
                <a:gd name="connsiteX583" fmla="*/ 223751 w 578488"/>
                <a:gd name="connsiteY583" fmla="*/ 192114 h 470547"/>
                <a:gd name="connsiteX584" fmla="*/ 215465 w 578488"/>
                <a:gd name="connsiteY584" fmla="*/ 193008 h 470547"/>
                <a:gd name="connsiteX585" fmla="*/ 216940 w 578488"/>
                <a:gd name="connsiteY585" fmla="*/ 200220 h 470547"/>
                <a:gd name="connsiteX586" fmla="*/ 217497 w 578488"/>
                <a:gd name="connsiteY586" fmla="*/ 203404 h 470547"/>
                <a:gd name="connsiteX587" fmla="*/ 217484 w 578488"/>
                <a:gd name="connsiteY587" fmla="*/ 205291 h 470547"/>
                <a:gd name="connsiteX588" fmla="*/ 216627 w 578488"/>
                <a:gd name="connsiteY588" fmla="*/ 207126 h 470547"/>
                <a:gd name="connsiteX589" fmla="*/ 215603 w 578488"/>
                <a:gd name="connsiteY589" fmla="*/ 210635 h 470547"/>
                <a:gd name="connsiteX590" fmla="*/ 214059 w 578488"/>
                <a:gd name="connsiteY590" fmla="*/ 223129 h 470547"/>
                <a:gd name="connsiteX591" fmla="*/ 212878 w 578488"/>
                <a:gd name="connsiteY591" fmla="*/ 224469 h 470547"/>
                <a:gd name="connsiteX592" fmla="*/ 211246 w 578488"/>
                <a:gd name="connsiteY592" fmla="*/ 227840 h 470547"/>
                <a:gd name="connsiteX593" fmla="*/ 205999 w 578488"/>
                <a:gd name="connsiteY593" fmla="*/ 235919 h 470547"/>
                <a:gd name="connsiteX594" fmla="*/ 201790 w 578488"/>
                <a:gd name="connsiteY594" fmla="*/ 241272 h 470547"/>
                <a:gd name="connsiteX595" fmla="*/ 195720 w 578488"/>
                <a:gd name="connsiteY595" fmla="*/ 248960 h 470547"/>
                <a:gd name="connsiteX596" fmla="*/ 200656 w 578488"/>
                <a:gd name="connsiteY596" fmla="*/ 251381 h 470547"/>
                <a:gd name="connsiteX597" fmla="*/ 205169 w 578488"/>
                <a:gd name="connsiteY597" fmla="*/ 253145 h 470547"/>
                <a:gd name="connsiteX598" fmla="*/ 206104 w 578488"/>
                <a:gd name="connsiteY598" fmla="*/ 255857 h 470547"/>
                <a:gd name="connsiteX599" fmla="*/ 206726 w 578488"/>
                <a:gd name="connsiteY599" fmla="*/ 260380 h 470547"/>
                <a:gd name="connsiteX600" fmla="*/ 206575 w 578488"/>
                <a:gd name="connsiteY600" fmla="*/ 263453 h 470547"/>
                <a:gd name="connsiteX601" fmla="*/ 204852 w 578488"/>
                <a:gd name="connsiteY601" fmla="*/ 266213 h 470547"/>
                <a:gd name="connsiteX602" fmla="*/ 203513 w 578488"/>
                <a:gd name="connsiteY602" fmla="*/ 268148 h 470547"/>
                <a:gd name="connsiteX603" fmla="*/ 202580 w 578488"/>
                <a:gd name="connsiteY603" fmla="*/ 269091 h 470547"/>
                <a:gd name="connsiteX604" fmla="*/ 196171 w 578488"/>
                <a:gd name="connsiteY604" fmla="*/ 268152 h 470547"/>
                <a:gd name="connsiteX605" fmla="*/ 187966 w 578488"/>
                <a:gd name="connsiteY605" fmla="*/ 266945 h 470547"/>
                <a:gd name="connsiteX606" fmla="*/ 185841 w 578488"/>
                <a:gd name="connsiteY606" fmla="*/ 266934 h 470547"/>
                <a:gd name="connsiteX607" fmla="*/ 181066 w 578488"/>
                <a:gd name="connsiteY607" fmla="*/ 267803 h 470547"/>
                <a:gd name="connsiteX608" fmla="*/ 176758 w 578488"/>
                <a:gd name="connsiteY608" fmla="*/ 269586 h 470547"/>
                <a:gd name="connsiteX609" fmla="*/ 174487 w 578488"/>
                <a:gd name="connsiteY609" fmla="*/ 271088 h 470547"/>
                <a:gd name="connsiteX610" fmla="*/ 173878 w 578488"/>
                <a:gd name="connsiteY610" fmla="*/ 271685 h 470547"/>
                <a:gd name="connsiteX611" fmla="*/ 171008 w 578488"/>
                <a:gd name="connsiteY611" fmla="*/ 275099 h 470547"/>
                <a:gd name="connsiteX612" fmla="*/ 165905 w 578488"/>
                <a:gd name="connsiteY612" fmla="*/ 281156 h 470547"/>
                <a:gd name="connsiteX613" fmla="*/ 163102 w 578488"/>
                <a:gd name="connsiteY613" fmla="*/ 283795 h 470547"/>
                <a:gd name="connsiteX614" fmla="*/ 163919 w 578488"/>
                <a:gd name="connsiteY614" fmla="*/ 287426 h 470547"/>
                <a:gd name="connsiteX615" fmla="*/ 159226 w 578488"/>
                <a:gd name="connsiteY615" fmla="*/ 294429 h 470547"/>
                <a:gd name="connsiteX616" fmla="*/ 162295 w 578488"/>
                <a:gd name="connsiteY616" fmla="*/ 301478 h 470547"/>
                <a:gd name="connsiteX617" fmla="*/ 162426 w 578488"/>
                <a:gd name="connsiteY617" fmla="*/ 301709 h 470547"/>
                <a:gd name="connsiteX618" fmla="*/ 164052 w 578488"/>
                <a:gd name="connsiteY618" fmla="*/ 304551 h 470547"/>
                <a:gd name="connsiteX619" fmla="*/ 162347 w 578488"/>
                <a:gd name="connsiteY619" fmla="*/ 306381 h 470547"/>
                <a:gd name="connsiteX620" fmla="*/ 161630 w 578488"/>
                <a:gd name="connsiteY620" fmla="*/ 307364 h 470547"/>
                <a:gd name="connsiteX621" fmla="*/ 161873 w 578488"/>
                <a:gd name="connsiteY621" fmla="*/ 310603 h 470547"/>
                <a:gd name="connsiteX622" fmla="*/ 162321 w 578488"/>
                <a:gd name="connsiteY622" fmla="*/ 314217 h 470547"/>
                <a:gd name="connsiteX623" fmla="*/ 161923 w 578488"/>
                <a:gd name="connsiteY623" fmla="*/ 316334 h 470547"/>
                <a:gd name="connsiteX624" fmla="*/ 161761 w 578488"/>
                <a:gd name="connsiteY624" fmla="*/ 318682 h 470547"/>
                <a:gd name="connsiteX625" fmla="*/ 165940 w 578488"/>
                <a:gd name="connsiteY625" fmla="*/ 329208 h 470547"/>
                <a:gd name="connsiteX626" fmla="*/ 165892 w 578488"/>
                <a:gd name="connsiteY626" fmla="*/ 331669 h 470547"/>
                <a:gd name="connsiteX627" fmla="*/ 165685 w 578488"/>
                <a:gd name="connsiteY627" fmla="*/ 333254 h 470547"/>
                <a:gd name="connsiteX628" fmla="*/ 164396 w 578488"/>
                <a:gd name="connsiteY628" fmla="*/ 339764 h 470547"/>
                <a:gd name="connsiteX629" fmla="*/ 162664 w 578488"/>
                <a:gd name="connsiteY629" fmla="*/ 348480 h 470547"/>
                <a:gd name="connsiteX630" fmla="*/ 165687 w 578488"/>
                <a:gd name="connsiteY630" fmla="*/ 350764 h 470547"/>
                <a:gd name="connsiteX631" fmla="*/ 169993 w 578488"/>
                <a:gd name="connsiteY631" fmla="*/ 353492 h 470547"/>
                <a:gd name="connsiteX632" fmla="*/ 172409 w 578488"/>
                <a:gd name="connsiteY632" fmla="*/ 354565 h 470547"/>
                <a:gd name="connsiteX633" fmla="*/ 175979 w 578488"/>
                <a:gd name="connsiteY633" fmla="*/ 357800 h 470547"/>
                <a:gd name="connsiteX634" fmla="*/ 178704 w 578488"/>
                <a:gd name="connsiteY634" fmla="*/ 360956 h 470547"/>
                <a:gd name="connsiteX635" fmla="*/ 178326 w 578488"/>
                <a:gd name="connsiteY635" fmla="*/ 363049 h 470547"/>
                <a:gd name="connsiteX636" fmla="*/ 177542 w 578488"/>
                <a:gd name="connsiteY636" fmla="*/ 365356 h 470547"/>
                <a:gd name="connsiteX637" fmla="*/ 176395 w 578488"/>
                <a:gd name="connsiteY637" fmla="*/ 366968 h 470547"/>
                <a:gd name="connsiteX638" fmla="*/ 175322 w 578488"/>
                <a:gd name="connsiteY638" fmla="*/ 369179 h 470547"/>
                <a:gd name="connsiteX639" fmla="*/ 174841 w 578488"/>
                <a:gd name="connsiteY639" fmla="*/ 370806 h 470547"/>
                <a:gd name="connsiteX640" fmla="*/ 174331 w 578488"/>
                <a:gd name="connsiteY640" fmla="*/ 371244 h 470547"/>
                <a:gd name="connsiteX641" fmla="*/ 169568 w 578488"/>
                <a:gd name="connsiteY641" fmla="*/ 371422 h 470547"/>
                <a:gd name="connsiteX642" fmla="*/ 167049 w 578488"/>
                <a:gd name="connsiteY642" fmla="*/ 372037 h 470547"/>
                <a:gd name="connsiteX643" fmla="*/ 165732 w 578488"/>
                <a:gd name="connsiteY643" fmla="*/ 372726 h 470547"/>
                <a:gd name="connsiteX644" fmla="*/ 166186 w 578488"/>
                <a:gd name="connsiteY644" fmla="*/ 376434 h 470547"/>
                <a:gd name="connsiteX645" fmla="*/ 169075 w 578488"/>
                <a:gd name="connsiteY645" fmla="*/ 383209 h 470547"/>
                <a:gd name="connsiteX646" fmla="*/ 171474 w 578488"/>
                <a:gd name="connsiteY646" fmla="*/ 388013 h 470547"/>
                <a:gd name="connsiteX647" fmla="*/ 172245 w 578488"/>
                <a:gd name="connsiteY647" fmla="*/ 391175 h 470547"/>
                <a:gd name="connsiteX648" fmla="*/ 171453 w 578488"/>
                <a:gd name="connsiteY648" fmla="*/ 394375 h 470547"/>
                <a:gd name="connsiteX649" fmla="*/ 170634 w 578488"/>
                <a:gd name="connsiteY649" fmla="*/ 396012 h 470547"/>
                <a:gd name="connsiteX650" fmla="*/ 170608 w 578488"/>
                <a:gd name="connsiteY650" fmla="*/ 398214 h 470547"/>
                <a:gd name="connsiteX651" fmla="*/ 169978 w 578488"/>
                <a:gd name="connsiteY651" fmla="*/ 402590 h 470547"/>
                <a:gd name="connsiteX652" fmla="*/ 168118 w 578488"/>
                <a:gd name="connsiteY652" fmla="*/ 404799 h 470547"/>
                <a:gd name="connsiteX653" fmla="*/ 165685 w 578488"/>
                <a:gd name="connsiteY653" fmla="*/ 407204 h 470547"/>
                <a:gd name="connsiteX654" fmla="*/ 162971 w 578488"/>
                <a:gd name="connsiteY654" fmla="*/ 408999 h 470547"/>
                <a:gd name="connsiteX655" fmla="*/ 160818 w 578488"/>
                <a:gd name="connsiteY655" fmla="*/ 409503 h 470547"/>
                <a:gd name="connsiteX656" fmla="*/ 158969 w 578488"/>
                <a:gd name="connsiteY656" fmla="*/ 409711 h 470547"/>
                <a:gd name="connsiteX657" fmla="*/ 157728 w 578488"/>
                <a:gd name="connsiteY657" fmla="*/ 410622 h 470547"/>
                <a:gd name="connsiteX658" fmla="*/ 156602 w 578488"/>
                <a:gd name="connsiteY658" fmla="*/ 413299 h 470547"/>
                <a:gd name="connsiteX659" fmla="*/ 155564 w 578488"/>
                <a:gd name="connsiteY659" fmla="*/ 416106 h 470547"/>
                <a:gd name="connsiteX660" fmla="*/ 152169 w 578488"/>
                <a:gd name="connsiteY660" fmla="*/ 419553 h 470547"/>
                <a:gd name="connsiteX661" fmla="*/ 152260 w 578488"/>
                <a:gd name="connsiteY661" fmla="*/ 420752 h 470547"/>
                <a:gd name="connsiteX662" fmla="*/ 153553 w 578488"/>
                <a:gd name="connsiteY662" fmla="*/ 424829 h 470547"/>
                <a:gd name="connsiteX663" fmla="*/ 154765 w 578488"/>
                <a:gd name="connsiteY663" fmla="*/ 429460 h 470547"/>
                <a:gd name="connsiteX664" fmla="*/ 153741 w 578488"/>
                <a:gd name="connsiteY664" fmla="*/ 433781 h 470547"/>
                <a:gd name="connsiteX665" fmla="*/ 152865 w 578488"/>
                <a:gd name="connsiteY665" fmla="*/ 438308 h 470547"/>
                <a:gd name="connsiteX666" fmla="*/ 151329 w 578488"/>
                <a:gd name="connsiteY666" fmla="*/ 441320 h 470547"/>
                <a:gd name="connsiteX667" fmla="*/ 149135 w 578488"/>
                <a:gd name="connsiteY667" fmla="*/ 442395 h 470547"/>
                <a:gd name="connsiteX668" fmla="*/ 147524 w 578488"/>
                <a:gd name="connsiteY668" fmla="*/ 441858 h 470547"/>
                <a:gd name="connsiteX669" fmla="*/ 145702 w 578488"/>
                <a:gd name="connsiteY669" fmla="*/ 437727 h 470547"/>
                <a:gd name="connsiteX670" fmla="*/ 145661 w 578488"/>
                <a:gd name="connsiteY670" fmla="*/ 436776 h 470547"/>
                <a:gd name="connsiteX671" fmla="*/ 145207 w 578488"/>
                <a:gd name="connsiteY671" fmla="*/ 435511 h 470547"/>
                <a:gd name="connsiteX672" fmla="*/ 140038 w 578488"/>
                <a:gd name="connsiteY672" fmla="*/ 434250 h 470547"/>
                <a:gd name="connsiteX673" fmla="*/ 139124 w 578488"/>
                <a:gd name="connsiteY673" fmla="*/ 434296 h 470547"/>
                <a:gd name="connsiteX674" fmla="*/ 137092 w 578488"/>
                <a:gd name="connsiteY674" fmla="*/ 433557 h 470547"/>
                <a:gd name="connsiteX675" fmla="*/ 135901 w 578488"/>
                <a:gd name="connsiteY675" fmla="*/ 433348 h 470547"/>
                <a:gd name="connsiteX676" fmla="*/ 133456 w 578488"/>
                <a:gd name="connsiteY676" fmla="*/ 432921 h 470547"/>
                <a:gd name="connsiteX677" fmla="*/ 131424 w 578488"/>
                <a:gd name="connsiteY677" fmla="*/ 429261 h 470547"/>
                <a:gd name="connsiteX678" fmla="*/ 129265 w 578488"/>
                <a:gd name="connsiteY678" fmla="*/ 426212 h 470547"/>
                <a:gd name="connsiteX679" fmla="*/ 128958 w 578488"/>
                <a:gd name="connsiteY679" fmla="*/ 424936 h 470547"/>
                <a:gd name="connsiteX680" fmla="*/ 129032 w 578488"/>
                <a:gd name="connsiteY680" fmla="*/ 419218 h 470547"/>
                <a:gd name="connsiteX681" fmla="*/ 128371 w 578488"/>
                <a:gd name="connsiteY681" fmla="*/ 416670 h 470547"/>
                <a:gd name="connsiteX682" fmla="*/ 128168 w 578488"/>
                <a:gd name="connsiteY682" fmla="*/ 413889 h 470547"/>
                <a:gd name="connsiteX683" fmla="*/ 126809 w 578488"/>
                <a:gd name="connsiteY683" fmla="*/ 416151 h 470547"/>
                <a:gd name="connsiteX684" fmla="*/ 127598 w 578488"/>
                <a:gd name="connsiteY684" fmla="*/ 419723 h 470547"/>
                <a:gd name="connsiteX685" fmla="*/ 125922 w 578488"/>
                <a:gd name="connsiteY685" fmla="*/ 421220 h 470547"/>
                <a:gd name="connsiteX686" fmla="*/ 123808 w 578488"/>
                <a:gd name="connsiteY686" fmla="*/ 421947 h 470547"/>
                <a:gd name="connsiteX687" fmla="*/ 124007 w 578488"/>
                <a:gd name="connsiteY687" fmla="*/ 424035 h 470547"/>
                <a:gd name="connsiteX688" fmla="*/ 124875 w 578488"/>
                <a:gd name="connsiteY688" fmla="*/ 424430 h 470547"/>
                <a:gd name="connsiteX689" fmla="*/ 125056 w 578488"/>
                <a:gd name="connsiteY689" fmla="*/ 426595 h 470547"/>
                <a:gd name="connsiteX690" fmla="*/ 124542 w 578488"/>
                <a:gd name="connsiteY690" fmla="*/ 429796 h 470547"/>
                <a:gd name="connsiteX691" fmla="*/ 120381 w 578488"/>
                <a:gd name="connsiteY691" fmla="*/ 436895 h 470547"/>
                <a:gd name="connsiteX692" fmla="*/ 119541 w 578488"/>
                <a:gd name="connsiteY692" fmla="*/ 437657 h 470547"/>
                <a:gd name="connsiteX693" fmla="*/ 118971 w 578488"/>
                <a:gd name="connsiteY693" fmla="*/ 438614 h 470547"/>
                <a:gd name="connsiteX694" fmla="*/ 116842 w 578488"/>
                <a:gd name="connsiteY694" fmla="*/ 437978 h 470547"/>
                <a:gd name="connsiteX695" fmla="*/ 114110 w 578488"/>
                <a:gd name="connsiteY695" fmla="*/ 439950 h 470547"/>
                <a:gd name="connsiteX696" fmla="*/ 111523 w 578488"/>
                <a:gd name="connsiteY696" fmla="*/ 440266 h 470547"/>
                <a:gd name="connsiteX697" fmla="*/ 110586 w 578488"/>
                <a:gd name="connsiteY697" fmla="*/ 438035 h 470547"/>
                <a:gd name="connsiteX698" fmla="*/ 106936 w 578488"/>
                <a:gd name="connsiteY698" fmla="*/ 435079 h 470547"/>
                <a:gd name="connsiteX699" fmla="*/ 105213 w 578488"/>
                <a:gd name="connsiteY699" fmla="*/ 435245 h 470547"/>
                <a:gd name="connsiteX700" fmla="*/ 106760 w 578488"/>
                <a:gd name="connsiteY700" fmla="*/ 436704 h 470547"/>
                <a:gd name="connsiteX701" fmla="*/ 108284 w 578488"/>
                <a:gd name="connsiteY701" fmla="*/ 438599 h 470547"/>
                <a:gd name="connsiteX702" fmla="*/ 107418 w 578488"/>
                <a:gd name="connsiteY702" fmla="*/ 439853 h 470547"/>
                <a:gd name="connsiteX703" fmla="*/ 106567 w 578488"/>
                <a:gd name="connsiteY703" fmla="*/ 440671 h 470547"/>
                <a:gd name="connsiteX704" fmla="*/ 105077 w 578488"/>
                <a:gd name="connsiteY704" fmla="*/ 441095 h 470547"/>
                <a:gd name="connsiteX705" fmla="*/ 99746 w 578488"/>
                <a:gd name="connsiteY705" fmla="*/ 443570 h 470547"/>
                <a:gd name="connsiteX706" fmla="*/ 101644 w 578488"/>
                <a:gd name="connsiteY706" fmla="*/ 445231 h 470547"/>
                <a:gd name="connsiteX707" fmla="*/ 100033 w 578488"/>
                <a:gd name="connsiteY707" fmla="*/ 447116 h 470547"/>
                <a:gd name="connsiteX708" fmla="*/ 98170 w 578488"/>
                <a:gd name="connsiteY708" fmla="*/ 447393 h 470547"/>
                <a:gd name="connsiteX709" fmla="*/ 97176 w 578488"/>
                <a:gd name="connsiteY709" fmla="*/ 448273 h 470547"/>
                <a:gd name="connsiteX710" fmla="*/ 96831 w 578488"/>
                <a:gd name="connsiteY710" fmla="*/ 449467 h 470547"/>
                <a:gd name="connsiteX711" fmla="*/ 91309 w 578488"/>
                <a:gd name="connsiteY711" fmla="*/ 452866 h 470547"/>
                <a:gd name="connsiteX712" fmla="*/ 82309 w 578488"/>
                <a:gd name="connsiteY712" fmla="*/ 461559 h 470547"/>
                <a:gd name="connsiteX713" fmla="*/ 77684 w 578488"/>
                <a:gd name="connsiteY713" fmla="*/ 464009 h 470547"/>
                <a:gd name="connsiteX714" fmla="*/ 74453 w 578488"/>
                <a:gd name="connsiteY714" fmla="*/ 466554 h 470547"/>
                <a:gd name="connsiteX715" fmla="*/ 71607 w 578488"/>
                <a:gd name="connsiteY715" fmla="*/ 466491 h 470547"/>
                <a:gd name="connsiteX716" fmla="*/ 68029 w 578488"/>
                <a:gd name="connsiteY716" fmla="*/ 468652 h 470547"/>
                <a:gd name="connsiteX717" fmla="*/ 58970 w 578488"/>
                <a:gd name="connsiteY717" fmla="*/ 470547 h 470547"/>
                <a:gd name="connsiteX718" fmla="*/ 52961 w 578488"/>
                <a:gd name="connsiteY718" fmla="*/ 469690 h 470547"/>
                <a:gd name="connsiteX719" fmla="*/ 48776 w 578488"/>
                <a:gd name="connsiteY719" fmla="*/ 470442 h 470547"/>
                <a:gd name="connsiteX720" fmla="*/ 46532 w 578488"/>
                <a:gd name="connsiteY720" fmla="*/ 468957 h 470547"/>
                <a:gd name="connsiteX721" fmla="*/ 46241 w 578488"/>
                <a:gd name="connsiteY721" fmla="*/ 467936 h 470547"/>
                <a:gd name="connsiteX722" fmla="*/ 46353 w 578488"/>
                <a:gd name="connsiteY722" fmla="*/ 467343 h 470547"/>
                <a:gd name="connsiteX723" fmla="*/ 46729 w 578488"/>
                <a:gd name="connsiteY723" fmla="*/ 466632 h 470547"/>
                <a:gd name="connsiteX724" fmla="*/ 45949 w 578488"/>
                <a:gd name="connsiteY724" fmla="*/ 466380 h 470547"/>
                <a:gd name="connsiteX725" fmla="*/ 44308 w 578488"/>
                <a:gd name="connsiteY725" fmla="*/ 466257 h 470547"/>
                <a:gd name="connsiteX726" fmla="*/ 43606 w 578488"/>
                <a:gd name="connsiteY726" fmla="*/ 466974 h 470547"/>
                <a:gd name="connsiteX727" fmla="*/ 43511 w 578488"/>
                <a:gd name="connsiteY727" fmla="*/ 468602 h 470547"/>
                <a:gd name="connsiteX728" fmla="*/ 42730 w 578488"/>
                <a:gd name="connsiteY728" fmla="*/ 469027 h 470547"/>
                <a:gd name="connsiteX729" fmla="*/ 39613 w 578488"/>
                <a:gd name="connsiteY729" fmla="*/ 468096 h 470547"/>
                <a:gd name="connsiteX730" fmla="*/ 38830 w 578488"/>
                <a:gd name="connsiteY730" fmla="*/ 467257 h 470547"/>
                <a:gd name="connsiteX731" fmla="*/ 39950 w 578488"/>
                <a:gd name="connsiteY731" fmla="*/ 465556 h 470547"/>
                <a:gd name="connsiteX732" fmla="*/ 41868 w 578488"/>
                <a:gd name="connsiteY732" fmla="*/ 464023 h 470547"/>
                <a:gd name="connsiteX733" fmla="*/ 41520 w 578488"/>
                <a:gd name="connsiteY733" fmla="*/ 463709 h 470547"/>
                <a:gd name="connsiteX734" fmla="*/ 41147 w 578488"/>
                <a:gd name="connsiteY734" fmla="*/ 462777 h 470547"/>
                <a:gd name="connsiteX735" fmla="*/ 40211 w 578488"/>
                <a:gd name="connsiteY735" fmla="*/ 462659 h 470547"/>
                <a:gd name="connsiteX736" fmla="*/ 37424 w 578488"/>
                <a:gd name="connsiteY736" fmla="*/ 462884 h 470547"/>
                <a:gd name="connsiteX737" fmla="*/ 35159 w 578488"/>
                <a:gd name="connsiteY737" fmla="*/ 462609 h 470547"/>
                <a:gd name="connsiteX738" fmla="*/ 27765 w 578488"/>
                <a:gd name="connsiteY738" fmla="*/ 459156 h 470547"/>
                <a:gd name="connsiteX739" fmla="*/ 26038 w 578488"/>
                <a:gd name="connsiteY739" fmla="*/ 457312 h 470547"/>
                <a:gd name="connsiteX740" fmla="*/ 20073 w 578488"/>
                <a:gd name="connsiteY740" fmla="*/ 454363 h 470547"/>
                <a:gd name="connsiteX741" fmla="*/ 17400 w 578488"/>
                <a:gd name="connsiteY741" fmla="*/ 451234 h 470547"/>
                <a:gd name="connsiteX742" fmla="*/ 15882 w 578488"/>
                <a:gd name="connsiteY742" fmla="*/ 447798 h 470547"/>
                <a:gd name="connsiteX743" fmla="*/ 15996 w 578488"/>
                <a:gd name="connsiteY743" fmla="*/ 444680 h 470547"/>
                <a:gd name="connsiteX744" fmla="*/ 16728 w 578488"/>
                <a:gd name="connsiteY744" fmla="*/ 439723 h 470547"/>
                <a:gd name="connsiteX745" fmla="*/ 17981 w 578488"/>
                <a:gd name="connsiteY745" fmla="*/ 438496 h 470547"/>
                <a:gd name="connsiteX746" fmla="*/ 23334 w 578488"/>
                <a:gd name="connsiteY746" fmla="*/ 440234 h 470547"/>
                <a:gd name="connsiteX747" fmla="*/ 28745 w 578488"/>
                <a:gd name="connsiteY747" fmla="*/ 443134 h 470547"/>
                <a:gd name="connsiteX748" fmla="*/ 29592 w 578488"/>
                <a:gd name="connsiteY748" fmla="*/ 442991 h 470547"/>
                <a:gd name="connsiteX749" fmla="*/ 31291 w 578488"/>
                <a:gd name="connsiteY749" fmla="*/ 440715 h 470547"/>
                <a:gd name="connsiteX750" fmla="*/ 34589 w 578488"/>
                <a:gd name="connsiteY750" fmla="*/ 438885 h 470547"/>
                <a:gd name="connsiteX751" fmla="*/ 33656 w 578488"/>
                <a:gd name="connsiteY751" fmla="*/ 438380 h 470547"/>
                <a:gd name="connsiteX752" fmla="*/ 28754 w 578488"/>
                <a:gd name="connsiteY752" fmla="*/ 440479 h 470547"/>
                <a:gd name="connsiteX753" fmla="*/ 26931 w 578488"/>
                <a:gd name="connsiteY753" fmla="*/ 439316 h 470547"/>
                <a:gd name="connsiteX754" fmla="*/ 24105 w 578488"/>
                <a:gd name="connsiteY754" fmla="*/ 436946 h 470547"/>
                <a:gd name="connsiteX755" fmla="*/ 24105 w 578488"/>
                <a:gd name="connsiteY755" fmla="*/ 435725 h 470547"/>
                <a:gd name="connsiteX756" fmla="*/ 25422 w 578488"/>
                <a:gd name="connsiteY756" fmla="*/ 434503 h 470547"/>
                <a:gd name="connsiteX757" fmla="*/ 25860 w 578488"/>
                <a:gd name="connsiteY757" fmla="*/ 432849 h 470547"/>
                <a:gd name="connsiteX758" fmla="*/ 25169 w 578488"/>
                <a:gd name="connsiteY758" fmla="*/ 431287 h 470547"/>
                <a:gd name="connsiteX759" fmla="*/ 25491 w 578488"/>
                <a:gd name="connsiteY759" fmla="*/ 429160 h 470547"/>
                <a:gd name="connsiteX760" fmla="*/ 27677 w 578488"/>
                <a:gd name="connsiteY760" fmla="*/ 426901 h 470547"/>
                <a:gd name="connsiteX761" fmla="*/ 30954 w 578488"/>
                <a:gd name="connsiteY761" fmla="*/ 424611 h 470547"/>
                <a:gd name="connsiteX762" fmla="*/ 33315 w 578488"/>
                <a:gd name="connsiteY762" fmla="*/ 422399 h 470547"/>
                <a:gd name="connsiteX763" fmla="*/ 35740 w 578488"/>
                <a:gd name="connsiteY763" fmla="*/ 421036 h 470547"/>
                <a:gd name="connsiteX764" fmla="*/ 35487 w 578488"/>
                <a:gd name="connsiteY764" fmla="*/ 420581 h 470547"/>
                <a:gd name="connsiteX765" fmla="*/ 32714 w 578488"/>
                <a:gd name="connsiteY765" fmla="*/ 421449 h 470547"/>
                <a:gd name="connsiteX766" fmla="*/ 30062 w 578488"/>
                <a:gd name="connsiteY766" fmla="*/ 422921 h 470547"/>
                <a:gd name="connsiteX767" fmla="*/ 26940 w 578488"/>
                <a:gd name="connsiteY767" fmla="*/ 425385 h 470547"/>
                <a:gd name="connsiteX768" fmla="*/ 23133 w 578488"/>
                <a:gd name="connsiteY768" fmla="*/ 427381 h 470547"/>
                <a:gd name="connsiteX769" fmla="*/ 20319 w 578488"/>
                <a:gd name="connsiteY769" fmla="*/ 428155 h 470547"/>
                <a:gd name="connsiteX770" fmla="*/ 18978 w 578488"/>
                <a:gd name="connsiteY770" fmla="*/ 428795 h 470547"/>
                <a:gd name="connsiteX771" fmla="*/ 16916 w 578488"/>
                <a:gd name="connsiteY771" fmla="*/ 429417 h 470547"/>
                <a:gd name="connsiteX772" fmla="*/ 14783 w 578488"/>
                <a:gd name="connsiteY772" fmla="*/ 432273 h 470547"/>
                <a:gd name="connsiteX773" fmla="*/ 12455 w 578488"/>
                <a:gd name="connsiteY773" fmla="*/ 433495 h 470547"/>
                <a:gd name="connsiteX774" fmla="*/ 8274 w 578488"/>
                <a:gd name="connsiteY774" fmla="*/ 433619 h 470547"/>
                <a:gd name="connsiteX775" fmla="*/ 7355 w 578488"/>
                <a:gd name="connsiteY775" fmla="*/ 431533 h 470547"/>
                <a:gd name="connsiteX776" fmla="*/ 8535 w 578488"/>
                <a:gd name="connsiteY776" fmla="*/ 424101 h 470547"/>
                <a:gd name="connsiteX777" fmla="*/ 9799 w 578488"/>
                <a:gd name="connsiteY777" fmla="*/ 420472 h 470547"/>
                <a:gd name="connsiteX778" fmla="*/ 11185 w 578488"/>
                <a:gd name="connsiteY778" fmla="*/ 417901 h 470547"/>
                <a:gd name="connsiteX779" fmla="*/ 13366 w 578488"/>
                <a:gd name="connsiteY779" fmla="*/ 417468 h 470547"/>
                <a:gd name="connsiteX780" fmla="*/ 14891 w 578488"/>
                <a:gd name="connsiteY780" fmla="*/ 415582 h 470547"/>
                <a:gd name="connsiteX781" fmla="*/ 16156 w 578488"/>
                <a:gd name="connsiteY781" fmla="*/ 415582 h 470547"/>
                <a:gd name="connsiteX782" fmla="*/ 17257 w 578488"/>
                <a:gd name="connsiteY782" fmla="*/ 416453 h 470547"/>
                <a:gd name="connsiteX783" fmla="*/ 21518 w 578488"/>
                <a:gd name="connsiteY783" fmla="*/ 417297 h 470547"/>
                <a:gd name="connsiteX784" fmla="*/ 23621 w 578488"/>
                <a:gd name="connsiteY784" fmla="*/ 414895 h 470547"/>
                <a:gd name="connsiteX785" fmla="*/ 26357 w 578488"/>
                <a:gd name="connsiteY785" fmla="*/ 414543 h 470547"/>
                <a:gd name="connsiteX786" fmla="*/ 31345 w 578488"/>
                <a:gd name="connsiteY786" fmla="*/ 412116 h 470547"/>
                <a:gd name="connsiteX787" fmla="*/ 31241 w 578488"/>
                <a:gd name="connsiteY787" fmla="*/ 411674 h 470547"/>
                <a:gd name="connsiteX788" fmla="*/ 27866 w 578488"/>
                <a:gd name="connsiteY788" fmla="*/ 412208 h 470547"/>
                <a:gd name="connsiteX789" fmla="*/ 25819 w 578488"/>
                <a:gd name="connsiteY789" fmla="*/ 412287 h 470547"/>
                <a:gd name="connsiteX790" fmla="*/ 22885 w 578488"/>
                <a:gd name="connsiteY790" fmla="*/ 412896 h 470547"/>
                <a:gd name="connsiteX791" fmla="*/ 21326 w 578488"/>
                <a:gd name="connsiteY791" fmla="*/ 412461 h 470547"/>
                <a:gd name="connsiteX792" fmla="*/ 20596 w 578488"/>
                <a:gd name="connsiteY792" fmla="*/ 410642 h 470547"/>
                <a:gd name="connsiteX793" fmla="*/ 21770 w 578488"/>
                <a:gd name="connsiteY793" fmla="*/ 409002 h 470547"/>
                <a:gd name="connsiteX794" fmla="*/ 26478 w 578488"/>
                <a:gd name="connsiteY794" fmla="*/ 405081 h 470547"/>
                <a:gd name="connsiteX795" fmla="*/ 28102 w 578488"/>
                <a:gd name="connsiteY795" fmla="*/ 403361 h 470547"/>
                <a:gd name="connsiteX796" fmla="*/ 29028 w 578488"/>
                <a:gd name="connsiteY796" fmla="*/ 401753 h 470547"/>
                <a:gd name="connsiteX797" fmla="*/ 28881 w 578488"/>
                <a:gd name="connsiteY797" fmla="*/ 400658 h 470547"/>
                <a:gd name="connsiteX798" fmla="*/ 29663 w 578488"/>
                <a:gd name="connsiteY798" fmla="*/ 398392 h 470547"/>
                <a:gd name="connsiteX799" fmla="*/ 34267 w 578488"/>
                <a:gd name="connsiteY799" fmla="*/ 394426 h 470547"/>
                <a:gd name="connsiteX800" fmla="*/ 38011 w 578488"/>
                <a:gd name="connsiteY800" fmla="*/ 392611 h 470547"/>
                <a:gd name="connsiteX801" fmla="*/ 39240 w 578488"/>
                <a:gd name="connsiteY801" fmla="*/ 394173 h 470547"/>
                <a:gd name="connsiteX802" fmla="*/ 38195 w 578488"/>
                <a:gd name="connsiteY802" fmla="*/ 399051 h 470547"/>
                <a:gd name="connsiteX803" fmla="*/ 38205 w 578488"/>
                <a:gd name="connsiteY803" fmla="*/ 401062 h 470547"/>
                <a:gd name="connsiteX804" fmla="*/ 41170 w 578488"/>
                <a:gd name="connsiteY804" fmla="*/ 393952 h 470547"/>
                <a:gd name="connsiteX805" fmla="*/ 42475 w 578488"/>
                <a:gd name="connsiteY805" fmla="*/ 392258 h 470547"/>
                <a:gd name="connsiteX806" fmla="*/ 43960 w 578488"/>
                <a:gd name="connsiteY806" fmla="*/ 391063 h 470547"/>
                <a:gd name="connsiteX807" fmla="*/ 47556 w 578488"/>
                <a:gd name="connsiteY807" fmla="*/ 390260 h 470547"/>
                <a:gd name="connsiteX808" fmla="*/ 48573 w 578488"/>
                <a:gd name="connsiteY808" fmla="*/ 389136 h 470547"/>
                <a:gd name="connsiteX809" fmla="*/ 44386 w 578488"/>
                <a:gd name="connsiteY809" fmla="*/ 389508 h 470547"/>
                <a:gd name="connsiteX810" fmla="*/ 34228 w 578488"/>
                <a:gd name="connsiteY810" fmla="*/ 392228 h 470547"/>
                <a:gd name="connsiteX811" fmla="*/ 29946 w 578488"/>
                <a:gd name="connsiteY811" fmla="*/ 394649 h 470547"/>
                <a:gd name="connsiteX812" fmla="*/ 28806 w 578488"/>
                <a:gd name="connsiteY812" fmla="*/ 396513 h 470547"/>
                <a:gd name="connsiteX813" fmla="*/ 25834 w 578488"/>
                <a:gd name="connsiteY813" fmla="*/ 399318 h 470547"/>
                <a:gd name="connsiteX814" fmla="*/ 24441 w 578488"/>
                <a:gd name="connsiteY814" fmla="*/ 401138 h 470547"/>
                <a:gd name="connsiteX815" fmla="*/ 23826 w 578488"/>
                <a:gd name="connsiteY815" fmla="*/ 403807 h 470547"/>
                <a:gd name="connsiteX816" fmla="*/ 22152 w 578488"/>
                <a:gd name="connsiteY816" fmla="*/ 405256 h 470547"/>
                <a:gd name="connsiteX817" fmla="*/ 19896 w 578488"/>
                <a:gd name="connsiteY817" fmla="*/ 405791 h 470547"/>
                <a:gd name="connsiteX818" fmla="*/ 16761 w 578488"/>
                <a:gd name="connsiteY818" fmla="*/ 409168 h 470547"/>
                <a:gd name="connsiteX819" fmla="*/ 15379 w 578488"/>
                <a:gd name="connsiteY819" fmla="*/ 411878 h 470547"/>
                <a:gd name="connsiteX820" fmla="*/ 12259 w 578488"/>
                <a:gd name="connsiteY820" fmla="*/ 414035 h 470547"/>
                <a:gd name="connsiteX821" fmla="*/ 10278 w 578488"/>
                <a:gd name="connsiteY821" fmla="*/ 415692 h 470547"/>
                <a:gd name="connsiteX822" fmla="*/ 9628 w 578488"/>
                <a:gd name="connsiteY822" fmla="*/ 416283 h 470547"/>
                <a:gd name="connsiteX823" fmla="*/ 8557 w 578488"/>
                <a:gd name="connsiteY823" fmla="*/ 417911 h 470547"/>
                <a:gd name="connsiteX824" fmla="*/ 7667 w 578488"/>
                <a:gd name="connsiteY824" fmla="*/ 418025 h 470547"/>
                <a:gd name="connsiteX825" fmla="*/ 6892 w 578488"/>
                <a:gd name="connsiteY825" fmla="*/ 417071 h 470547"/>
                <a:gd name="connsiteX826" fmla="*/ 6763 w 578488"/>
                <a:gd name="connsiteY826" fmla="*/ 414970 h 470547"/>
                <a:gd name="connsiteX827" fmla="*/ 7080 w 578488"/>
                <a:gd name="connsiteY827" fmla="*/ 411611 h 470547"/>
                <a:gd name="connsiteX828" fmla="*/ 8581 w 578488"/>
                <a:gd name="connsiteY828" fmla="*/ 409191 h 470547"/>
                <a:gd name="connsiteX829" fmla="*/ 9298 w 578488"/>
                <a:gd name="connsiteY829" fmla="*/ 406824 h 470547"/>
                <a:gd name="connsiteX830" fmla="*/ 8300 w 578488"/>
                <a:gd name="connsiteY830" fmla="*/ 404611 h 470547"/>
                <a:gd name="connsiteX831" fmla="*/ 8991 w 578488"/>
                <a:gd name="connsiteY831" fmla="*/ 403214 h 470547"/>
                <a:gd name="connsiteX832" fmla="*/ 10313 w 578488"/>
                <a:gd name="connsiteY832" fmla="*/ 403262 h 470547"/>
                <a:gd name="connsiteX833" fmla="*/ 12768 w 578488"/>
                <a:gd name="connsiteY833" fmla="*/ 403899 h 470547"/>
                <a:gd name="connsiteX834" fmla="*/ 15379 w 578488"/>
                <a:gd name="connsiteY834" fmla="*/ 403797 h 470547"/>
                <a:gd name="connsiteX835" fmla="*/ 19669 w 578488"/>
                <a:gd name="connsiteY835" fmla="*/ 402047 h 470547"/>
                <a:gd name="connsiteX836" fmla="*/ 18985 w 578488"/>
                <a:gd name="connsiteY836" fmla="*/ 401024 h 470547"/>
                <a:gd name="connsiteX837" fmla="*/ 17132 w 578488"/>
                <a:gd name="connsiteY837" fmla="*/ 400878 h 470547"/>
                <a:gd name="connsiteX838" fmla="*/ 13673 w 578488"/>
                <a:gd name="connsiteY838" fmla="*/ 401024 h 470547"/>
                <a:gd name="connsiteX839" fmla="*/ 10764 w 578488"/>
                <a:gd name="connsiteY839" fmla="*/ 399313 h 470547"/>
                <a:gd name="connsiteX840" fmla="*/ 8503 w 578488"/>
                <a:gd name="connsiteY840" fmla="*/ 395906 h 470547"/>
                <a:gd name="connsiteX841" fmla="*/ 7475 w 578488"/>
                <a:gd name="connsiteY841" fmla="*/ 391346 h 470547"/>
                <a:gd name="connsiteX842" fmla="*/ 8162 w 578488"/>
                <a:gd name="connsiteY842" fmla="*/ 390040 h 470547"/>
                <a:gd name="connsiteX843" fmla="*/ 16528 w 578488"/>
                <a:gd name="connsiteY843" fmla="*/ 385382 h 470547"/>
                <a:gd name="connsiteX844" fmla="*/ 18780 w 578488"/>
                <a:gd name="connsiteY844" fmla="*/ 383264 h 470547"/>
                <a:gd name="connsiteX845" fmla="*/ 17475 w 578488"/>
                <a:gd name="connsiteY845" fmla="*/ 383054 h 470547"/>
                <a:gd name="connsiteX846" fmla="*/ 14336 w 578488"/>
                <a:gd name="connsiteY846" fmla="*/ 385623 h 470547"/>
                <a:gd name="connsiteX847" fmla="*/ 9840 w 578488"/>
                <a:gd name="connsiteY847" fmla="*/ 387216 h 470547"/>
                <a:gd name="connsiteX848" fmla="*/ 7005 w 578488"/>
                <a:gd name="connsiteY848" fmla="*/ 385001 h 470547"/>
                <a:gd name="connsiteX849" fmla="*/ 5530 w 578488"/>
                <a:gd name="connsiteY849" fmla="*/ 382612 h 470547"/>
                <a:gd name="connsiteX850" fmla="*/ 4681 w 578488"/>
                <a:gd name="connsiteY850" fmla="*/ 377560 h 470547"/>
                <a:gd name="connsiteX851" fmla="*/ 4988 w 578488"/>
                <a:gd name="connsiteY851" fmla="*/ 374959 h 470547"/>
                <a:gd name="connsiteX852" fmla="*/ 4633 w 578488"/>
                <a:gd name="connsiteY852" fmla="*/ 371534 h 470547"/>
                <a:gd name="connsiteX853" fmla="*/ 6553 w 578488"/>
                <a:gd name="connsiteY853" fmla="*/ 370420 h 470547"/>
                <a:gd name="connsiteX854" fmla="*/ 8700 w 578488"/>
                <a:gd name="connsiteY854" fmla="*/ 371012 h 470547"/>
                <a:gd name="connsiteX855" fmla="*/ 10816 w 578488"/>
                <a:gd name="connsiteY855" fmla="*/ 371232 h 470547"/>
                <a:gd name="connsiteX856" fmla="*/ 15616 w 578488"/>
                <a:gd name="connsiteY856" fmla="*/ 370932 h 470547"/>
                <a:gd name="connsiteX857" fmla="*/ 26201 w 578488"/>
                <a:gd name="connsiteY857" fmla="*/ 368874 h 470547"/>
                <a:gd name="connsiteX858" fmla="*/ 33025 w 578488"/>
                <a:gd name="connsiteY858" fmla="*/ 370097 h 470547"/>
                <a:gd name="connsiteX859" fmla="*/ 35798 w 578488"/>
                <a:gd name="connsiteY859" fmla="*/ 369985 h 470547"/>
                <a:gd name="connsiteX860" fmla="*/ 40041 w 578488"/>
                <a:gd name="connsiteY860" fmla="*/ 368212 h 470547"/>
                <a:gd name="connsiteX861" fmla="*/ 43755 w 578488"/>
                <a:gd name="connsiteY861" fmla="*/ 368029 h 470547"/>
                <a:gd name="connsiteX862" fmla="*/ 46532 w 578488"/>
                <a:gd name="connsiteY862" fmla="*/ 369384 h 470547"/>
                <a:gd name="connsiteX863" fmla="*/ 48050 w 578488"/>
                <a:gd name="connsiteY863" fmla="*/ 370937 h 470547"/>
                <a:gd name="connsiteX864" fmla="*/ 48238 w 578488"/>
                <a:gd name="connsiteY864" fmla="*/ 373013 h 470547"/>
                <a:gd name="connsiteX865" fmla="*/ 49523 w 578488"/>
                <a:gd name="connsiteY865" fmla="*/ 374396 h 470547"/>
                <a:gd name="connsiteX866" fmla="*/ 50391 w 578488"/>
                <a:gd name="connsiteY866" fmla="*/ 373947 h 470547"/>
                <a:gd name="connsiteX867" fmla="*/ 49700 w 578488"/>
                <a:gd name="connsiteY867" fmla="*/ 372303 h 470547"/>
                <a:gd name="connsiteX868" fmla="*/ 49555 w 578488"/>
                <a:gd name="connsiteY868" fmla="*/ 369753 h 470547"/>
                <a:gd name="connsiteX869" fmla="*/ 60719 w 578488"/>
                <a:gd name="connsiteY869" fmla="*/ 366861 h 470547"/>
                <a:gd name="connsiteX870" fmla="*/ 62035 w 578488"/>
                <a:gd name="connsiteY870" fmla="*/ 365736 h 470547"/>
                <a:gd name="connsiteX871" fmla="*/ 57599 w 578488"/>
                <a:gd name="connsiteY871" fmla="*/ 365345 h 470547"/>
                <a:gd name="connsiteX872" fmla="*/ 56331 w 578488"/>
                <a:gd name="connsiteY872" fmla="*/ 362701 h 470547"/>
                <a:gd name="connsiteX873" fmla="*/ 58674 w 578488"/>
                <a:gd name="connsiteY873" fmla="*/ 358695 h 470547"/>
                <a:gd name="connsiteX874" fmla="*/ 58454 w 578488"/>
                <a:gd name="connsiteY874" fmla="*/ 358175 h 470547"/>
                <a:gd name="connsiteX875" fmla="*/ 55990 w 578488"/>
                <a:gd name="connsiteY875" fmla="*/ 360290 h 470547"/>
                <a:gd name="connsiteX876" fmla="*/ 54777 w 578488"/>
                <a:gd name="connsiteY876" fmla="*/ 363263 h 470547"/>
                <a:gd name="connsiteX877" fmla="*/ 55258 w 578488"/>
                <a:gd name="connsiteY877" fmla="*/ 365633 h 470547"/>
                <a:gd name="connsiteX878" fmla="*/ 54770 w 578488"/>
                <a:gd name="connsiteY878" fmla="*/ 366733 h 470547"/>
                <a:gd name="connsiteX879" fmla="*/ 52505 w 578488"/>
                <a:gd name="connsiteY879" fmla="*/ 367237 h 470547"/>
                <a:gd name="connsiteX880" fmla="*/ 47398 w 578488"/>
                <a:gd name="connsiteY880" fmla="*/ 367420 h 470547"/>
                <a:gd name="connsiteX881" fmla="*/ 44120 w 578488"/>
                <a:gd name="connsiteY881" fmla="*/ 366415 h 470547"/>
                <a:gd name="connsiteX882" fmla="*/ 41084 w 578488"/>
                <a:gd name="connsiteY882" fmla="*/ 365869 h 470547"/>
                <a:gd name="connsiteX883" fmla="*/ 40050 w 578488"/>
                <a:gd name="connsiteY883" fmla="*/ 365111 h 470547"/>
                <a:gd name="connsiteX884" fmla="*/ 40395 w 578488"/>
                <a:gd name="connsiteY884" fmla="*/ 363419 h 470547"/>
                <a:gd name="connsiteX885" fmla="*/ 39821 w 578488"/>
                <a:gd name="connsiteY885" fmla="*/ 363070 h 470547"/>
                <a:gd name="connsiteX886" fmla="*/ 38564 w 578488"/>
                <a:gd name="connsiteY886" fmla="*/ 364591 h 470547"/>
                <a:gd name="connsiteX887" fmla="*/ 37448 w 578488"/>
                <a:gd name="connsiteY887" fmla="*/ 367620 h 470547"/>
                <a:gd name="connsiteX888" fmla="*/ 35035 w 578488"/>
                <a:gd name="connsiteY888" fmla="*/ 368317 h 470547"/>
                <a:gd name="connsiteX889" fmla="*/ 28380 w 578488"/>
                <a:gd name="connsiteY889" fmla="*/ 367193 h 470547"/>
                <a:gd name="connsiteX890" fmla="*/ 18745 w 578488"/>
                <a:gd name="connsiteY890" fmla="*/ 367855 h 470547"/>
                <a:gd name="connsiteX891" fmla="*/ 14422 w 578488"/>
                <a:gd name="connsiteY891" fmla="*/ 369378 h 470547"/>
                <a:gd name="connsiteX892" fmla="*/ 11621 w 578488"/>
                <a:gd name="connsiteY892" fmla="*/ 369179 h 470547"/>
                <a:gd name="connsiteX893" fmla="*/ 6804 w 578488"/>
                <a:gd name="connsiteY893" fmla="*/ 366511 h 470547"/>
                <a:gd name="connsiteX894" fmla="*/ 4923 w 578488"/>
                <a:gd name="connsiteY894" fmla="*/ 364387 h 470547"/>
                <a:gd name="connsiteX895" fmla="*/ 4221 w 578488"/>
                <a:gd name="connsiteY895" fmla="*/ 360099 h 470547"/>
                <a:gd name="connsiteX896" fmla="*/ 4504 w 578488"/>
                <a:gd name="connsiteY896" fmla="*/ 358210 h 470547"/>
                <a:gd name="connsiteX897" fmla="*/ 8257 w 578488"/>
                <a:gd name="connsiteY897" fmla="*/ 357414 h 470547"/>
                <a:gd name="connsiteX898" fmla="*/ 10155 w 578488"/>
                <a:gd name="connsiteY898" fmla="*/ 357470 h 470547"/>
                <a:gd name="connsiteX899" fmla="*/ 11932 w 578488"/>
                <a:gd name="connsiteY899" fmla="*/ 356454 h 470547"/>
                <a:gd name="connsiteX900" fmla="*/ 10360 w 578488"/>
                <a:gd name="connsiteY900" fmla="*/ 355794 h 470547"/>
                <a:gd name="connsiteX901" fmla="*/ 8149 w 578488"/>
                <a:gd name="connsiteY901" fmla="*/ 354496 h 470547"/>
                <a:gd name="connsiteX902" fmla="*/ 6642 w 578488"/>
                <a:gd name="connsiteY902" fmla="*/ 351893 h 470547"/>
                <a:gd name="connsiteX903" fmla="*/ 4370 w 578488"/>
                <a:gd name="connsiteY903" fmla="*/ 351044 h 470547"/>
                <a:gd name="connsiteX904" fmla="*/ 2848 w 578488"/>
                <a:gd name="connsiteY904" fmla="*/ 348822 h 470547"/>
                <a:gd name="connsiteX905" fmla="*/ 2461 w 578488"/>
                <a:gd name="connsiteY905" fmla="*/ 345461 h 470547"/>
                <a:gd name="connsiteX906" fmla="*/ 2897 w 578488"/>
                <a:gd name="connsiteY906" fmla="*/ 343122 h 470547"/>
                <a:gd name="connsiteX907" fmla="*/ 4113 w 578488"/>
                <a:gd name="connsiteY907" fmla="*/ 342369 h 470547"/>
                <a:gd name="connsiteX908" fmla="*/ 7031 w 578488"/>
                <a:gd name="connsiteY908" fmla="*/ 342881 h 470547"/>
                <a:gd name="connsiteX909" fmla="*/ 14733 w 578488"/>
                <a:gd name="connsiteY909" fmla="*/ 342488 h 470547"/>
                <a:gd name="connsiteX910" fmla="*/ 21984 w 578488"/>
                <a:gd name="connsiteY910" fmla="*/ 344865 h 470547"/>
                <a:gd name="connsiteX911" fmla="*/ 26905 w 578488"/>
                <a:gd name="connsiteY911" fmla="*/ 346212 h 470547"/>
                <a:gd name="connsiteX912" fmla="*/ 36875 w 578488"/>
                <a:gd name="connsiteY912" fmla="*/ 345535 h 470547"/>
                <a:gd name="connsiteX913" fmla="*/ 42714 w 578488"/>
                <a:gd name="connsiteY913" fmla="*/ 343413 h 470547"/>
                <a:gd name="connsiteX914" fmla="*/ 41643 w 578488"/>
                <a:gd name="connsiteY914" fmla="*/ 342826 h 470547"/>
                <a:gd name="connsiteX915" fmla="*/ 35310 w 578488"/>
                <a:gd name="connsiteY915" fmla="*/ 344053 h 470547"/>
                <a:gd name="connsiteX916" fmla="*/ 29456 w 578488"/>
                <a:gd name="connsiteY916" fmla="*/ 344003 h 470547"/>
                <a:gd name="connsiteX917" fmla="*/ 19136 w 578488"/>
                <a:gd name="connsiteY917" fmla="*/ 341603 h 470547"/>
                <a:gd name="connsiteX918" fmla="*/ 14904 w 578488"/>
                <a:gd name="connsiteY918" fmla="*/ 340829 h 470547"/>
                <a:gd name="connsiteX919" fmla="*/ 10345 w 578488"/>
                <a:gd name="connsiteY919" fmla="*/ 341171 h 470547"/>
                <a:gd name="connsiteX920" fmla="*/ 7972 w 578488"/>
                <a:gd name="connsiteY920" fmla="*/ 340442 h 470547"/>
                <a:gd name="connsiteX921" fmla="*/ 6577 w 578488"/>
                <a:gd name="connsiteY921" fmla="*/ 338065 h 470547"/>
                <a:gd name="connsiteX922" fmla="*/ 7609 w 578488"/>
                <a:gd name="connsiteY922" fmla="*/ 333512 h 470547"/>
                <a:gd name="connsiteX923" fmla="*/ 9771 w 578488"/>
                <a:gd name="connsiteY923" fmla="*/ 332528 h 470547"/>
                <a:gd name="connsiteX924" fmla="*/ 10941 w 578488"/>
                <a:gd name="connsiteY924" fmla="*/ 333717 h 470547"/>
                <a:gd name="connsiteX925" fmla="*/ 12353 w 578488"/>
                <a:gd name="connsiteY925" fmla="*/ 333792 h 470547"/>
                <a:gd name="connsiteX926" fmla="*/ 13783 w 578488"/>
                <a:gd name="connsiteY926" fmla="*/ 331887 h 470547"/>
                <a:gd name="connsiteX927" fmla="*/ 15152 w 578488"/>
                <a:gd name="connsiteY927" fmla="*/ 330801 h 470547"/>
                <a:gd name="connsiteX928" fmla="*/ 16236 w 578488"/>
                <a:gd name="connsiteY928" fmla="*/ 328341 h 470547"/>
                <a:gd name="connsiteX929" fmla="*/ 20324 w 578488"/>
                <a:gd name="connsiteY929" fmla="*/ 326007 h 470547"/>
                <a:gd name="connsiteX930" fmla="*/ 22051 w 578488"/>
                <a:gd name="connsiteY930" fmla="*/ 325809 h 470547"/>
                <a:gd name="connsiteX931" fmla="*/ 24528 w 578488"/>
                <a:gd name="connsiteY931" fmla="*/ 324733 h 470547"/>
                <a:gd name="connsiteX932" fmla="*/ 26109 w 578488"/>
                <a:gd name="connsiteY932" fmla="*/ 325038 h 470547"/>
                <a:gd name="connsiteX933" fmla="*/ 27122 w 578488"/>
                <a:gd name="connsiteY933" fmla="*/ 326118 h 470547"/>
                <a:gd name="connsiteX934" fmla="*/ 28402 w 578488"/>
                <a:gd name="connsiteY934" fmla="*/ 327012 h 470547"/>
                <a:gd name="connsiteX935" fmla="*/ 31177 w 578488"/>
                <a:gd name="connsiteY935" fmla="*/ 326903 h 470547"/>
                <a:gd name="connsiteX936" fmla="*/ 39382 w 578488"/>
                <a:gd name="connsiteY936" fmla="*/ 325033 h 470547"/>
                <a:gd name="connsiteX937" fmla="*/ 40266 w 578488"/>
                <a:gd name="connsiteY937" fmla="*/ 324483 h 470547"/>
                <a:gd name="connsiteX938" fmla="*/ 41866 w 578488"/>
                <a:gd name="connsiteY938" fmla="*/ 322944 h 470547"/>
                <a:gd name="connsiteX939" fmla="*/ 36664 w 578488"/>
                <a:gd name="connsiteY939" fmla="*/ 323630 h 470547"/>
                <a:gd name="connsiteX940" fmla="*/ 32343 w 578488"/>
                <a:gd name="connsiteY940" fmla="*/ 324723 h 470547"/>
                <a:gd name="connsiteX941" fmla="*/ 29566 w 578488"/>
                <a:gd name="connsiteY941" fmla="*/ 325026 h 470547"/>
                <a:gd name="connsiteX942" fmla="*/ 29175 w 578488"/>
                <a:gd name="connsiteY942" fmla="*/ 323662 h 470547"/>
                <a:gd name="connsiteX943" fmla="*/ 30199 w 578488"/>
                <a:gd name="connsiteY943" fmla="*/ 322450 h 470547"/>
                <a:gd name="connsiteX944" fmla="*/ 31807 w 578488"/>
                <a:gd name="connsiteY944" fmla="*/ 321160 h 470547"/>
                <a:gd name="connsiteX945" fmla="*/ 32589 w 578488"/>
                <a:gd name="connsiteY945" fmla="*/ 318959 h 470547"/>
                <a:gd name="connsiteX946" fmla="*/ 34359 w 578488"/>
                <a:gd name="connsiteY946" fmla="*/ 318019 h 470547"/>
                <a:gd name="connsiteX947" fmla="*/ 36273 w 578488"/>
                <a:gd name="connsiteY947" fmla="*/ 318069 h 470547"/>
                <a:gd name="connsiteX948" fmla="*/ 40229 w 578488"/>
                <a:gd name="connsiteY948" fmla="*/ 317669 h 470547"/>
                <a:gd name="connsiteX949" fmla="*/ 43021 w 578488"/>
                <a:gd name="connsiteY949" fmla="*/ 317096 h 470547"/>
                <a:gd name="connsiteX950" fmla="*/ 47808 w 578488"/>
                <a:gd name="connsiteY950" fmla="*/ 317480 h 470547"/>
                <a:gd name="connsiteX951" fmla="*/ 54943 w 578488"/>
                <a:gd name="connsiteY951" fmla="*/ 318323 h 470547"/>
                <a:gd name="connsiteX952" fmla="*/ 59542 w 578488"/>
                <a:gd name="connsiteY952" fmla="*/ 320372 h 470547"/>
                <a:gd name="connsiteX953" fmla="*/ 61274 w 578488"/>
                <a:gd name="connsiteY953" fmla="*/ 320187 h 470547"/>
                <a:gd name="connsiteX954" fmla="*/ 63110 w 578488"/>
                <a:gd name="connsiteY954" fmla="*/ 319642 h 470547"/>
                <a:gd name="connsiteX955" fmla="*/ 63941 w 578488"/>
                <a:gd name="connsiteY955" fmla="*/ 318899 h 470547"/>
                <a:gd name="connsiteX956" fmla="*/ 60331 w 578488"/>
                <a:gd name="connsiteY956" fmla="*/ 318048 h 470547"/>
                <a:gd name="connsiteX957" fmla="*/ 60125 w 578488"/>
                <a:gd name="connsiteY957" fmla="*/ 316834 h 470547"/>
                <a:gd name="connsiteX958" fmla="*/ 60573 w 578488"/>
                <a:gd name="connsiteY958" fmla="*/ 315918 h 470547"/>
                <a:gd name="connsiteX959" fmla="*/ 66461 w 578488"/>
                <a:gd name="connsiteY959" fmla="*/ 314229 h 470547"/>
                <a:gd name="connsiteX960" fmla="*/ 72892 w 578488"/>
                <a:gd name="connsiteY960" fmla="*/ 313855 h 470547"/>
                <a:gd name="connsiteX961" fmla="*/ 71786 w 578488"/>
                <a:gd name="connsiteY961" fmla="*/ 312494 h 470547"/>
                <a:gd name="connsiteX962" fmla="*/ 57698 w 578488"/>
                <a:gd name="connsiteY962" fmla="*/ 314548 h 470547"/>
                <a:gd name="connsiteX963" fmla="*/ 54021 w 578488"/>
                <a:gd name="connsiteY963" fmla="*/ 313146 h 470547"/>
                <a:gd name="connsiteX964" fmla="*/ 51119 w 578488"/>
                <a:gd name="connsiteY964" fmla="*/ 313158 h 470547"/>
                <a:gd name="connsiteX965" fmla="*/ 49218 w 578488"/>
                <a:gd name="connsiteY965" fmla="*/ 313959 h 470547"/>
                <a:gd name="connsiteX966" fmla="*/ 43803 w 578488"/>
                <a:gd name="connsiteY966" fmla="*/ 314929 h 470547"/>
                <a:gd name="connsiteX967" fmla="*/ 42807 w 578488"/>
                <a:gd name="connsiteY967" fmla="*/ 314239 h 470547"/>
                <a:gd name="connsiteX968" fmla="*/ 43837 w 578488"/>
                <a:gd name="connsiteY968" fmla="*/ 311857 h 470547"/>
                <a:gd name="connsiteX969" fmla="*/ 47081 w 578488"/>
                <a:gd name="connsiteY969" fmla="*/ 307944 h 470547"/>
                <a:gd name="connsiteX970" fmla="*/ 47351 w 578488"/>
                <a:gd name="connsiteY970" fmla="*/ 306984 h 470547"/>
                <a:gd name="connsiteX971" fmla="*/ 48856 w 578488"/>
                <a:gd name="connsiteY971" fmla="*/ 306041 h 470547"/>
                <a:gd name="connsiteX972" fmla="*/ 57271 w 578488"/>
                <a:gd name="connsiteY972" fmla="*/ 303765 h 470547"/>
                <a:gd name="connsiteX973" fmla="*/ 61313 w 578488"/>
                <a:gd name="connsiteY973" fmla="*/ 301118 h 470547"/>
                <a:gd name="connsiteX974" fmla="*/ 63136 w 578488"/>
                <a:gd name="connsiteY974" fmla="*/ 300782 h 470547"/>
                <a:gd name="connsiteX975" fmla="*/ 64943 w 578488"/>
                <a:gd name="connsiteY975" fmla="*/ 300967 h 470547"/>
                <a:gd name="connsiteX976" fmla="*/ 67692 w 578488"/>
                <a:gd name="connsiteY976" fmla="*/ 300657 h 470547"/>
                <a:gd name="connsiteX977" fmla="*/ 73004 w 578488"/>
                <a:gd name="connsiteY977" fmla="*/ 301415 h 470547"/>
                <a:gd name="connsiteX978" fmla="*/ 75448 w 578488"/>
                <a:gd name="connsiteY978" fmla="*/ 304729 h 470547"/>
                <a:gd name="connsiteX979" fmla="*/ 77647 w 578488"/>
                <a:gd name="connsiteY979" fmla="*/ 305769 h 470547"/>
                <a:gd name="connsiteX980" fmla="*/ 84559 w 578488"/>
                <a:gd name="connsiteY980" fmla="*/ 309900 h 470547"/>
                <a:gd name="connsiteX981" fmla="*/ 84250 w 578488"/>
                <a:gd name="connsiteY981" fmla="*/ 308712 h 470547"/>
                <a:gd name="connsiteX982" fmla="*/ 78267 w 578488"/>
                <a:gd name="connsiteY982" fmla="*/ 303109 h 470547"/>
                <a:gd name="connsiteX983" fmla="*/ 75980 w 578488"/>
                <a:gd name="connsiteY983" fmla="*/ 301720 h 470547"/>
                <a:gd name="connsiteX984" fmla="*/ 74274 w 578488"/>
                <a:gd name="connsiteY984" fmla="*/ 298962 h 470547"/>
                <a:gd name="connsiteX985" fmla="*/ 74859 w 578488"/>
                <a:gd name="connsiteY985" fmla="*/ 296352 h 470547"/>
                <a:gd name="connsiteX986" fmla="*/ 76783 w 578488"/>
                <a:gd name="connsiteY986" fmla="*/ 294608 h 470547"/>
                <a:gd name="connsiteX987" fmla="*/ 83609 w 578488"/>
                <a:gd name="connsiteY987" fmla="*/ 293673 h 470547"/>
                <a:gd name="connsiteX988" fmla="*/ 84833 w 578488"/>
                <a:gd name="connsiteY988" fmla="*/ 292663 h 470547"/>
                <a:gd name="connsiteX989" fmla="*/ 84954 w 578488"/>
                <a:gd name="connsiteY989" fmla="*/ 290926 h 470547"/>
                <a:gd name="connsiteX990" fmla="*/ 83909 w 578488"/>
                <a:gd name="connsiteY990" fmla="*/ 289737 h 470547"/>
                <a:gd name="connsiteX991" fmla="*/ 81398 w 578488"/>
                <a:gd name="connsiteY991" fmla="*/ 289806 h 470547"/>
                <a:gd name="connsiteX992" fmla="*/ 79327 w 578488"/>
                <a:gd name="connsiteY992" fmla="*/ 289069 h 470547"/>
                <a:gd name="connsiteX993" fmla="*/ 78757 w 578488"/>
                <a:gd name="connsiteY993" fmla="*/ 287194 h 470547"/>
                <a:gd name="connsiteX994" fmla="*/ 79584 w 578488"/>
                <a:gd name="connsiteY994" fmla="*/ 285926 h 470547"/>
                <a:gd name="connsiteX995" fmla="*/ 83520 w 578488"/>
                <a:gd name="connsiteY995" fmla="*/ 283612 h 470547"/>
                <a:gd name="connsiteX996" fmla="*/ 85675 w 578488"/>
                <a:gd name="connsiteY996" fmla="*/ 282860 h 470547"/>
                <a:gd name="connsiteX997" fmla="*/ 89407 w 578488"/>
                <a:gd name="connsiteY997" fmla="*/ 282044 h 470547"/>
                <a:gd name="connsiteX998" fmla="*/ 95896 w 578488"/>
                <a:gd name="connsiteY998" fmla="*/ 283876 h 470547"/>
                <a:gd name="connsiteX999" fmla="*/ 96388 w 578488"/>
                <a:gd name="connsiteY999" fmla="*/ 284835 h 470547"/>
                <a:gd name="connsiteX1000" fmla="*/ 94570 w 578488"/>
                <a:gd name="connsiteY1000" fmla="*/ 287141 h 470547"/>
                <a:gd name="connsiteX1001" fmla="*/ 94753 w 578488"/>
                <a:gd name="connsiteY1001" fmla="*/ 288434 h 470547"/>
                <a:gd name="connsiteX1002" fmla="*/ 96343 w 578488"/>
                <a:gd name="connsiteY1002" fmla="*/ 288577 h 470547"/>
                <a:gd name="connsiteX1003" fmla="*/ 100048 w 578488"/>
                <a:gd name="connsiteY1003" fmla="*/ 284691 h 470547"/>
                <a:gd name="connsiteX1004" fmla="*/ 104406 w 578488"/>
                <a:gd name="connsiteY1004" fmla="*/ 284154 h 470547"/>
                <a:gd name="connsiteX1005" fmla="*/ 106209 w 578488"/>
                <a:gd name="connsiteY1005" fmla="*/ 283318 h 470547"/>
                <a:gd name="connsiteX1006" fmla="*/ 108301 w 578488"/>
                <a:gd name="connsiteY1006" fmla="*/ 282792 h 470547"/>
                <a:gd name="connsiteX1007" fmla="*/ 111294 w 578488"/>
                <a:gd name="connsiteY1007" fmla="*/ 286309 h 470547"/>
                <a:gd name="connsiteX1008" fmla="*/ 112605 w 578488"/>
                <a:gd name="connsiteY1008" fmla="*/ 287433 h 470547"/>
                <a:gd name="connsiteX1009" fmla="*/ 113590 w 578488"/>
                <a:gd name="connsiteY1009" fmla="*/ 287894 h 470547"/>
                <a:gd name="connsiteX1010" fmla="*/ 114544 w 578488"/>
                <a:gd name="connsiteY1010" fmla="*/ 290815 h 470547"/>
                <a:gd name="connsiteX1011" fmla="*/ 115468 w 578488"/>
                <a:gd name="connsiteY1011" fmla="*/ 290971 h 470547"/>
                <a:gd name="connsiteX1012" fmla="*/ 116785 w 578488"/>
                <a:gd name="connsiteY1012" fmla="*/ 289507 h 470547"/>
                <a:gd name="connsiteX1013" fmla="*/ 119174 w 578488"/>
                <a:gd name="connsiteY1013" fmla="*/ 288736 h 470547"/>
                <a:gd name="connsiteX1014" fmla="*/ 122523 w 578488"/>
                <a:gd name="connsiteY1014" fmla="*/ 288227 h 470547"/>
                <a:gd name="connsiteX1015" fmla="*/ 128070 w 578488"/>
                <a:gd name="connsiteY1015" fmla="*/ 289000 h 470547"/>
                <a:gd name="connsiteX1016" fmla="*/ 130582 w 578488"/>
                <a:gd name="connsiteY1016" fmla="*/ 288429 h 470547"/>
                <a:gd name="connsiteX1017" fmla="*/ 131813 w 578488"/>
                <a:gd name="connsiteY1017" fmla="*/ 288509 h 470547"/>
                <a:gd name="connsiteX1018" fmla="*/ 130632 w 578488"/>
                <a:gd name="connsiteY1018" fmla="*/ 285883 h 470547"/>
                <a:gd name="connsiteX1019" fmla="*/ 129899 w 578488"/>
                <a:gd name="connsiteY1019" fmla="*/ 285124 h 470547"/>
                <a:gd name="connsiteX1020" fmla="*/ 131042 w 578488"/>
                <a:gd name="connsiteY1020" fmla="*/ 282777 h 470547"/>
                <a:gd name="connsiteX1021" fmla="*/ 132234 w 578488"/>
                <a:gd name="connsiteY1021" fmla="*/ 281859 h 470547"/>
                <a:gd name="connsiteX1022" fmla="*/ 136067 w 578488"/>
                <a:gd name="connsiteY1022" fmla="*/ 280209 h 470547"/>
                <a:gd name="connsiteX1023" fmla="*/ 139722 w 578488"/>
                <a:gd name="connsiteY1023" fmla="*/ 279472 h 470547"/>
                <a:gd name="connsiteX1024" fmla="*/ 142109 w 578488"/>
                <a:gd name="connsiteY1024" fmla="*/ 277904 h 470547"/>
                <a:gd name="connsiteX1025" fmla="*/ 145313 w 578488"/>
                <a:gd name="connsiteY1025" fmla="*/ 276462 h 470547"/>
                <a:gd name="connsiteX1026" fmla="*/ 144810 w 578488"/>
                <a:gd name="connsiteY1026" fmla="*/ 275306 h 470547"/>
                <a:gd name="connsiteX1027" fmla="*/ 143918 w 578488"/>
                <a:gd name="connsiteY1027" fmla="*/ 273967 h 470547"/>
                <a:gd name="connsiteX1028" fmla="*/ 141845 w 578488"/>
                <a:gd name="connsiteY1028" fmla="*/ 273882 h 470547"/>
                <a:gd name="connsiteX1029" fmla="*/ 140999 w 578488"/>
                <a:gd name="connsiteY1029" fmla="*/ 273151 h 470547"/>
                <a:gd name="connsiteX1030" fmla="*/ 143631 w 578488"/>
                <a:gd name="connsiteY1030" fmla="*/ 271414 h 470547"/>
                <a:gd name="connsiteX1031" fmla="*/ 147235 w 578488"/>
                <a:gd name="connsiteY1031" fmla="*/ 269481 h 470547"/>
                <a:gd name="connsiteX1032" fmla="*/ 146607 w 578488"/>
                <a:gd name="connsiteY1032" fmla="*/ 268721 h 470547"/>
                <a:gd name="connsiteX1033" fmla="*/ 143897 w 578488"/>
                <a:gd name="connsiteY1033" fmla="*/ 267861 h 470547"/>
                <a:gd name="connsiteX1034" fmla="*/ 141839 w 578488"/>
                <a:gd name="connsiteY1034" fmla="*/ 268509 h 470547"/>
                <a:gd name="connsiteX1035" fmla="*/ 138779 w 578488"/>
                <a:gd name="connsiteY1035" fmla="*/ 270005 h 470547"/>
                <a:gd name="connsiteX1036" fmla="*/ 135220 w 578488"/>
                <a:gd name="connsiteY1036" fmla="*/ 272369 h 470547"/>
                <a:gd name="connsiteX1037" fmla="*/ 136380 w 578488"/>
                <a:gd name="connsiteY1037" fmla="*/ 273057 h 470547"/>
                <a:gd name="connsiteX1038" fmla="*/ 138161 w 578488"/>
                <a:gd name="connsiteY1038" fmla="*/ 275041 h 470547"/>
                <a:gd name="connsiteX1039" fmla="*/ 135676 w 578488"/>
                <a:gd name="connsiteY1039" fmla="*/ 277679 h 470547"/>
                <a:gd name="connsiteX1040" fmla="*/ 122504 w 578488"/>
                <a:gd name="connsiteY1040" fmla="*/ 284668 h 470547"/>
                <a:gd name="connsiteX1041" fmla="*/ 116222 w 578488"/>
                <a:gd name="connsiteY1041" fmla="*/ 286710 h 470547"/>
                <a:gd name="connsiteX1042" fmla="*/ 113324 w 578488"/>
                <a:gd name="connsiteY1042" fmla="*/ 286392 h 470547"/>
                <a:gd name="connsiteX1043" fmla="*/ 112633 w 578488"/>
                <a:gd name="connsiteY1043" fmla="*/ 284486 h 470547"/>
                <a:gd name="connsiteX1044" fmla="*/ 111296 w 578488"/>
                <a:gd name="connsiteY1044" fmla="*/ 283074 h 470547"/>
                <a:gd name="connsiteX1045" fmla="*/ 109863 w 578488"/>
                <a:gd name="connsiteY1045" fmla="*/ 280162 h 470547"/>
                <a:gd name="connsiteX1046" fmla="*/ 107425 w 578488"/>
                <a:gd name="connsiteY1046" fmla="*/ 280240 h 470547"/>
                <a:gd name="connsiteX1047" fmla="*/ 106040 w 578488"/>
                <a:gd name="connsiteY1047" fmla="*/ 280884 h 470547"/>
                <a:gd name="connsiteX1048" fmla="*/ 105436 w 578488"/>
                <a:gd name="connsiteY1048" fmla="*/ 279929 h 470547"/>
                <a:gd name="connsiteX1049" fmla="*/ 106485 w 578488"/>
                <a:gd name="connsiteY1049" fmla="*/ 276814 h 470547"/>
                <a:gd name="connsiteX1050" fmla="*/ 108548 w 578488"/>
                <a:gd name="connsiteY1050" fmla="*/ 274348 h 470547"/>
                <a:gd name="connsiteX1051" fmla="*/ 112007 w 578488"/>
                <a:gd name="connsiteY1051" fmla="*/ 272484 h 470547"/>
                <a:gd name="connsiteX1052" fmla="*/ 113665 w 578488"/>
                <a:gd name="connsiteY1052" fmla="*/ 270230 h 470547"/>
                <a:gd name="connsiteX1053" fmla="*/ 115224 w 578488"/>
                <a:gd name="connsiteY1053" fmla="*/ 266650 h 470547"/>
                <a:gd name="connsiteX1054" fmla="*/ 120228 w 578488"/>
                <a:gd name="connsiteY1054" fmla="*/ 263237 h 470547"/>
                <a:gd name="connsiteX1055" fmla="*/ 127511 w 578488"/>
                <a:gd name="connsiteY1055" fmla="*/ 254770 h 470547"/>
                <a:gd name="connsiteX1056" fmla="*/ 133445 w 578488"/>
                <a:gd name="connsiteY1056" fmla="*/ 252061 h 470547"/>
                <a:gd name="connsiteX1057" fmla="*/ 135620 w 578488"/>
                <a:gd name="connsiteY1057" fmla="*/ 249095 h 470547"/>
                <a:gd name="connsiteX1058" fmla="*/ 139116 w 578488"/>
                <a:gd name="connsiteY1058" fmla="*/ 247783 h 470547"/>
                <a:gd name="connsiteX1059" fmla="*/ 142100 w 578488"/>
                <a:gd name="connsiteY1059" fmla="*/ 245465 h 470547"/>
                <a:gd name="connsiteX1060" fmla="*/ 144443 w 578488"/>
                <a:gd name="connsiteY1060" fmla="*/ 245235 h 470547"/>
                <a:gd name="connsiteX1061" fmla="*/ 148699 w 578488"/>
                <a:gd name="connsiteY1061" fmla="*/ 243146 h 470547"/>
                <a:gd name="connsiteX1062" fmla="*/ 151111 w 578488"/>
                <a:gd name="connsiteY1062" fmla="*/ 240658 h 470547"/>
                <a:gd name="connsiteX1063" fmla="*/ 149537 w 578488"/>
                <a:gd name="connsiteY1063" fmla="*/ 240503 h 470547"/>
                <a:gd name="connsiteX1064" fmla="*/ 145795 w 578488"/>
                <a:gd name="connsiteY1064" fmla="*/ 242123 h 470547"/>
                <a:gd name="connsiteX1065" fmla="*/ 143678 w 578488"/>
                <a:gd name="connsiteY1065" fmla="*/ 242774 h 470547"/>
                <a:gd name="connsiteX1066" fmla="*/ 143828 w 578488"/>
                <a:gd name="connsiteY1066" fmla="*/ 240104 h 470547"/>
                <a:gd name="connsiteX1067" fmla="*/ 144853 w 578488"/>
                <a:gd name="connsiteY1067" fmla="*/ 237363 h 470547"/>
                <a:gd name="connsiteX1068" fmla="*/ 147937 w 578488"/>
                <a:gd name="connsiteY1068" fmla="*/ 234854 h 470547"/>
                <a:gd name="connsiteX1069" fmla="*/ 162759 w 578488"/>
                <a:gd name="connsiteY1069" fmla="*/ 227548 h 470547"/>
                <a:gd name="connsiteX1070" fmla="*/ 164238 w 578488"/>
                <a:gd name="connsiteY1070" fmla="*/ 228758 h 470547"/>
                <a:gd name="connsiteX1071" fmla="*/ 166006 w 578488"/>
                <a:gd name="connsiteY1071" fmla="*/ 230895 h 470547"/>
                <a:gd name="connsiteX1072" fmla="*/ 170470 w 578488"/>
                <a:gd name="connsiteY1072" fmla="*/ 230412 h 470547"/>
                <a:gd name="connsiteX1073" fmla="*/ 175556 w 578488"/>
                <a:gd name="connsiteY1073" fmla="*/ 226271 h 470547"/>
                <a:gd name="connsiteX1074" fmla="*/ 179473 w 578488"/>
                <a:gd name="connsiteY1074" fmla="*/ 221764 h 470547"/>
                <a:gd name="connsiteX1075" fmla="*/ 177356 w 578488"/>
                <a:gd name="connsiteY1075" fmla="*/ 222551 h 470547"/>
                <a:gd name="connsiteX1076" fmla="*/ 175046 w 578488"/>
                <a:gd name="connsiteY1076" fmla="*/ 224397 h 470547"/>
                <a:gd name="connsiteX1077" fmla="*/ 170543 w 578488"/>
                <a:gd name="connsiteY1077" fmla="*/ 226959 h 470547"/>
                <a:gd name="connsiteX1078" fmla="*/ 168462 w 578488"/>
                <a:gd name="connsiteY1078" fmla="*/ 227364 h 470547"/>
                <a:gd name="connsiteX1079" fmla="*/ 167274 w 578488"/>
                <a:gd name="connsiteY1079" fmla="*/ 227031 h 470547"/>
                <a:gd name="connsiteX1080" fmla="*/ 166613 w 578488"/>
                <a:gd name="connsiteY1080" fmla="*/ 225322 h 470547"/>
                <a:gd name="connsiteX1081" fmla="*/ 165052 w 578488"/>
                <a:gd name="connsiteY1081" fmla="*/ 224767 h 470547"/>
                <a:gd name="connsiteX1082" fmla="*/ 163642 w 578488"/>
                <a:gd name="connsiteY1082" fmla="*/ 225151 h 470547"/>
                <a:gd name="connsiteX1083" fmla="*/ 162189 w 578488"/>
                <a:gd name="connsiteY1083" fmla="*/ 223935 h 470547"/>
                <a:gd name="connsiteX1084" fmla="*/ 161930 w 578488"/>
                <a:gd name="connsiteY1084" fmla="*/ 220930 h 470547"/>
                <a:gd name="connsiteX1085" fmla="*/ 163789 w 578488"/>
                <a:gd name="connsiteY1085" fmla="*/ 216446 h 470547"/>
                <a:gd name="connsiteX1086" fmla="*/ 165262 w 578488"/>
                <a:gd name="connsiteY1086" fmla="*/ 213475 h 470547"/>
                <a:gd name="connsiteX1087" fmla="*/ 166853 w 578488"/>
                <a:gd name="connsiteY1087" fmla="*/ 211224 h 470547"/>
                <a:gd name="connsiteX1088" fmla="*/ 173109 w 578488"/>
                <a:gd name="connsiteY1088" fmla="*/ 204821 h 470547"/>
                <a:gd name="connsiteX1089" fmla="*/ 174461 w 578488"/>
                <a:gd name="connsiteY1089" fmla="*/ 201318 h 470547"/>
                <a:gd name="connsiteX1090" fmla="*/ 177290 w 578488"/>
                <a:gd name="connsiteY1090" fmla="*/ 199467 h 470547"/>
                <a:gd name="connsiteX1091" fmla="*/ 180964 w 578488"/>
                <a:gd name="connsiteY1091" fmla="*/ 199879 h 470547"/>
                <a:gd name="connsiteX1092" fmla="*/ 182073 w 578488"/>
                <a:gd name="connsiteY1092" fmla="*/ 199344 h 470547"/>
                <a:gd name="connsiteX1093" fmla="*/ 180811 w 578488"/>
                <a:gd name="connsiteY1093" fmla="*/ 197042 h 470547"/>
                <a:gd name="connsiteX1094" fmla="*/ 176806 w 578488"/>
                <a:gd name="connsiteY1094" fmla="*/ 195215 h 470547"/>
                <a:gd name="connsiteX1095" fmla="*/ 176560 w 578488"/>
                <a:gd name="connsiteY1095" fmla="*/ 194067 h 470547"/>
                <a:gd name="connsiteX1096" fmla="*/ 189900 w 578488"/>
                <a:gd name="connsiteY1096" fmla="*/ 191049 h 470547"/>
                <a:gd name="connsiteX1097" fmla="*/ 196253 w 578488"/>
                <a:gd name="connsiteY1097" fmla="*/ 191151 h 470547"/>
                <a:gd name="connsiteX1098" fmla="*/ 198138 w 578488"/>
                <a:gd name="connsiteY1098" fmla="*/ 189643 h 470547"/>
                <a:gd name="connsiteX1099" fmla="*/ 201591 w 578488"/>
                <a:gd name="connsiteY1099" fmla="*/ 188677 h 470547"/>
                <a:gd name="connsiteX1100" fmla="*/ 204208 w 578488"/>
                <a:gd name="connsiteY1100" fmla="*/ 186831 h 470547"/>
                <a:gd name="connsiteX1101" fmla="*/ 202859 w 578488"/>
                <a:gd name="connsiteY1101" fmla="*/ 186016 h 470547"/>
                <a:gd name="connsiteX1102" fmla="*/ 196407 w 578488"/>
                <a:gd name="connsiteY1102" fmla="*/ 187713 h 470547"/>
                <a:gd name="connsiteX1103" fmla="*/ 192373 w 578488"/>
                <a:gd name="connsiteY1103" fmla="*/ 188510 h 470547"/>
                <a:gd name="connsiteX1104" fmla="*/ 190548 w 578488"/>
                <a:gd name="connsiteY1104" fmla="*/ 188485 h 470547"/>
                <a:gd name="connsiteX1105" fmla="*/ 189125 w 578488"/>
                <a:gd name="connsiteY1105" fmla="*/ 189068 h 470547"/>
                <a:gd name="connsiteX1106" fmla="*/ 183969 w 578488"/>
                <a:gd name="connsiteY1106" fmla="*/ 189290 h 470547"/>
                <a:gd name="connsiteX1107" fmla="*/ 182848 w 578488"/>
                <a:gd name="connsiteY1107" fmla="*/ 181925 h 470547"/>
                <a:gd name="connsiteX1108" fmla="*/ 183655 w 578488"/>
                <a:gd name="connsiteY1108" fmla="*/ 177918 h 470547"/>
                <a:gd name="connsiteX1109" fmla="*/ 185577 w 578488"/>
                <a:gd name="connsiteY1109" fmla="*/ 178001 h 470547"/>
                <a:gd name="connsiteX1110" fmla="*/ 186015 w 578488"/>
                <a:gd name="connsiteY1110" fmla="*/ 174168 h 470547"/>
                <a:gd name="connsiteX1111" fmla="*/ 188235 w 578488"/>
                <a:gd name="connsiteY1111" fmla="*/ 171907 h 470547"/>
                <a:gd name="connsiteX1112" fmla="*/ 191300 w 578488"/>
                <a:gd name="connsiteY1112" fmla="*/ 171401 h 470547"/>
                <a:gd name="connsiteX1113" fmla="*/ 192844 w 578488"/>
                <a:gd name="connsiteY1113" fmla="*/ 170432 h 470547"/>
                <a:gd name="connsiteX1114" fmla="*/ 195074 w 578488"/>
                <a:gd name="connsiteY1114" fmla="*/ 168460 h 470547"/>
                <a:gd name="connsiteX1115" fmla="*/ 198765 w 578488"/>
                <a:gd name="connsiteY1115" fmla="*/ 168918 h 470547"/>
                <a:gd name="connsiteX1116" fmla="*/ 202556 w 578488"/>
                <a:gd name="connsiteY1116" fmla="*/ 168478 h 470547"/>
                <a:gd name="connsiteX1117" fmla="*/ 201617 w 578488"/>
                <a:gd name="connsiteY1117" fmla="*/ 167548 h 470547"/>
                <a:gd name="connsiteX1118" fmla="*/ 196910 w 578488"/>
                <a:gd name="connsiteY1118" fmla="*/ 166349 h 470547"/>
                <a:gd name="connsiteX1119" fmla="*/ 195748 w 578488"/>
                <a:gd name="connsiteY1119" fmla="*/ 164288 h 470547"/>
                <a:gd name="connsiteX1120" fmla="*/ 197408 w 578488"/>
                <a:gd name="connsiteY1120" fmla="*/ 163137 h 470547"/>
                <a:gd name="connsiteX1121" fmla="*/ 199216 w 578488"/>
                <a:gd name="connsiteY1121" fmla="*/ 162289 h 470547"/>
                <a:gd name="connsiteX1122" fmla="*/ 200803 w 578488"/>
                <a:gd name="connsiteY1122" fmla="*/ 162137 h 470547"/>
                <a:gd name="connsiteX1123" fmla="*/ 203947 w 578488"/>
                <a:gd name="connsiteY1123" fmla="*/ 158104 h 470547"/>
                <a:gd name="connsiteX1124" fmla="*/ 205858 w 578488"/>
                <a:gd name="connsiteY1124" fmla="*/ 156381 h 470547"/>
                <a:gd name="connsiteX1125" fmla="*/ 207998 w 578488"/>
                <a:gd name="connsiteY1125" fmla="*/ 156680 h 470547"/>
                <a:gd name="connsiteX1126" fmla="*/ 210978 w 578488"/>
                <a:gd name="connsiteY1126" fmla="*/ 154898 h 470547"/>
                <a:gd name="connsiteX1127" fmla="*/ 213904 w 578488"/>
                <a:gd name="connsiteY1127" fmla="*/ 155506 h 470547"/>
                <a:gd name="connsiteX1128" fmla="*/ 216735 w 578488"/>
                <a:gd name="connsiteY1128" fmla="*/ 154339 h 470547"/>
                <a:gd name="connsiteX1129" fmla="*/ 220602 w 578488"/>
                <a:gd name="connsiteY1129" fmla="*/ 153569 h 470547"/>
                <a:gd name="connsiteX1130" fmla="*/ 234757 w 578488"/>
                <a:gd name="connsiteY1130" fmla="*/ 153271 h 470547"/>
                <a:gd name="connsiteX1131" fmla="*/ 235178 w 578488"/>
                <a:gd name="connsiteY1131" fmla="*/ 151616 h 470547"/>
                <a:gd name="connsiteX1132" fmla="*/ 232201 w 578488"/>
                <a:gd name="connsiteY1132" fmla="*/ 151232 h 470547"/>
                <a:gd name="connsiteX1133" fmla="*/ 221682 w 578488"/>
                <a:gd name="connsiteY1133" fmla="*/ 150806 h 470547"/>
                <a:gd name="connsiteX1134" fmla="*/ 216312 w 578488"/>
                <a:gd name="connsiteY1134" fmla="*/ 150839 h 470547"/>
                <a:gd name="connsiteX1135" fmla="*/ 214051 w 578488"/>
                <a:gd name="connsiteY1135" fmla="*/ 151268 h 470547"/>
                <a:gd name="connsiteX1136" fmla="*/ 213220 w 578488"/>
                <a:gd name="connsiteY1136" fmla="*/ 150691 h 470547"/>
                <a:gd name="connsiteX1137" fmla="*/ 213366 w 578488"/>
                <a:gd name="connsiteY1137" fmla="*/ 149699 h 470547"/>
                <a:gd name="connsiteX1138" fmla="*/ 215318 w 578488"/>
                <a:gd name="connsiteY1138" fmla="*/ 148129 h 470547"/>
                <a:gd name="connsiteX1139" fmla="*/ 216245 w 578488"/>
                <a:gd name="connsiteY1139" fmla="*/ 146392 h 470547"/>
                <a:gd name="connsiteX1140" fmla="*/ 220147 w 578488"/>
                <a:gd name="connsiteY1140" fmla="*/ 142146 h 470547"/>
                <a:gd name="connsiteX1141" fmla="*/ 224722 w 578488"/>
                <a:gd name="connsiteY1141" fmla="*/ 139313 h 470547"/>
                <a:gd name="connsiteX1142" fmla="*/ 228229 w 578488"/>
                <a:gd name="connsiteY1142" fmla="*/ 140038 h 470547"/>
                <a:gd name="connsiteX1143" fmla="*/ 231959 w 578488"/>
                <a:gd name="connsiteY1143" fmla="*/ 142743 h 470547"/>
                <a:gd name="connsiteX1144" fmla="*/ 234617 w 578488"/>
                <a:gd name="connsiteY1144" fmla="*/ 143081 h 470547"/>
                <a:gd name="connsiteX1145" fmla="*/ 235854 w 578488"/>
                <a:gd name="connsiteY1145" fmla="*/ 143954 h 470547"/>
                <a:gd name="connsiteX1146" fmla="*/ 237791 w 578488"/>
                <a:gd name="connsiteY1146" fmla="*/ 147678 h 470547"/>
                <a:gd name="connsiteX1147" fmla="*/ 238709 w 578488"/>
                <a:gd name="connsiteY1147" fmla="*/ 147799 h 470547"/>
                <a:gd name="connsiteX1148" fmla="*/ 238294 w 578488"/>
                <a:gd name="connsiteY1148" fmla="*/ 144220 h 470547"/>
                <a:gd name="connsiteX1149" fmla="*/ 240855 w 578488"/>
                <a:gd name="connsiteY1149" fmla="*/ 141304 h 470547"/>
                <a:gd name="connsiteX1150" fmla="*/ 240188 w 578488"/>
                <a:gd name="connsiteY1150" fmla="*/ 140497 h 470547"/>
                <a:gd name="connsiteX1151" fmla="*/ 236340 w 578488"/>
                <a:gd name="connsiteY1151" fmla="*/ 141552 h 470547"/>
                <a:gd name="connsiteX1152" fmla="*/ 233392 w 578488"/>
                <a:gd name="connsiteY1152" fmla="*/ 140455 h 470547"/>
                <a:gd name="connsiteX1153" fmla="*/ 231065 w 578488"/>
                <a:gd name="connsiteY1153" fmla="*/ 138262 h 470547"/>
                <a:gd name="connsiteX1154" fmla="*/ 230399 w 578488"/>
                <a:gd name="connsiteY1154" fmla="*/ 136255 h 470547"/>
                <a:gd name="connsiteX1155" fmla="*/ 231846 w 578488"/>
                <a:gd name="connsiteY1155" fmla="*/ 134270 h 470547"/>
                <a:gd name="connsiteX1156" fmla="*/ 233211 w 578488"/>
                <a:gd name="connsiteY1156" fmla="*/ 133270 h 470547"/>
                <a:gd name="connsiteX1157" fmla="*/ 232285 w 578488"/>
                <a:gd name="connsiteY1157" fmla="*/ 132104 h 470547"/>
                <a:gd name="connsiteX1158" fmla="*/ 226467 w 578488"/>
                <a:gd name="connsiteY1158" fmla="*/ 135229 h 470547"/>
                <a:gd name="connsiteX1159" fmla="*/ 222352 w 578488"/>
                <a:gd name="connsiteY1159" fmla="*/ 135955 h 470547"/>
                <a:gd name="connsiteX1160" fmla="*/ 220730 w 578488"/>
                <a:gd name="connsiteY1160" fmla="*/ 135518 h 470547"/>
                <a:gd name="connsiteX1161" fmla="*/ 221609 w 578488"/>
                <a:gd name="connsiteY1161" fmla="*/ 132687 h 470547"/>
                <a:gd name="connsiteX1162" fmla="*/ 221119 w 578488"/>
                <a:gd name="connsiteY1162" fmla="*/ 130438 h 470547"/>
                <a:gd name="connsiteX1163" fmla="*/ 226636 w 578488"/>
                <a:gd name="connsiteY1163" fmla="*/ 124888 h 470547"/>
                <a:gd name="connsiteX1164" fmla="*/ 228534 w 578488"/>
                <a:gd name="connsiteY1164" fmla="*/ 124245 h 470547"/>
                <a:gd name="connsiteX1165" fmla="*/ 231632 w 578488"/>
                <a:gd name="connsiteY1165" fmla="*/ 124691 h 470547"/>
                <a:gd name="connsiteX1166" fmla="*/ 234429 w 578488"/>
                <a:gd name="connsiteY1166" fmla="*/ 126259 h 470547"/>
                <a:gd name="connsiteX1167" fmla="*/ 236768 w 578488"/>
                <a:gd name="connsiteY1167" fmla="*/ 126009 h 470547"/>
                <a:gd name="connsiteX1168" fmla="*/ 239305 w 578488"/>
                <a:gd name="connsiteY1168" fmla="*/ 125172 h 470547"/>
                <a:gd name="connsiteX1169" fmla="*/ 238959 w 578488"/>
                <a:gd name="connsiteY1169" fmla="*/ 123668 h 470547"/>
                <a:gd name="connsiteX1170" fmla="*/ 233457 w 578488"/>
                <a:gd name="connsiteY1170" fmla="*/ 123071 h 470547"/>
                <a:gd name="connsiteX1171" fmla="*/ 232041 w 578488"/>
                <a:gd name="connsiteY1171" fmla="*/ 121822 h 470547"/>
                <a:gd name="connsiteX1172" fmla="*/ 232552 w 578488"/>
                <a:gd name="connsiteY1172" fmla="*/ 120595 h 470547"/>
                <a:gd name="connsiteX1173" fmla="*/ 236329 w 578488"/>
                <a:gd name="connsiteY1173" fmla="*/ 119298 h 470547"/>
                <a:gd name="connsiteX1174" fmla="*/ 240085 w 578488"/>
                <a:gd name="connsiteY1174" fmla="*/ 116955 h 470547"/>
                <a:gd name="connsiteX1175" fmla="*/ 244388 w 578488"/>
                <a:gd name="connsiteY1175" fmla="*/ 116276 h 470547"/>
                <a:gd name="connsiteX1176" fmla="*/ 247852 w 578488"/>
                <a:gd name="connsiteY1176" fmla="*/ 114501 h 470547"/>
                <a:gd name="connsiteX1177" fmla="*/ 248519 w 578488"/>
                <a:gd name="connsiteY1177" fmla="*/ 114904 h 470547"/>
                <a:gd name="connsiteX1178" fmla="*/ 249104 w 578488"/>
                <a:gd name="connsiteY1178" fmla="*/ 115600 h 470547"/>
                <a:gd name="connsiteX1179" fmla="*/ 250348 w 578488"/>
                <a:gd name="connsiteY1179" fmla="*/ 122169 h 470547"/>
                <a:gd name="connsiteX1180" fmla="*/ 253442 w 578488"/>
                <a:gd name="connsiteY1180" fmla="*/ 127512 h 470547"/>
                <a:gd name="connsiteX1181" fmla="*/ 254582 w 578488"/>
                <a:gd name="connsiteY1181" fmla="*/ 127706 h 470547"/>
                <a:gd name="connsiteX1182" fmla="*/ 253395 w 578488"/>
                <a:gd name="connsiteY1182" fmla="*/ 123162 h 470547"/>
                <a:gd name="connsiteX1183" fmla="*/ 254503 w 578488"/>
                <a:gd name="connsiteY1183" fmla="*/ 121854 h 470547"/>
                <a:gd name="connsiteX1184" fmla="*/ 255906 w 578488"/>
                <a:gd name="connsiteY1184" fmla="*/ 120859 h 470547"/>
                <a:gd name="connsiteX1185" fmla="*/ 256344 w 578488"/>
                <a:gd name="connsiteY1185" fmla="*/ 119726 h 470547"/>
                <a:gd name="connsiteX1186" fmla="*/ 254736 w 578488"/>
                <a:gd name="connsiteY1186" fmla="*/ 119339 h 470547"/>
                <a:gd name="connsiteX1187" fmla="*/ 253421 w 578488"/>
                <a:gd name="connsiteY1187" fmla="*/ 117711 h 470547"/>
                <a:gd name="connsiteX1188" fmla="*/ 251542 w 578488"/>
                <a:gd name="connsiteY1188" fmla="*/ 112496 h 470547"/>
                <a:gd name="connsiteX1189" fmla="*/ 252183 w 578488"/>
                <a:gd name="connsiteY1189" fmla="*/ 111139 h 470547"/>
                <a:gd name="connsiteX1190" fmla="*/ 256254 w 578488"/>
                <a:gd name="connsiteY1190" fmla="*/ 108355 h 470547"/>
                <a:gd name="connsiteX1191" fmla="*/ 261361 w 578488"/>
                <a:gd name="connsiteY1191" fmla="*/ 107713 h 470547"/>
                <a:gd name="connsiteX1192" fmla="*/ 266802 w 578488"/>
                <a:gd name="connsiteY1192" fmla="*/ 109666 h 470547"/>
                <a:gd name="connsiteX1193" fmla="*/ 268713 w 578488"/>
                <a:gd name="connsiteY1193" fmla="*/ 109688 h 470547"/>
                <a:gd name="connsiteX1194" fmla="*/ 271868 w 578488"/>
                <a:gd name="connsiteY1194" fmla="*/ 109164 h 470547"/>
                <a:gd name="connsiteX1195" fmla="*/ 277221 w 578488"/>
                <a:gd name="connsiteY1195" fmla="*/ 107558 h 470547"/>
                <a:gd name="connsiteX1196" fmla="*/ 280370 w 578488"/>
                <a:gd name="connsiteY1196" fmla="*/ 106947 h 470547"/>
                <a:gd name="connsiteX1197" fmla="*/ 282013 w 578488"/>
                <a:gd name="connsiteY1197" fmla="*/ 106949 h 470547"/>
                <a:gd name="connsiteX1198" fmla="*/ 282419 w 578488"/>
                <a:gd name="connsiteY1198" fmla="*/ 106137 h 470547"/>
                <a:gd name="connsiteX1199" fmla="*/ 280897 w 578488"/>
                <a:gd name="connsiteY1199" fmla="*/ 105615 h 470547"/>
                <a:gd name="connsiteX1200" fmla="*/ 280406 w 578488"/>
                <a:gd name="connsiteY1200" fmla="*/ 105107 h 470547"/>
                <a:gd name="connsiteX1201" fmla="*/ 279212 w 578488"/>
                <a:gd name="connsiteY1201" fmla="*/ 104815 h 470547"/>
                <a:gd name="connsiteX1202" fmla="*/ 274263 w 578488"/>
                <a:gd name="connsiteY1202" fmla="*/ 105684 h 470547"/>
                <a:gd name="connsiteX1203" fmla="*/ 260609 w 578488"/>
                <a:gd name="connsiteY1203" fmla="*/ 105409 h 470547"/>
                <a:gd name="connsiteX1204" fmla="*/ 259292 w 578488"/>
                <a:gd name="connsiteY1204" fmla="*/ 104480 h 470547"/>
                <a:gd name="connsiteX1205" fmla="*/ 259050 w 578488"/>
                <a:gd name="connsiteY1205" fmla="*/ 102872 h 470547"/>
                <a:gd name="connsiteX1206" fmla="*/ 260499 w 578488"/>
                <a:gd name="connsiteY1206" fmla="*/ 100564 h 470547"/>
                <a:gd name="connsiteX1207" fmla="*/ 262091 w 578488"/>
                <a:gd name="connsiteY1207" fmla="*/ 99291 h 470547"/>
                <a:gd name="connsiteX1208" fmla="*/ 267239 w 578488"/>
                <a:gd name="connsiteY1208" fmla="*/ 96997 h 470547"/>
                <a:gd name="connsiteX1209" fmla="*/ 272689 w 578488"/>
                <a:gd name="connsiteY1209" fmla="*/ 96687 h 470547"/>
                <a:gd name="connsiteX1210" fmla="*/ 278431 w 578488"/>
                <a:gd name="connsiteY1210" fmla="*/ 92605 h 470547"/>
                <a:gd name="connsiteX1211" fmla="*/ 280625 w 578488"/>
                <a:gd name="connsiteY1211" fmla="*/ 89538 h 470547"/>
                <a:gd name="connsiteX1212" fmla="*/ 281868 w 578488"/>
                <a:gd name="connsiteY1212" fmla="*/ 84803 h 470547"/>
                <a:gd name="connsiteX1213" fmla="*/ 285369 w 578488"/>
                <a:gd name="connsiteY1213" fmla="*/ 80966 h 470547"/>
                <a:gd name="connsiteX1214" fmla="*/ 294144 w 578488"/>
                <a:gd name="connsiteY1214" fmla="*/ 78781 h 470547"/>
                <a:gd name="connsiteX1215" fmla="*/ 294499 w 578488"/>
                <a:gd name="connsiteY1215" fmla="*/ 77813 h 470547"/>
                <a:gd name="connsiteX1216" fmla="*/ 293568 w 578488"/>
                <a:gd name="connsiteY1216" fmla="*/ 75813 h 470547"/>
                <a:gd name="connsiteX1217" fmla="*/ 293641 w 578488"/>
                <a:gd name="connsiteY1217" fmla="*/ 72204 h 470547"/>
                <a:gd name="connsiteX1218" fmla="*/ 296047 w 578488"/>
                <a:gd name="connsiteY1218" fmla="*/ 67992 h 470547"/>
                <a:gd name="connsiteX1219" fmla="*/ 297645 w 578488"/>
                <a:gd name="connsiteY1219" fmla="*/ 66526 h 470547"/>
                <a:gd name="connsiteX1220" fmla="*/ 298383 w 578488"/>
                <a:gd name="connsiteY1220" fmla="*/ 66350 h 470547"/>
                <a:gd name="connsiteX1221" fmla="*/ 300275 w 578488"/>
                <a:gd name="connsiteY1221" fmla="*/ 67729 h 470547"/>
                <a:gd name="connsiteX1222" fmla="*/ 302573 w 578488"/>
                <a:gd name="connsiteY1222" fmla="*/ 70659 h 470547"/>
                <a:gd name="connsiteX1223" fmla="*/ 306175 w 578488"/>
                <a:gd name="connsiteY1223" fmla="*/ 72335 h 470547"/>
                <a:gd name="connsiteX1224" fmla="*/ 310895 w 578488"/>
                <a:gd name="connsiteY1224" fmla="*/ 72624 h 470547"/>
                <a:gd name="connsiteX1225" fmla="*/ 312154 w 578488"/>
                <a:gd name="connsiteY1225" fmla="*/ 71800 h 470547"/>
                <a:gd name="connsiteX1226" fmla="*/ 308485 w 578488"/>
                <a:gd name="connsiteY1226" fmla="*/ 70129 h 470547"/>
                <a:gd name="connsiteX1227" fmla="*/ 305708 w 578488"/>
                <a:gd name="connsiteY1227" fmla="*/ 67943 h 470547"/>
                <a:gd name="connsiteX1228" fmla="*/ 305488 w 578488"/>
                <a:gd name="connsiteY1228" fmla="*/ 65745 h 470547"/>
                <a:gd name="connsiteX1229" fmla="*/ 306805 w 578488"/>
                <a:gd name="connsiteY1229" fmla="*/ 64579 h 470547"/>
                <a:gd name="connsiteX1230" fmla="*/ 308852 w 578488"/>
                <a:gd name="connsiteY1230" fmla="*/ 64709 h 470547"/>
                <a:gd name="connsiteX1231" fmla="*/ 311422 w 578488"/>
                <a:gd name="connsiteY1231" fmla="*/ 64462 h 470547"/>
                <a:gd name="connsiteX1232" fmla="*/ 313816 w 578488"/>
                <a:gd name="connsiteY1232" fmla="*/ 62982 h 470547"/>
                <a:gd name="connsiteX1233" fmla="*/ 314164 w 578488"/>
                <a:gd name="connsiteY1233" fmla="*/ 61941 h 470547"/>
                <a:gd name="connsiteX1234" fmla="*/ 314264 w 578488"/>
                <a:gd name="connsiteY1234" fmla="*/ 60527 h 470547"/>
                <a:gd name="connsiteX1235" fmla="*/ 314862 w 578488"/>
                <a:gd name="connsiteY1235" fmla="*/ 59088 h 470547"/>
                <a:gd name="connsiteX1236" fmla="*/ 318375 w 578488"/>
                <a:gd name="connsiteY1236" fmla="*/ 55651 h 470547"/>
                <a:gd name="connsiteX1237" fmla="*/ 329204 w 578488"/>
                <a:gd name="connsiteY1237" fmla="*/ 53412 h 470547"/>
                <a:gd name="connsiteX1238" fmla="*/ 329988 w 578488"/>
                <a:gd name="connsiteY1238" fmla="*/ 54321 h 470547"/>
                <a:gd name="connsiteX1239" fmla="*/ 329403 w 578488"/>
                <a:gd name="connsiteY1239" fmla="*/ 60951 h 470547"/>
                <a:gd name="connsiteX1240" fmla="*/ 328159 w 578488"/>
                <a:gd name="connsiteY1240" fmla="*/ 65227 h 470547"/>
                <a:gd name="connsiteX1241" fmla="*/ 328198 w 578488"/>
                <a:gd name="connsiteY1241" fmla="*/ 68347 h 470547"/>
                <a:gd name="connsiteX1242" fmla="*/ 330306 w 578488"/>
                <a:gd name="connsiteY1242" fmla="*/ 65227 h 470547"/>
                <a:gd name="connsiteX1243" fmla="*/ 333132 w 578488"/>
                <a:gd name="connsiteY1243" fmla="*/ 56663 h 470547"/>
                <a:gd name="connsiteX1244" fmla="*/ 335253 w 578488"/>
                <a:gd name="connsiteY1244" fmla="*/ 52629 h 470547"/>
                <a:gd name="connsiteX1245" fmla="*/ 337650 w 578488"/>
                <a:gd name="connsiteY1245" fmla="*/ 50309 h 470547"/>
                <a:gd name="connsiteX1246" fmla="*/ 339362 w 578488"/>
                <a:gd name="connsiteY1246" fmla="*/ 49785 h 470547"/>
                <a:gd name="connsiteX1247" fmla="*/ 341057 w 578488"/>
                <a:gd name="connsiteY1247" fmla="*/ 48583 h 470547"/>
                <a:gd name="connsiteX1248" fmla="*/ 343295 w 578488"/>
                <a:gd name="connsiteY1248" fmla="*/ 47867 h 470547"/>
                <a:gd name="connsiteX1249" fmla="*/ 343979 w 578488"/>
                <a:gd name="connsiteY1249" fmla="*/ 48791 h 470547"/>
                <a:gd name="connsiteX1250" fmla="*/ 344687 w 578488"/>
                <a:gd name="connsiteY1250" fmla="*/ 50933 h 470547"/>
                <a:gd name="connsiteX1251" fmla="*/ 343482 w 578488"/>
                <a:gd name="connsiteY1251" fmla="*/ 58438 h 470547"/>
                <a:gd name="connsiteX1252" fmla="*/ 343603 w 578488"/>
                <a:gd name="connsiteY1252" fmla="*/ 60805 h 470547"/>
                <a:gd name="connsiteX1253" fmla="*/ 342253 w 578488"/>
                <a:gd name="connsiteY1253" fmla="*/ 63973 h 470547"/>
                <a:gd name="connsiteX1254" fmla="*/ 337093 w 578488"/>
                <a:gd name="connsiteY1254" fmla="*/ 71017 h 470547"/>
                <a:gd name="connsiteX1255" fmla="*/ 337330 w 578488"/>
                <a:gd name="connsiteY1255" fmla="*/ 71914 h 470547"/>
                <a:gd name="connsiteX1256" fmla="*/ 338496 w 578488"/>
                <a:gd name="connsiteY1256" fmla="*/ 71581 h 470547"/>
                <a:gd name="connsiteX1257" fmla="*/ 340496 w 578488"/>
                <a:gd name="connsiteY1257" fmla="*/ 70420 h 470547"/>
                <a:gd name="connsiteX1258" fmla="*/ 346888 w 578488"/>
                <a:gd name="connsiteY1258" fmla="*/ 63728 h 470547"/>
                <a:gd name="connsiteX1259" fmla="*/ 352476 w 578488"/>
                <a:gd name="connsiteY1259" fmla="*/ 64573 h 470547"/>
                <a:gd name="connsiteX1260" fmla="*/ 352545 w 578488"/>
                <a:gd name="connsiteY1260" fmla="*/ 64024 h 470547"/>
                <a:gd name="connsiteX1261" fmla="*/ 350753 w 578488"/>
                <a:gd name="connsiteY1261" fmla="*/ 62058 h 470547"/>
                <a:gd name="connsiteX1262" fmla="*/ 348563 w 578488"/>
                <a:gd name="connsiteY1262" fmla="*/ 60171 h 470547"/>
                <a:gd name="connsiteX1263" fmla="*/ 347905 w 578488"/>
                <a:gd name="connsiteY1263" fmla="*/ 57833 h 470547"/>
                <a:gd name="connsiteX1264" fmla="*/ 348198 w 578488"/>
                <a:gd name="connsiteY1264" fmla="*/ 51586 h 470547"/>
                <a:gd name="connsiteX1265" fmla="*/ 349881 w 578488"/>
                <a:gd name="connsiteY1265" fmla="*/ 49107 h 470547"/>
                <a:gd name="connsiteX1266" fmla="*/ 354707 w 578488"/>
                <a:gd name="connsiteY1266" fmla="*/ 49367 h 470547"/>
                <a:gd name="connsiteX1267" fmla="*/ 357598 w 578488"/>
                <a:gd name="connsiteY1267" fmla="*/ 49024 h 470547"/>
                <a:gd name="connsiteX1268" fmla="*/ 358948 w 578488"/>
                <a:gd name="connsiteY1268" fmla="*/ 50151 h 470547"/>
                <a:gd name="connsiteX1269" fmla="*/ 361843 w 578488"/>
                <a:gd name="connsiteY1269" fmla="*/ 50070 h 470547"/>
                <a:gd name="connsiteX1270" fmla="*/ 363848 w 578488"/>
                <a:gd name="connsiteY1270" fmla="*/ 45579 h 470547"/>
                <a:gd name="connsiteX1271" fmla="*/ 367810 w 578488"/>
                <a:gd name="connsiteY1271" fmla="*/ 45185 h 470547"/>
                <a:gd name="connsiteX1272" fmla="*/ 371289 w 578488"/>
                <a:gd name="connsiteY1272" fmla="*/ 48155 h 470547"/>
                <a:gd name="connsiteX1273" fmla="*/ 375476 w 578488"/>
                <a:gd name="connsiteY1273" fmla="*/ 50151 h 470547"/>
                <a:gd name="connsiteX1274" fmla="*/ 378840 w 578488"/>
                <a:gd name="connsiteY1274" fmla="*/ 53019 h 470547"/>
                <a:gd name="connsiteX1275" fmla="*/ 379790 w 578488"/>
                <a:gd name="connsiteY1275" fmla="*/ 52236 h 470547"/>
                <a:gd name="connsiteX1276" fmla="*/ 377974 w 578488"/>
                <a:gd name="connsiteY1276" fmla="*/ 45538 h 470547"/>
                <a:gd name="connsiteX1277" fmla="*/ 375987 w 578488"/>
                <a:gd name="connsiteY1277" fmla="*/ 43092 h 470547"/>
                <a:gd name="connsiteX1278" fmla="*/ 371677 w 578488"/>
                <a:gd name="connsiteY1278" fmla="*/ 41819 h 470547"/>
                <a:gd name="connsiteX1279" fmla="*/ 367091 w 578488"/>
                <a:gd name="connsiteY1279" fmla="*/ 38795 h 470547"/>
                <a:gd name="connsiteX1280" fmla="*/ 365895 w 578488"/>
                <a:gd name="connsiteY1280" fmla="*/ 37453 h 470547"/>
                <a:gd name="connsiteX1281" fmla="*/ 366104 w 578488"/>
                <a:gd name="connsiteY1281" fmla="*/ 36454 h 470547"/>
                <a:gd name="connsiteX1282" fmla="*/ 370151 w 578488"/>
                <a:gd name="connsiteY1282" fmla="*/ 35490 h 470547"/>
                <a:gd name="connsiteX1283" fmla="*/ 375491 w 578488"/>
                <a:gd name="connsiteY1283" fmla="*/ 36594 h 470547"/>
                <a:gd name="connsiteX1284" fmla="*/ 380250 w 578488"/>
                <a:gd name="connsiteY1284" fmla="*/ 34070 h 470547"/>
                <a:gd name="connsiteX1285" fmla="*/ 381552 w 578488"/>
                <a:gd name="connsiteY1285" fmla="*/ 34762 h 470547"/>
                <a:gd name="connsiteX1286" fmla="*/ 385202 w 578488"/>
                <a:gd name="connsiteY1286" fmla="*/ 33441 h 470547"/>
                <a:gd name="connsiteX1287" fmla="*/ 387469 w 578488"/>
                <a:gd name="connsiteY1287" fmla="*/ 35218 h 470547"/>
                <a:gd name="connsiteX1288" fmla="*/ 388857 w 578488"/>
                <a:gd name="connsiteY1288" fmla="*/ 34692 h 470547"/>
                <a:gd name="connsiteX1289" fmla="*/ 389663 w 578488"/>
                <a:gd name="connsiteY1289" fmla="*/ 32309 h 470547"/>
                <a:gd name="connsiteX1290" fmla="*/ 395487 w 578488"/>
                <a:gd name="connsiteY1290" fmla="*/ 30829 h 470547"/>
                <a:gd name="connsiteX1291" fmla="*/ 399181 w 578488"/>
                <a:gd name="connsiteY1291" fmla="*/ 32195 h 470547"/>
                <a:gd name="connsiteX1292" fmla="*/ 401162 w 578488"/>
                <a:gd name="connsiteY1292" fmla="*/ 33608 h 470547"/>
                <a:gd name="connsiteX1293" fmla="*/ 402082 w 578488"/>
                <a:gd name="connsiteY1293" fmla="*/ 36320 h 470547"/>
                <a:gd name="connsiteX1294" fmla="*/ 403489 w 578488"/>
                <a:gd name="connsiteY1294" fmla="*/ 41674 h 470547"/>
                <a:gd name="connsiteX1295" fmla="*/ 406374 w 578488"/>
                <a:gd name="connsiteY1295" fmla="*/ 44557 h 470547"/>
                <a:gd name="connsiteX1296" fmla="*/ 408165 w 578488"/>
                <a:gd name="connsiteY1296" fmla="*/ 45971 h 470547"/>
                <a:gd name="connsiteX1297" fmla="*/ 410287 w 578488"/>
                <a:gd name="connsiteY1297" fmla="*/ 46362 h 470547"/>
                <a:gd name="connsiteX1298" fmla="*/ 411311 w 578488"/>
                <a:gd name="connsiteY1298" fmla="*/ 44924 h 470547"/>
                <a:gd name="connsiteX1299" fmla="*/ 409322 w 578488"/>
                <a:gd name="connsiteY1299" fmla="*/ 43190 h 470547"/>
                <a:gd name="connsiteX1300" fmla="*/ 408786 w 578488"/>
                <a:gd name="connsiteY1300" fmla="*/ 41556 h 470547"/>
                <a:gd name="connsiteX1301" fmla="*/ 409739 w 578488"/>
                <a:gd name="connsiteY1301" fmla="*/ 37494 h 470547"/>
                <a:gd name="connsiteX1302" fmla="*/ 410851 w 578488"/>
                <a:gd name="connsiteY1302" fmla="*/ 35896 h 470547"/>
                <a:gd name="connsiteX1303" fmla="*/ 417083 w 578488"/>
                <a:gd name="connsiteY1303" fmla="*/ 29833 h 470547"/>
                <a:gd name="connsiteX1304" fmla="*/ 422300 w 578488"/>
                <a:gd name="connsiteY1304" fmla="*/ 26680 h 470547"/>
                <a:gd name="connsiteX1305" fmla="*/ 425424 w 578488"/>
                <a:gd name="connsiteY1305" fmla="*/ 26417 h 470547"/>
                <a:gd name="connsiteX1306" fmla="*/ 430888 w 578488"/>
                <a:gd name="connsiteY1306" fmla="*/ 19331 h 470547"/>
                <a:gd name="connsiteX1307" fmla="*/ 432436 w 578488"/>
                <a:gd name="connsiteY1307" fmla="*/ 18040 h 470547"/>
                <a:gd name="connsiteX1308" fmla="*/ 433861 w 578488"/>
                <a:gd name="connsiteY1308" fmla="*/ 17743 h 470547"/>
                <a:gd name="connsiteX1309" fmla="*/ 433496 w 578488"/>
                <a:gd name="connsiteY1309" fmla="*/ 16004 h 470547"/>
                <a:gd name="connsiteX1310" fmla="*/ 430503 w 578488"/>
                <a:gd name="connsiteY1310" fmla="*/ 14903 h 470547"/>
                <a:gd name="connsiteX1311" fmla="*/ 430400 w 578488"/>
                <a:gd name="connsiteY1311" fmla="*/ 12748 h 470547"/>
                <a:gd name="connsiteX1312" fmla="*/ 434343 w 578488"/>
                <a:gd name="connsiteY1312" fmla="*/ 10121 h 470547"/>
                <a:gd name="connsiteX1313" fmla="*/ 439124 w 578488"/>
                <a:gd name="connsiteY1313" fmla="*/ 5706 h 470547"/>
                <a:gd name="connsiteX1314" fmla="*/ 441484 w 578488"/>
                <a:gd name="connsiteY1314" fmla="*/ 5406 h 470547"/>
                <a:gd name="connsiteX1315" fmla="*/ 442963 w 578488"/>
                <a:gd name="connsiteY1315" fmla="*/ 6634 h 470547"/>
                <a:gd name="connsiteX1316" fmla="*/ 447619 w 578488"/>
                <a:gd name="connsiteY1316" fmla="*/ 8627 h 470547"/>
                <a:gd name="connsiteX1317" fmla="*/ 450471 w 578488"/>
                <a:gd name="connsiteY1317" fmla="*/ 10908 h 470547"/>
                <a:gd name="connsiteX1318" fmla="*/ 452538 w 578488"/>
                <a:gd name="connsiteY1318" fmla="*/ 12056 h 470547"/>
                <a:gd name="connsiteX1319" fmla="*/ 453881 w 578488"/>
                <a:gd name="connsiteY1319" fmla="*/ 11818 h 470547"/>
                <a:gd name="connsiteX1320" fmla="*/ 454991 w 578488"/>
                <a:gd name="connsiteY1320" fmla="*/ 10105 h 470547"/>
                <a:gd name="connsiteX1321" fmla="*/ 456325 w 578488"/>
                <a:gd name="connsiteY1321" fmla="*/ 9303 h 470547"/>
                <a:gd name="connsiteX1322" fmla="*/ 459286 w 578488"/>
                <a:gd name="connsiteY1322" fmla="*/ 9753 h 470547"/>
                <a:gd name="connsiteX1323" fmla="*/ 461052 w 578488"/>
                <a:gd name="connsiteY1323" fmla="*/ 10855 h 470547"/>
                <a:gd name="connsiteX1324" fmla="*/ 462428 w 578488"/>
                <a:gd name="connsiteY1324" fmla="*/ 11000 h 470547"/>
                <a:gd name="connsiteX1325" fmla="*/ 463672 w 578488"/>
                <a:gd name="connsiteY1325" fmla="*/ 11667 h 470547"/>
                <a:gd name="connsiteX1326" fmla="*/ 463965 w 578488"/>
                <a:gd name="connsiteY1326" fmla="*/ 13131 h 470547"/>
                <a:gd name="connsiteX1327" fmla="*/ 461404 w 578488"/>
                <a:gd name="connsiteY1327" fmla="*/ 14725 h 470547"/>
                <a:gd name="connsiteX1328" fmla="*/ 457040 w 578488"/>
                <a:gd name="connsiteY1328" fmla="*/ 18947 h 470547"/>
                <a:gd name="connsiteX1329" fmla="*/ 452734 w 578488"/>
                <a:gd name="connsiteY1329" fmla="*/ 23737 h 470547"/>
                <a:gd name="connsiteX1330" fmla="*/ 451314 w 578488"/>
                <a:gd name="connsiteY1330" fmla="*/ 26255 h 470547"/>
                <a:gd name="connsiteX1331" fmla="*/ 449923 w 578488"/>
                <a:gd name="connsiteY1331" fmla="*/ 32850 h 470547"/>
                <a:gd name="connsiteX1332" fmla="*/ 446558 w 578488"/>
                <a:gd name="connsiteY1332" fmla="*/ 37058 h 470547"/>
                <a:gd name="connsiteX1333" fmla="*/ 446304 w 578488"/>
                <a:gd name="connsiteY1333" fmla="*/ 40003 h 470547"/>
                <a:gd name="connsiteX1334" fmla="*/ 447655 w 578488"/>
                <a:gd name="connsiteY1334" fmla="*/ 41390 h 470547"/>
                <a:gd name="connsiteX1335" fmla="*/ 451369 w 578488"/>
                <a:gd name="connsiteY1335" fmla="*/ 40302 h 470547"/>
                <a:gd name="connsiteX1336" fmla="*/ 455947 w 578488"/>
                <a:gd name="connsiteY1336" fmla="*/ 36371 h 470547"/>
                <a:gd name="connsiteX1337" fmla="*/ 457090 w 578488"/>
                <a:gd name="connsiteY1337" fmla="*/ 32191 h 470547"/>
                <a:gd name="connsiteX1338" fmla="*/ 468535 w 578488"/>
                <a:gd name="connsiteY1338" fmla="*/ 20815 h 470547"/>
                <a:gd name="connsiteX1339" fmla="*/ 473903 w 578488"/>
                <a:gd name="connsiteY1339" fmla="*/ 14505 h 470547"/>
                <a:gd name="connsiteX1340" fmla="*/ 480007 w 578488"/>
                <a:gd name="connsiteY1340" fmla="*/ 9265 h 470547"/>
                <a:gd name="connsiteX1341" fmla="*/ 483421 w 578488"/>
                <a:gd name="connsiteY1341" fmla="*/ 8179 h 470547"/>
                <a:gd name="connsiteX1342" fmla="*/ 485028 w 578488"/>
                <a:gd name="connsiteY1342" fmla="*/ 11651 h 470547"/>
                <a:gd name="connsiteX1343" fmla="*/ 483734 w 578488"/>
                <a:gd name="connsiteY1343" fmla="*/ 16179 h 470547"/>
                <a:gd name="connsiteX1344" fmla="*/ 481141 w 578488"/>
                <a:gd name="connsiteY1344" fmla="*/ 19061 h 470547"/>
                <a:gd name="connsiteX1345" fmla="*/ 483052 w 578488"/>
                <a:gd name="connsiteY1345" fmla="*/ 20380 h 470547"/>
                <a:gd name="connsiteX1346" fmla="*/ 482687 w 578488"/>
                <a:gd name="connsiteY1346" fmla="*/ 23797 h 470547"/>
                <a:gd name="connsiteX1347" fmla="*/ 482091 w 578488"/>
                <a:gd name="connsiteY1347" fmla="*/ 25693 h 470547"/>
                <a:gd name="connsiteX1348" fmla="*/ 481711 w 578488"/>
                <a:gd name="connsiteY1348" fmla="*/ 27676 h 470547"/>
                <a:gd name="connsiteX1349" fmla="*/ 481735 w 578488"/>
                <a:gd name="connsiteY1349" fmla="*/ 29424 h 470547"/>
                <a:gd name="connsiteX1350" fmla="*/ 483527 w 578488"/>
                <a:gd name="connsiteY1350" fmla="*/ 28958 h 470547"/>
                <a:gd name="connsiteX1351" fmla="*/ 490675 w 578488"/>
                <a:gd name="connsiteY1351" fmla="*/ 25377 h 470547"/>
                <a:gd name="connsiteX1352" fmla="*/ 492486 w 578488"/>
                <a:gd name="connsiteY1352" fmla="*/ 21493 h 470547"/>
                <a:gd name="connsiteX1353" fmla="*/ 494166 w 578488"/>
                <a:gd name="connsiteY1353" fmla="*/ 18577 h 470547"/>
                <a:gd name="connsiteX1354" fmla="*/ 494972 w 578488"/>
                <a:gd name="connsiteY1354" fmla="*/ 16055 h 470547"/>
                <a:gd name="connsiteX1355" fmla="*/ 497751 w 578488"/>
                <a:gd name="connsiteY1355" fmla="*/ 13663 h 470547"/>
                <a:gd name="connsiteX1356" fmla="*/ 502994 w 578488"/>
                <a:gd name="connsiteY1356" fmla="*/ 13645 h 470547"/>
                <a:gd name="connsiteX1357" fmla="*/ 503197 w 578488"/>
                <a:gd name="connsiteY1357" fmla="*/ 12704 h 470547"/>
                <a:gd name="connsiteX1358" fmla="*/ 496859 w 578488"/>
                <a:gd name="connsiteY1358" fmla="*/ 9377 h 470547"/>
                <a:gd name="connsiteX1359" fmla="*/ 496112 w 578488"/>
                <a:gd name="connsiteY1359" fmla="*/ 7877 h 470547"/>
                <a:gd name="connsiteX1360" fmla="*/ 498243 w 578488"/>
                <a:gd name="connsiteY1360" fmla="*/ 5879 h 470547"/>
                <a:gd name="connsiteX1361" fmla="*/ 459651 w 578488"/>
                <a:gd name="connsiteY1361" fmla="*/ 0 h 470547"/>
                <a:gd name="connsiteX1362" fmla="*/ 465559 w 578488"/>
                <a:gd name="connsiteY1362" fmla="*/ 1548 h 470547"/>
                <a:gd name="connsiteX1363" fmla="*/ 467582 w 578488"/>
                <a:gd name="connsiteY1363" fmla="*/ 1516 h 470547"/>
                <a:gd name="connsiteX1364" fmla="*/ 470515 w 578488"/>
                <a:gd name="connsiteY1364" fmla="*/ 4407 h 470547"/>
                <a:gd name="connsiteX1365" fmla="*/ 472046 w 578488"/>
                <a:gd name="connsiteY1365" fmla="*/ 4151 h 470547"/>
                <a:gd name="connsiteX1366" fmla="*/ 471756 w 578488"/>
                <a:gd name="connsiteY1366" fmla="*/ 5916 h 470547"/>
                <a:gd name="connsiteX1367" fmla="*/ 468792 w 578488"/>
                <a:gd name="connsiteY1367" fmla="*/ 6752 h 470547"/>
                <a:gd name="connsiteX1368" fmla="*/ 464183 w 578488"/>
                <a:gd name="connsiteY1368" fmla="*/ 7260 h 470547"/>
                <a:gd name="connsiteX1369" fmla="*/ 463495 w 578488"/>
                <a:gd name="connsiteY1369" fmla="*/ 7611 h 470547"/>
                <a:gd name="connsiteX1370" fmla="*/ 459556 w 578488"/>
                <a:gd name="connsiteY1370" fmla="*/ 7329 h 470547"/>
                <a:gd name="connsiteX1371" fmla="*/ 457345 w 578488"/>
                <a:gd name="connsiteY1371" fmla="*/ 4956 h 470547"/>
                <a:gd name="connsiteX1372" fmla="*/ 453650 w 578488"/>
                <a:gd name="connsiteY1372" fmla="*/ 4368 h 470547"/>
                <a:gd name="connsiteX1373" fmla="*/ 453656 w 578488"/>
                <a:gd name="connsiteY1373" fmla="*/ 3606 h 470547"/>
                <a:gd name="connsiteX1374" fmla="*/ 456049 w 578488"/>
                <a:gd name="connsiteY1374" fmla="*/ 1809 h 470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Lst>
              <a:rect l="l" t="t" r="r" b="b"/>
              <a:pathLst>
                <a:path w="578488" h="470547">
                  <a:moveTo>
                    <a:pt x="4236" y="391131"/>
                  </a:moveTo>
                  <a:lnTo>
                    <a:pt x="5553" y="393229"/>
                  </a:lnTo>
                  <a:lnTo>
                    <a:pt x="6342" y="395934"/>
                  </a:lnTo>
                  <a:lnTo>
                    <a:pt x="6413" y="399875"/>
                  </a:lnTo>
                  <a:lnTo>
                    <a:pt x="4376" y="399577"/>
                  </a:lnTo>
                  <a:lnTo>
                    <a:pt x="3461" y="398066"/>
                  </a:lnTo>
                  <a:lnTo>
                    <a:pt x="3196" y="397101"/>
                  </a:lnTo>
                  <a:lnTo>
                    <a:pt x="3355" y="394818"/>
                  </a:lnTo>
                  <a:lnTo>
                    <a:pt x="2897" y="392461"/>
                  </a:lnTo>
                  <a:lnTo>
                    <a:pt x="3498" y="391290"/>
                  </a:lnTo>
                  <a:close/>
                  <a:moveTo>
                    <a:pt x="2573" y="366113"/>
                  </a:moveTo>
                  <a:lnTo>
                    <a:pt x="3852" y="367834"/>
                  </a:lnTo>
                  <a:lnTo>
                    <a:pt x="3530" y="369975"/>
                  </a:lnTo>
                  <a:lnTo>
                    <a:pt x="1572" y="370400"/>
                  </a:lnTo>
                  <a:lnTo>
                    <a:pt x="0" y="370038"/>
                  </a:lnTo>
                  <a:lnTo>
                    <a:pt x="561" y="366825"/>
                  </a:lnTo>
                  <a:lnTo>
                    <a:pt x="1384" y="366299"/>
                  </a:lnTo>
                  <a:close/>
                  <a:moveTo>
                    <a:pt x="72406" y="288176"/>
                  </a:moveTo>
                  <a:lnTo>
                    <a:pt x="73790" y="289555"/>
                  </a:lnTo>
                  <a:lnTo>
                    <a:pt x="73896" y="291823"/>
                  </a:lnTo>
                  <a:lnTo>
                    <a:pt x="73052" y="292828"/>
                  </a:lnTo>
                  <a:lnTo>
                    <a:pt x="70884" y="292852"/>
                  </a:lnTo>
                  <a:lnTo>
                    <a:pt x="68309" y="292314"/>
                  </a:lnTo>
                  <a:lnTo>
                    <a:pt x="66697" y="291172"/>
                  </a:lnTo>
                  <a:lnTo>
                    <a:pt x="66446" y="290164"/>
                  </a:lnTo>
                  <a:lnTo>
                    <a:pt x="69417" y="288910"/>
                  </a:lnTo>
                  <a:close/>
                  <a:moveTo>
                    <a:pt x="87688" y="276468"/>
                  </a:moveTo>
                  <a:lnTo>
                    <a:pt x="88672" y="277636"/>
                  </a:lnTo>
                  <a:lnTo>
                    <a:pt x="88798" y="279233"/>
                  </a:lnTo>
                  <a:lnTo>
                    <a:pt x="88172" y="280023"/>
                  </a:lnTo>
                  <a:lnTo>
                    <a:pt x="81190" y="281299"/>
                  </a:lnTo>
                  <a:lnTo>
                    <a:pt x="78655" y="281381"/>
                  </a:lnTo>
                  <a:lnTo>
                    <a:pt x="77129" y="280596"/>
                  </a:lnTo>
                  <a:lnTo>
                    <a:pt x="80758" y="279027"/>
                  </a:lnTo>
                  <a:lnTo>
                    <a:pt x="86455" y="277535"/>
                  </a:lnTo>
                  <a:lnTo>
                    <a:pt x="86997" y="276585"/>
                  </a:lnTo>
                  <a:close/>
                  <a:moveTo>
                    <a:pt x="137580" y="234750"/>
                  </a:moveTo>
                  <a:lnTo>
                    <a:pt x="140049" y="234842"/>
                  </a:lnTo>
                  <a:lnTo>
                    <a:pt x="142560" y="237291"/>
                  </a:lnTo>
                  <a:lnTo>
                    <a:pt x="142234" y="238798"/>
                  </a:lnTo>
                  <a:lnTo>
                    <a:pt x="141074" y="239795"/>
                  </a:lnTo>
                  <a:lnTo>
                    <a:pt x="138498" y="238994"/>
                  </a:lnTo>
                  <a:lnTo>
                    <a:pt x="133413" y="239613"/>
                  </a:lnTo>
                  <a:lnTo>
                    <a:pt x="131364" y="238638"/>
                  </a:lnTo>
                  <a:lnTo>
                    <a:pt x="132992" y="236741"/>
                  </a:lnTo>
                  <a:close/>
                  <a:moveTo>
                    <a:pt x="156473" y="208471"/>
                  </a:moveTo>
                  <a:lnTo>
                    <a:pt x="158617" y="208629"/>
                  </a:lnTo>
                  <a:lnTo>
                    <a:pt x="159300" y="209433"/>
                  </a:lnTo>
                  <a:lnTo>
                    <a:pt x="158520" y="211357"/>
                  </a:lnTo>
                  <a:lnTo>
                    <a:pt x="157058" y="212476"/>
                  </a:lnTo>
                  <a:lnTo>
                    <a:pt x="154327" y="212155"/>
                  </a:lnTo>
                  <a:lnTo>
                    <a:pt x="154035" y="211196"/>
                  </a:lnTo>
                  <a:lnTo>
                    <a:pt x="154815" y="209272"/>
                  </a:lnTo>
                  <a:close/>
                  <a:moveTo>
                    <a:pt x="175748" y="197328"/>
                  </a:moveTo>
                  <a:lnTo>
                    <a:pt x="176449" y="198048"/>
                  </a:lnTo>
                  <a:lnTo>
                    <a:pt x="175119" y="199065"/>
                  </a:lnTo>
                  <a:lnTo>
                    <a:pt x="170496" y="201327"/>
                  </a:lnTo>
                  <a:lnTo>
                    <a:pt x="168725" y="201432"/>
                  </a:lnTo>
                  <a:lnTo>
                    <a:pt x="168740" y="199939"/>
                  </a:lnTo>
                  <a:lnTo>
                    <a:pt x="169755" y="198582"/>
                  </a:lnTo>
                  <a:lnTo>
                    <a:pt x="171364" y="197674"/>
                  </a:lnTo>
                  <a:lnTo>
                    <a:pt x="173433" y="197432"/>
                  </a:lnTo>
                  <a:close/>
                  <a:moveTo>
                    <a:pt x="170891" y="190029"/>
                  </a:moveTo>
                  <a:lnTo>
                    <a:pt x="172956" y="191226"/>
                  </a:lnTo>
                  <a:lnTo>
                    <a:pt x="172996" y="193260"/>
                  </a:lnTo>
                  <a:lnTo>
                    <a:pt x="171973" y="195112"/>
                  </a:lnTo>
                  <a:lnTo>
                    <a:pt x="168514" y="196161"/>
                  </a:lnTo>
                  <a:lnTo>
                    <a:pt x="166467" y="196404"/>
                  </a:lnTo>
                  <a:lnTo>
                    <a:pt x="166808" y="194788"/>
                  </a:lnTo>
                  <a:lnTo>
                    <a:pt x="168464" y="193253"/>
                  </a:lnTo>
                  <a:lnTo>
                    <a:pt x="169099" y="192202"/>
                  </a:lnTo>
                  <a:lnTo>
                    <a:pt x="169429" y="190966"/>
                  </a:lnTo>
                  <a:close/>
                  <a:moveTo>
                    <a:pt x="182845" y="120497"/>
                  </a:moveTo>
                  <a:lnTo>
                    <a:pt x="184057" y="121330"/>
                  </a:lnTo>
                  <a:lnTo>
                    <a:pt x="183502" y="123106"/>
                  </a:lnTo>
                  <a:lnTo>
                    <a:pt x="183513" y="124862"/>
                  </a:lnTo>
                  <a:lnTo>
                    <a:pt x="182990" y="125692"/>
                  </a:lnTo>
                  <a:lnTo>
                    <a:pt x="180716" y="127984"/>
                  </a:lnTo>
                  <a:lnTo>
                    <a:pt x="177449" y="129987"/>
                  </a:lnTo>
                  <a:lnTo>
                    <a:pt x="178641" y="126329"/>
                  </a:lnTo>
                  <a:lnTo>
                    <a:pt x="180405" y="122620"/>
                  </a:lnTo>
                  <a:close/>
                  <a:moveTo>
                    <a:pt x="198678" y="112691"/>
                  </a:moveTo>
                  <a:lnTo>
                    <a:pt x="200641" y="113103"/>
                  </a:lnTo>
                  <a:lnTo>
                    <a:pt x="201956" y="113756"/>
                  </a:lnTo>
                  <a:lnTo>
                    <a:pt x="205392" y="113566"/>
                  </a:lnTo>
                  <a:lnTo>
                    <a:pt x="206080" y="113810"/>
                  </a:lnTo>
                  <a:lnTo>
                    <a:pt x="205592" y="114887"/>
                  </a:lnTo>
                  <a:lnTo>
                    <a:pt x="204100" y="116071"/>
                  </a:lnTo>
                  <a:lnTo>
                    <a:pt x="200969" y="116797"/>
                  </a:lnTo>
                  <a:lnTo>
                    <a:pt x="199561" y="118603"/>
                  </a:lnTo>
                  <a:lnTo>
                    <a:pt x="198553" y="119216"/>
                  </a:lnTo>
                  <a:lnTo>
                    <a:pt x="195849" y="119224"/>
                  </a:lnTo>
                  <a:lnTo>
                    <a:pt x="194254" y="119640"/>
                  </a:lnTo>
                  <a:lnTo>
                    <a:pt x="192291" y="121245"/>
                  </a:lnTo>
                  <a:lnTo>
                    <a:pt x="190721" y="120062"/>
                  </a:lnTo>
                  <a:lnTo>
                    <a:pt x="190283" y="120902"/>
                  </a:lnTo>
                  <a:lnTo>
                    <a:pt x="189997" y="122401"/>
                  </a:lnTo>
                  <a:lnTo>
                    <a:pt x="189125" y="122841"/>
                  </a:lnTo>
                  <a:lnTo>
                    <a:pt x="186413" y="123384"/>
                  </a:lnTo>
                  <a:lnTo>
                    <a:pt x="185752" y="119891"/>
                  </a:lnTo>
                  <a:lnTo>
                    <a:pt x="187000" y="118622"/>
                  </a:lnTo>
                  <a:lnTo>
                    <a:pt x="187978" y="117104"/>
                  </a:lnTo>
                  <a:lnTo>
                    <a:pt x="189477" y="116872"/>
                  </a:lnTo>
                  <a:lnTo>
                    <a:pt x="190820" y="116998"/>
                  </a:lnTo>
                  <a:lnTo>
                    <a:pt x="193237" y="113726"/>
                  </a:lnTo>
                  <a:lnTo>
                    <a:pt x="196547" y="112796"/>
                  </a:lnTo>
                  <a:close/>
                  <a:moveTo>
                    <a:pt x="227817" y="84536"/>
                  </a:moveTo>
                  <a:lnTo>
                    <a:pt x="228398" y="84693"/>
                  </a:lnTo>
                  <a:lnTo>
                    <a:pt x="229447" y="85561"/>
                  </a:lnTo>
                  <a:lnTo>
                    <a:pt x="230145" y="87049"/>
                  </a:lnTo>
                  <a:lnTo>
                    <a:pt x="233021" y="90942"/>
                  </a:lnTo>
                  <a:lnTo>
                    <a:pt x="234334" y="93213"/>
                  </a:lnTo>
                  <a:lnTo>
                    <a:pt x="233269" y="97497"/>
                  </a:lnTo>
                  <a:lnTo>
                    <a:pt x="230475" y="99655"/>
                  </a:lnTo>
                  <a:lnTo>
                    <a:pt x="226163" y="100039"/>
                  </a:lnTo>
                  <a:lnTo>
                    <a:pt x="223138" y="99860"/>
                  </a:lnTo>
                  <a:lnTo>
                    <a:pt x="221231" y="98822"/>
                  </a:lnTo>
                  <a:lnTo>
                    <a:pt x="220993" y="97657"/>
                  </a:lnTo>
                  <a:lnTo>
                    <a:pt x="219892" y="97313"/>
                  </a:lnTo>
                  <a:lnTo>
                    <a:pt x="216987" y="98809"/>
                  </a:lnTo>
                  <a:lnTo>
                    <a:pt x="214969" y="99011"/>
                  </a:lnTo>
                  <a:lnTo>
                    <a:pt x="212401" y="97851"/>
                  </a:lnTo>
                  <a:lnTo>
                    <a:pt x="211710" y="95995"/>
                  </a:lnTo>
                  <a:lnTo>
                    <a:pt x="214435" y="93665"/>
                  </a:lnTo>
                  <a:lnTo>
                    <a:pt x="215696" y="91852"/>
                  </a:lnTo>
                  <a:lnTo>
                    <a:pt x="218720" y="92012"/>
                  </a:lnTo>
                  <a:lnTo>
                    <a:pt x="219475" y="92576"/>
                  </a:lnTo>
                  <a:lnTo>
                    <a:pt x="221183" y="92928"/>
                  </a:lnTo>
                  <a:lnTo>
                    <a:pt x="222222" y="90744"/>
                  </a:lnTo>
                  <a:lnTo>
                    <a:pt x="221982" y="89232"/>
                  </a:lnTo>
                  <a:lnTo>
                    <a:pt x="222742" y="88181"/>
                  </a:lnTo>
                  <a:lnTo>
                    <a:pt x="226394" y="88938"/>
                  </a:lnTo>
                  <a:lnTo>
                    <a:pt x="226400" y="84826"/>
                  </a:lnTo>
                  <a:close/>
                  <a:moveTo>
                    <a:pt x="246910" y="73108"/>
                  </a:moveTo>
                  <a:lnTo>
                    <a:pt x="248739" y="73108"/>
                  </a:lnTo>
                  <a:lnTo>
                    <a:pt x="250540" y="74204"/>
                  </a:lnTo>
                  <a:lnTo>
                    <a:pt x="250216" y="76443"/>
                  </a:lnTo>
                  <a:lnTo>
                    <a:pt x="247515" y="80477"/>
                  </a:lnTo>
                  <a:lnTo>
                    <a:pt x="243513" y="83908"/>
                  </a:lnTo>
                  <a:lnTo>
                    <a:pt x="244001" y="86367"/>
                  </a:lnTo>
                  <a:lnTo>
                    <a:pt x="245595" y="88389"/>
                  </a:lnTo>
                  <a:lnTo>
                    <a:pt x="245986" y="91839"/>
                  </a:lnTo>
                  <a:lnTo>
                    <a:pt x="246083" y="95156"/>
                  </a:lnTo>
                  <a:lnTo>
                    <a:pt x="243049" y="99627"/>
                  </a:lnTo>
                  <a:lnTo>
                    <a:pt x="242378" y="101772"/>
                  </a:lnTo>
                  <a:lnTo>
                    <a:pt x="242643" y="102042"/>
                  </a:lnTo>
                  <a:lnTo>
                    <a:pt x="245656" y="98341"/>
                  </a:lnTo>
                  <a:lnTo>
                    <a:pt x="248994" y="97185"/>
                  </a:lnTo>
                  <a:lnTo>
                    <a:pt x="249201" y="95895"/>
                  </a:lnTo>
                  <a:lnTo>
                    <a:pt x="250495" y="94646"/>
                  </a:lnTo>
                  <a:lnTo>
                    <a:pt x="250348" y="92605"/>
                  </a:lnTo>
                  <a:lnTo>
                    <a:pt x="251006" y="90944"/>
                  </a:lnTo>
                  <a:lnTo>
                    <a:pt x="252708" y="90504"/>
                  </a:lnTo>
                  <a:lnTo>
                    <a:pt x="253771" y="89942"/>
                  </a:lnTo>
                  <a:lnTo>
                    <a:pt x="254950" y="89632"/>
                  </a:lnTo>
                  <a:lnTo>
                    <a:pt x="257079" y="90976"/>
                  </a:lnTo>
                  <a:lnTo>
                    <a:pt x="258284" y="92467"/>
                  </a:lnTo>
                  <a:lnTo>
                    <a:pt x="259780" y="95797"/>
                  </a:lnTo>
                  <a:lnTo>
                    <a:pt x="259158" y="99013"/>
                  </a:lnTo>
                  <a:lnTo>
                    <a:pt x="255150" y="101517"/>
                  </a:lnTo>
                  <a:lnTo>
                    <a:pt x="251965" y="102646"/>
                  </a:lnTo>
                  <a:lnTo>
                    <a:pt x="248748" y="105516"/>
                  </a:lnTo>
                  <a:lnTo>
                    <a:pt x="247131" y="107859"/>
                  </a:lnTo>
                  <a:lnTo>
                    <a:pt x="245742" y="108366"/>
                  </a:lnTo>
                  <a:lnTo>
                    <a:pt x="244863" y="108175"/>
                  </a:lnTo>
                  <a:lnTo>
                    <a:pt x="244082" y="107609"/>
                  </a:lnTo>
                  <a:lnTo>
                    <a:pt x="242451" y="107607"/>
                  </a:lnTo>
                  <a:lnTo>
                    <a:pt x="240657" y="109638"/>
                  </a:lnTo>
                  <a:lnTo>
                    <a:pt x="235239" y="111288"/>
                  </a:lnTo>
                  <a:lnTo>
                    <a:pt x="233114" y="110812"/>
                  </a:lnTo>
                  <a:lnTo>
                    <a:pt x="233017" y="108788"/>
                  </a:lnTo>
                  <a:lnTo>
                    <a:pt x="231749" y="108956"/>
                  </a:lnTo>
                  <a:lnTo>
                    <a:pt x="229719" y="111382"/>
                  </a:lnTo>
                  <a:lnTo>
                    <a:pt x="227733" y="112191"/>
                  </a:lnTo>
                  <a:lnTo>
                    <a:pt x="226398" y="112440"/>
                  </a:lnTo>
                  <a:lnTo>
                    <a:pt x="223947" y="111527"/>
                  </a:lnTo>
                  <a:lnTo>
                    <a:pt x="217359" y="115654"/>
                  </a:lnTo>
                  <a:lnTo>
                    <a:pt x="211181" y="116425"/>
                  </a:lnTo>
                  <a:lnTo>
                    <a:pt x="209147" y="115948"/>
                  </a:lnTo>
                  <a:lnTo>
                    <a:pt x="209140" y="113424"/>
                  </a:lnTo>
                  <a:lnTo>
                    <a:pt x="213133" y="110191"/>
                  </a:lnTo>
                  <a:lnTo>
                    <a:pt x="216407" y="107941"/>
                  </a:lnTo>
                  <a:lnTo>
                    <a:pt x="227672" y="106369"/>
                  </a:lnTo>
                  <a:lnTo>
                    <a:pt x="234688" y="99674"/>
                  </a:lnTo>
                  <a:lnTo>
                    <a:pt x="236383" y="92374"/>
                  </a:lnTo>
                  <a:lnTo>
                    <a:pt x="238042" y="89732"/>
                  </a:lnTo>
                  <a:lnTo>
                    <a:pt x="237262" y="88238"/>
                  </a:lnTo>
                  <a:lnTo>
                    <a:pt x="235375" y="87975"/>
                  </a:lnTo>
                  <a:lnTo>
                    <a:pt x="235260" y="85677"/>
                  </a:lnTo>
                  <a:lnTo>
                    <a:pt x="236245" y="83162"/>
                  </a:lnTo>
                  <a:lnTo>
                    <a:pt x="239927" y="79703"/>
                  </a:lnTo>
                  <a:lnTo>
                    <a:pt x="241972" y="78229"/>
                  </a:lnTo>
                  <a:lnTo>
                    <a:pt x="245304" y="74050"/>
                  </a:lnTo>
                  <a:close/>
                  <a:moveTo>
                    <a:pt x="280912" y="61606"/>
                  </a:moveTo>
                  <a:lnTo>
                    <a:pt x="283570" y="63847"/>
                  </a:lnTo>
                  <a:lnTo>
                    <a:pt x="284766" y="63162"/>
                  </a:lnTo>
                  <a:lnTo>
                    <a:pt x="287118" y="62907"/>
                  </a:lnTo>
                  <a:lnTo>
                    <a:pt x="288867" y="63693"/>
                  </a:lnTo>
                  <a:lnTo>
                    <a:pt x="290297" y="65116"/>
                  </a:lnTo>
                  <a:lnTo>
                    <a:pt x="291992" y="65181"/>
                  </a:lnTo>
                  <a:lnTo>
                    <a:pt x="293056" y="67038"/>
                  </a:lnTo>
                  <a:lnTo>
                    <a:pt x="293598" y="69452"/>
                  </a:lnTo>
                  <a:lnTo>
                    <a:pt x="292367" y="71253"/>
                  </a:lnTo>
                  <a:lnTo>
                    <a:pt x="290621" y="72068"/>
                  </a:lnTo>
                  <a:lnTo>
                    <a:pt x="290148" y="74189"/>
                  </a:lnTo>
                  <a:lnTo>
                    <a:pt x="290811" y="77154"/>
                  </a:lnTo>
                  <a:lnTo>
                    <a:pt x="286893" y="78170"/>
                  </a:lnTo>
                  <a:lnTo>
                    <a:pt x="282352" y="78622"/>
                  </a:lnTo>
                  <a:lnTo>
                    <a:pt x="280577" y="77205"/>
                  </a:lnTo>
                  <a:lnTo>
                    <a:pt x="276945" y="79802"/>
                  </a:lnTo>
                  <a:lnTo>
                    <a:pt x="273348" y="83842"/>
                  </a:lnTo>
                  <a:lnTo>
                    <a:pt x="271614" y="84317"/>
                  </a:lnTo>
                  <a:lnTo>
                    <a:pt x="271493" y="83039"/>
                  </a:lnTo>
                  <a:lnTo>
                    <a:pt x="268908" y="82156"/>
                  </a:lnTo>
                  <a:lnTo>
                    <a:pt x="265598" y="82105"/>
                  </a:lnTo>
                  <a:lnTo>
                    <a:pt x="265708" y="81158"/>
                  </a:lnTo>
                  <a:lnTo>
                    <a:pt x="266308" y="80489"/>
                  </a:lnTo>
                  <a:lnTo>
                    <a:pt x="269165" y="79496"/>
                  </a:lnTo>
                  <a:lnTo>
                    <a:pt x="269735" y="77447"/>
                  </a:lnTo>
                  <a:lnTo>
                    <a:pt x="269216" y="73784"/>
                  </a:lnTo>
                  <a:lnTo>
                    <a:pt x="269720" y="72004"/>
                  </a:lnTo>
                  <a:lnTo>
                    <a:pt x="269828" y="70773"/>
                  </a:lnTo>
                  <a:lnTo>
                    <a:pt x="271624" y="69332"/>
                  </a:lnTo>
                  <a:lnTo>
                    <a:pt x="277768" y="70009"/>
                  </a:lnTo>
                  <a:lnTo>
                    <a:pt x="278513" y="68633"/>
                  </a:lnTo>
                  <a:lnTo>
                    <a:pt x="278047" y="67767"/>
                  </a:lnTo>
                  <a:lnTo>
                    <a:pt x="274872" y="66249"/>
                  </a:lnTo>
                  <a:lnTo>
                    <a:pt x="275360" y="65227"/>
                  </a:lnTo>
                  <a:lnTo>
                    <a:pt x="277651" y="64313"/>
                  </a:lnTo>
                  <a:lnTo>
                    <a:pt x="279819" y="64195"/>
                  </a:lnTo>
                  <a:lnTo>
                    <a:pt x="280471" y="62647"/>
                  </a:lnTo>
                  <a:lnTo>
                    <a:pt x="280584" y="61973"/>
                  </a:lnTo>
                  <a:close/>
                  <a:moveTo>
                    <a:pt x="553617" y="49437"/>
                  </a:moveTo>
                  <a:lnTo>
                    <a:pt x="555344" y="49560"/>
                  </a:lnTo>
                  <a:lnTo>
                    <a:pt x="557091" y="50712"/>
                  </a:lnTo>
                  <a:lnTo>
                    <a:pt x="558466" y="52086"/>
                  </a:lnTo>
                  <a:lnTo>
                    <a:pt x="556277" y="53725"/>
                  </a:lnTo>
                  <a:lnTo>
                    <a:pt x="552077" y="54876"/>
                  </a:lnTo>
                  <a:lnTo>
                    <a:pt x="551591" y="53929"/>
                  </a:lnTo>
                  <a:lnTo>
                    <a:pt x="552513" y="52454"/>
                  </a:lnTo>
                  <a:close/>
                  <a:moveTo>
                    <a:pt x="350606" y="36555"/>
                  </a:moveTo>
                  <a:lnTo>
                    <a:pt x="353506" y="37006"/>
                  </a:lnTo>
                  <a:lnTo>
                    <a:pt x="354245" y="37564"/>
                  </a:lnTo>
                  <a:lnTo>
                    <a:pt x="353355" y="42154"/>
                  </a:lnTo>
                  <a:lnTo>
                    <a:pt x="352163" y="43074"/>
                  </a:lnTo>
                  <a:lnTo>
                    <a:pt x="350334" y="43450"/>
                  </a:lnTo>
                  <a:lnTo>
                    <a:pt x="349349" y="42879"/>
                  </a:lnTo>
                  <a:lnTo>
                    <a:pt x="347948" y="42504"/>
                  </a:lnTo>
                  <a:lnTo>
                    <a:pt x="346391" y="42676"/>
                  </a:lnTo>
                  <a:lnTo>
                    <a:pt x="345082" y="40989"/>
                  </a:lnTo>
                  <a:lnTo>
                    <a:pt x="345229" y="39572"/>
                  </a:lnTo>
                  <a:lnTo>
                    <a:pt x="347021" y="37649"/>
                  </a:lnTo>
                  <a:close/>
                  <a:moveTo>
                    <a:pt x="318716" y="35896"/>
                  </a:moveTo>
                  <a:lnTo>
                    <a:pt x="319528" y="38632"/>
                  </a:lnTo>
                  <a:lnTo>
                    <a:pt x="319653" y="43078"/>
                  </a:lnTo>
                  <a:lnTo>
                    <a:pt x="321614" y="45233"/>
                  </a:lnTo>
                  <a:lnTo>
                    <a:pt x="323350" y="45026"/>
                  </a:lnTo>
                  <a:lnTo>
                    <a:pt x="323873" y="44213"/>
                  </a:lnTo>
                  <a:lnTo>
                    <a:pt x="325058" y="43811"/>
                  </a:lnTo>
                  <a:lnTo>
                    <a:pt x="327453" y="44949"/>
                  </a:lnTo>
                  <a:lnTo>
                    <a:pt x="327110" y="46885"/>
                  </a:lnTo>
                  <a:lnTo>
                    <a:pt x="323795" y="49325"/>
                  </a:lnTo>
                  <a:lnTo>
                    <a:pt x="321416" y="52800"/>
                  </a:lnTo>
                  <a:lnTo>
                    <a:pt x="318371" y="53606"/>
                  </a:lnTo>
                  <a:lnTo>
                    <a:pt x="316907" y="53187"/>
                  </a:lnTo>
                  <a:lnTo>
                    <a:pt x="314186" y="55190"/>
                  </a:lnTo>
                  <a:lnTo>
                    <a:pt x="312005" y="57269"/>
                  </a:lnTo>
                  <a:lnTo>
                    <a:pt x="309744" y="59895"/>
                  </a:lnTo>
                  <a:lnTo>
                    <a:pt x="309606" y="61247"/>
                  </a:lnTo>
                  <a:lnTo>
                    <a:pt x="309254" y="62281"/>
                  </a:lnTo>
                  <a:lnTo>
                    <a:pt x="300973" y="63307"/>
                  </a:lnTo>
                  <a:lnTo>
                    <a:pt x="297962" y="63986"/>
                  </a:lnTo>
                  <a:lnTo>
                    <a:pt x="294773" y="63110"/>
                  </a:lnTo>
                  <a:lnTo>
                    <a:pt x="293262" y="61376"/>
                  </a:lnTo>
                  <a:lnTo>
                    <a:pt x="293747" y="60433"/>
                  </a:lnTo>
                  <a:lnTo>
                    <a:pt x="296930" y="60056"/>
                  </a:lnTo>
                  <a:lnTo>
                    <a:pt x="297032" y="58445"/>
                  </a:lnTo>
                  <a:lnTo>
                    <a:pt x="297837" y="57461"/>
                  </a:lnTo>
                  <a:lnTo>
                    <a:pt x="298867" y="56924"/>
                  </a:lnTo>
                  <a:lnTo>
                    <a:pt x="299625" y="54863"/>
                  </a:lnTo>
                  <a:lnTo>
                    <a:pt x="300884" y="54325"/>
                  </a:lnTo>
                  <a:lnTo>
                    <a:pt x="303231" y="54832"/>
                  </a:lnTo>
                  <a:lnTo>
                    <a:pt x="304814" y="53338"/>
                  </a:lnTo>
                  <a:lnTo>
                    <a:pt x="305706" y="53085"/>
                  </a:lnTo>
                  <a:lnTo>
                    <a:pt x="306805" y="54321"/>
                  </a:lnTo>
                  <a:lnTo>
                    <a:pt x="307334" y="52619"/>
                  </a:lnTo>
                  <a:lnTo>
                    <a:pt x="306805" y="51064"/>
                  </a:lnTo>
                  <a:lnTo>
                    <a:pt x="307082" y="50015"/>
                  </a:lnTo>
                  <a:lnTo>
                    <a:pt x="310117" y="47283"/>
                  </a:lnTo>
                  <a:lnTo>
                    <a:pt x="311431" y="45289"/>
                  </a:lnTo>
                  <a:lnTo>
                    <a:pt x="313320" y="44004"/>
                  </a:lnTo>
                  <a:lnTo>
                    <a:pt x="315140" y="44209"/>
                  </a:lnTo>
                  <a:lnTo>
                    <a:pt x="315669" y="42315"/>
                  </a:lnTo>
                  <a:lnTo>
                    <a:pt x="315140" y="40373"/>
                  </a:lnTo>
                  <a:lnTo>
                    <a:pt x="315341" y="39107"/>
                  </a:lnTo>
                  <a:lnTo>
                    <a:pt x="316948" y="36027"/>
                  </a:lnTo>
                  <a:close/>
                  <a:moveTo>
                    <a:pt x="329133" y="34857"/>
                  </a:moveTo>
                  <a:lnTo>
                    <a:pt x="330984" y="37118"/>
                  </a:lnTo>
                  <a:lnTo>
                    <a:pt x="332109" y="37583"/>
                  </a:lnTo>
                  <a:lnTo>
                    <a:pt x="333221" y="37294"/>
                  </a:lnTo>
                  <a:lnTo>
                    <a:pt x="334145" y="37705"/>
                  </a:lnTo>
                  <a:lnTo>
                    <a:pt x="335996" y="39794"/>
                  </a:lnTo>
                  <a:lnTo>
                    <a:pt x="337989" y="40615"/>
                  </a:lnTo>
                  <a:lnTo>
                    <a:pt x="338082" y="41666"/>
                  </a:lnTo>
                  <a:lnTo>
                    <a:pt x="336257" y="42690"/>
                  </a:lnTo>
                  <a:lnTo>
                    <a:pt x="333854" y="42997"/>
                  </a:lnTo>
                  <a:lnTo>
                    <a:pt x="331280" y="42641"/>
                  </a:lnTo>
                  <a:lnTo>
                    <a:pt x="330524" y="41332"/>
                  </a:lnTo>
                  <a:lnTo>
                    <a:pt x="329731" y="39157"/>
                  </a:lnTo>
                  <a:lnTo>
                    <a:pt x="327578" y="37023"/>
                  </a:lnTo>
                  <a:lnTo>
                    <a:pt x="327259" y="35152"/>
                  </a:lnTo>
                  <a:close/>
                  <a:moveTo>
                    <a:pt x="414550" y="21147"/>
                  </a:moveTo>
                  <a:lnTo>
                    <a:pt x="415263" y="22086"/>
                  </a:lnTo>
                  <a:lnTo>
                    <a:pt x="416068" y="23860"/>
                  </a:lnTo>
                  <a:lnTo>
                    <a:pt x="416480" y="25730"/>
                  </a:lnTo>
                  <a:lnTo>
                    <a:pt x="416636" y="27271"/>
                  </a:lnTo>
                  <a:lnTo>
                    <a:pt x="414573" y="29498"/>
                  </a:lnTo>
                  <a:lnTo>
                    <a:pt x="409821" y="32415"/>
                  </a:lnTo>
                  <a:lnTo>
                    <a:pt x="410093" y="33198"/>
                  </a:lnTo>
                  <a:lnTo>
                    <a:pt x="408448" y="33946"/>
                  </a:lnTo>
                  <a:lnTo>
                    <a:pt x="405981" y="34498"/>
                  </a:lnTo>
                  <a:lnTo>
                    <a:pt x="404679" y="33962"/>
                  </a:lnTo>
                  <a:lnTo>
                    <a:pt x="404859" y="31463"/>
                  </a:lnTo>
                  <a:lnTo>
                    <a:pt x="404466" y="30714"/>
                  </a:lnTo>
                  <a:lnTo>
                    <a:pt x="402593" y="31705"/>
                  </a:lnTo>
                  <a:lnTo>
                    <a:pt x="400646" y="30434"/>
                  </a:lnTo>
                  <a:lnTo>
                    <a:pt x="400643" y="29155"/>
                  </a:lnTo>
                  <a:lnTo>
                    <a:pt x="401157" y="28044"/>
                  </a:lnTo>
                  <a:lnTo>
                    <a:pt x="402958" y="26354"/>
                  </a:lnTo>
                  <a:lnTo>
                    <a:pt x="405964" y="25189"/>
                  </a:lnTo>
                  <a:lnTo>
                    <a:pt x="407946" y="25626"/>
                  </a:lnTo>
                  <a:close/>
                  <a:moveTo>
                    <a:pt x="419674" y="15922"/>
                  </a:moveTo>
                  <a:lnTo>
                    <a:pt x="420959" y="16643"/>
                  </a:lnTo>
                  <a:lnTo>
                    <a:pt x="421302" y="17247"/>
                  </a:lnTo>
                  <a:lnTo>
                    <a:pt x="423611" y="17839"/>
                  </a:lnTo>
                  <a:lnTo>
                    <a:pt x="426305" y="19805"/>
                  </a:lnTo>
                  <a:lnTo>
                    <a:pt x="424962" y="23137"/>
                  </a:lnTo>
                  <a:lnTo>
                    <a:pt x="420751" y="24733"/>
                  </a:lnTo>
                  <a:lnTo>
                    <a:pt x="418307" y="23358"/>
                  </a:lnTo>
                  <a:lnTo>
                    <a:pt x="417279" y="21949"/>
                  </a:lnTo>
                  <a:lnTo>
                    <a:pt x="417128" y="18816"/>
                  </a:lnTo>
                  <a:lnTo>
                    <a:pt x="417700" y="16908"/>
                  </a:lnTo>
                  <a:close/>
                  <a:moveTo>
                    <a:pt x="411209" y="12093"/>
                  </a:moveTo>
                  <a:lnTo>
                    <a:pt x="412202" y="13172"/>
                  </a:lnTo>
                  <a:lnTo>
                    <a:pt x="411769" y="14432"/>
                  </a:lnTo>
                  <a:lnTo>
                    <a:pt x="411021" y="15659"/>
                  </a:lnTo>
                  <a:lnTo>
                    <a:pt x="409209" y="16953"/>
                  </a:lnTo>
                  <a:lnTo>
                    <a:pt x="403969" y="22068"/>
                  </a:lnTo>
                  <a:lnTo>
                    <a:pt x="400889" y="22891"/>
                  </a:lnTo>
                  <a:lnTo>
                    <a:pt x="399914" y="23692"/>
                  </a:lnTo>
                  <a:lnTo>
                    <a:pt x="398683" y="24170"/>
                  </a:lnTo>
                  <a:lnTo>
                    <a:pt x="394856" y="23471"/>
                  </a:lnTo>
                  <a:lnTo>
                    <a:pt x="393736" y="24506"/>
                  </a:lnTo>
                  <a:lnTo>
                    <a:pt x="392678" y="25197"/>
                  </a:lnTo>
                  <a:lnTo>
                    <a:pt x="389907" y="25465"/>
                  </a:lnTo>
                  <a:lnTo>
                    <a:pt x="388281" y="25240"/>
                  </a:lnTo>
                  <a:lnTo>
                    <a:pt x="384081" y="23348"/>
                  </a:lnTo>
                  <a:lnTo>
                    <a:pt x="381582" y="21298"/>
                  </a:lnTo>
                  <a:lnTo>
                    <a:pt x="380229" y="19542"/>
                  </a:lnTo>
                  <a:lnTo>
                    <a:pt x="384109" y="19576"/>
                  </a:lnTo>
                  <a:lnTo>
                    <a:pt x="385493" y="19151"/>
                  </a:lnTo>
                  <a:lnTo>
                    <a:pt x="388095" y="19521"/>
                  </a:lnTo>
                  <a:lnTo>
                    <a:pt x="389658" y="17719"/>
                  </a:lnTo>
                  <a:lnTo>
                    <a:pt x="392969" y="17937"/>
                  </a:lnTo>
                  <a:lnTo>
                    <a:pt x="399324" y="16682"/>
                  </a:lnTo>
                  <a:lnTo>
                    <a:pt x="401656" y="17382"/>
                  </a:lnTo>
                  <a:lnTo>
                    <a:pt x="406988" y="13184"/>
                  </a:lnTo>
                  <a:lnTo>
                    <a:pt x="408657" y="13294"/>
                  </a:lnTo>
                  <a:close/>
                  <a:moveTo>
                    <a:pt x="504113" y="2056"/>
                  </a:moveTo>
                  <a:lnTo>
                    <a:pt x="507129" y="2479"/>
                  </a:lnTo>
                  <a:lnTo>
                    <a:pt x="508932" y="3348"/>
                  </a:lnTo>
                  <a:lnTo>
                    <a:pt x="516155" y="4009"/>
                  </a:lnTo>
                  <a:lnTo>
                    <a:pt x="521696" y="6744"/>
                  </a:lnTo>
                  <a:lnTo>
                    <a:pt x="521485" y="11012"/>
                  </a:lnTo>
                  <a:lnTo>
                    <a:pt x="520250" y="12793"/>
                  </a:lnTo>
                  <a:lnTo>
                    <a:pt x="519034" y="13889"/>
                  </a:lnTo>
                  <a:lnTo>
                    <a:pt x="511938" y="17118"/>
                  </a:lnTo>
                  <a:lnTo>
                    <a:pt x="510768" y="18708"/>
                  </a:lnTo>
                  <a:lnTo>
                    <a:pt x="512996" y="19257"/>
                  </a:lnTo>
                  <a:lnTo>
                    <a:pt x="517790" y="17649"/>
                  </a:lnTo>
                  <a:lnTo>
                    <a:pt x="519032" y="19108"/>
                  </a:lnTo>
                  <a:lnTo>
                    <a:pt x="517505" y="22756"/>
                  </a:lnTo>
                  <a:lnTo>
                    <a:pt x="517246" y="28220"/>
                  </a:lnTo>
                  <a:lnTo>
                    <a:pt x="516693" y="31401"/>
                  </a:lnTo>
                  <a:lnTo>
                    <a:pt x="516693" y="34298"/>
                  </a:lnTo>
                  <a:lnTo>
                    <a:pt x="517289" y="35851"/>
                  </a:lnTo>
                  <a:lnTo>
                    <a:pt x="519215" y="29687"/>
                  </a:lnTo>
                  <a:lnTo>
                    <a:pt x="519874" y="28105"/>
                  </a:lnTo>
                  <a:lnTo>
                    <a:pt x="522692" y="25777"/>
                  </a:lnTo>
                  <a:lnTo>
                    <a:pt x="523741" y="21079"/>
                  </a:lnTo>
                  <a:lnTo>
                    <a:pt x="526497" y="15427"/>
                  </a:lnTo>
                  <a:lnTo>
                    <a:pt x="529602" y="12136"/>
                  </a:lnTo>
                  <a:lnTo>
                    <a:pt x="531409" y="11232"/>
                  </a:lnTo>
                  <a:lnTo>
                    <a:pt x="537397" y="11362"/>
                  </a:lnTo>
                  <a:lnTo>
                    <a:pt x="539967" y="12602"/>
                  </a:lnTo>
                  <a:lnTo>
                    <a:pt x="542234" y="15355"/>
                  </a:lnTo>
                  <a:lnTo>
                    <a:pt x="543927" y="16453"/>
                  </a:lnTo>
                  <a:lnTo>
                    <a:pt x="549265" y="17621"/>
                  </a:lnTo>
                  <a:lnTo>
                    <a:pt x="551098" y="19084"/>
                  </a:lnTo>
                  <a:lnTo>
                    <a:pt x="551442" y="19955"/>
                  </a:lnTo>
                  <a:lnTo>
                    <a:pt x="552746" y="20128"/>
                  </a:lnTo>
                  <a:lnTo>
                    <a:pt x="556348" y="18048"/>
                  </a:lnTo>
                  <a:lnTo>
                    <a:pt x="558687" y="17703"/>
                  </a:lnTo>
                  <a:lnTo>
                    <a:pt x="562502" y="20944"/>
                  </a:lnTo>
                  <a:lnTo>
                    <a:pt x="561736" y="23340"/>
                  </a:lnTo>
                  <a:lnTo>
                    <a:pt x="561960" y="24100"/>
                  </a:lnTo>
                  <a:lnTo>
                    <a:pt x="566579" y="23946"/>
                  </a:lnTo>
                  <a:lnTo>
                    <a:pt x="570423" y="24885"/>
                  </a:lnTo>
                  <a:lnTo>
                    <a:pt x="577730" y="29778"/>
                  </a:lnTo>
                  <a:lnTo>
                    <a:pt x="578488" y="32061"/>
                  </a:lnTo>
                  <a:lnTo>
                    <a:pt x="578123" y="34824"/>
                  </a:lnTo>
                  <a:lnTo>
                    <a:pt x="567616" y="37866"/>
                  </a:lnTo>
                  <a:lnTo>
                    <a:pt x="563062" y="40768"/>
                  </a:lnTo>
                  <a:lnTo>
                    <a:pt x="555608" y="41887"/>
                  </a:lnTo>
                  <a:lnTo>
                    <a:pt x="530295" y="39947"/>
                  </a:lnTo>
                  <a:lnTo>
                    <a:pt x="530807" y="42044"/>
                  </a:lnTo>
                  <a:lnTo>
                    <a:pt x="548432" y="46625"/>
                  </a:lnTo>
                  <a:lnTo>
                    <a:pt x="549438" y="47931"/>
                  </a:lnTo>
                  <a:lnTo>
                    <a:pt x="548874" y="50679"/>
                  </a:lnTo>
                  <a:lnTo>
                    <a:pt x="548866" y="52881"/>
                  </a:lnTo>
                  <a:lnTo>
                    <a:pt x="549196" y="54381"/>
                  </a:lnTo>
                  <a:lnTo>
                    <a:pt x="550494" y="55779"/>
                  </a:lnTo>
                  <a:lnTo>
                    <a:pt x="552649" y="56436"/>
                  </a:lnTo>
                  <a:lnTo>
                    <a:pt x="557033" y="56090"/>
                  </a:lnTo>
                  <a:lnTo>
                    <a:pt x="559198" y="56841"/>
                  </a:lnTo>
                  <a:lnTo>
                    <a:pt x="560678" y="55726"/>
                  </a:lnTo>
                  <a:lnTo>
                    <a:pt x="561228" y="51977"/>
                  </a:lnTo>
                  <a:lnTo>
                    <a:pt x="562500" y="51147"/>
                  </a:lnTo>
                  <a:lnTo>
                    <a:pt x="564960" y="52236"/>
                  </a:lnTo>
                  <a:lnTo>
                    <a:pt x="566031" y="56242"/>
                  </a:lnTo>
                  <a:lnTo>
                    <a:pt x="566717" y="56657"/>
                  </a:lnTo>
                  <a:lnTo>
                    <a:pt x="567957" y="53800"/>
                  </a:lnTo>
                  <a:lnTo>
                    <a:pt x="570393" y="54006"/>
                  </a:lnTo>
                  <a:lnTo>
                    <a:pt x="573044" y="53768"/>
                  </a:lnTo>
                  <a:lnTo>
                    <a:pt x="576478" y="54250"/>
                  </a:lnTo>
                  <a:lnTo>
                    <a:pt x="577681" y="59427"/>
                  </a:lnTo>
                  <a:lnTo>
                    <a:pt x="577644" y="61230"/>
                  </a:lnTo>
                  <a:lnTo>
                    <a:pt x="577074" y="62978"/>
                  </a:lnTo>
                  <a:lnTo>
                    <a:pt x="576279" y="63871"/>
                  </a:lnTo>
                  <a:lnTo>
                    <a:pt x="574690" y="64260"/>
                  </a:lnTo>
                  <a:lnTo>
                    <a:pt x="570855" y="64101"/>
                  </a:lnTo>
                  <a:lnTo>
                    <a:pt x="565642" y="62058"/>
                  </a:lnTo>
                  <a:lnTo>
                    <a:pt x="562278" y="60133"/>
                  </a:lnTo>
                  <a:lnTo>
                    <a:pt x="561230" y="60052"/>
                  </a:lnTo>
                  <a:lnTo>
                    <a:pt x="560779" y="60286"/>
                  </a:lnTo>
                  <a:lnTo>
                    <a:pt x="561591" y="62220"/>
                  </a:lnTo>
                  <a:lnTo>
                    <a:pt x="561375" y="63701"/>
                  </a:lnTo>
                  <a:lnTo>
                    <a:pt x="560868" y="65313"/>
                  </a:lnTo>
                  <a:lnTo>
                    <a:pt x="560162" y="66774"/>
                  </a:lnTo>
                  <a:lnTo>
                    <a:pt x="559177" y="68002"/>
                  </a:lnTo>
                  <a:lnTo>
                    <a:pt x="557115" y="69580"/>
                  </a:lnTo>
                  <a:lnTo>
                    <a:pt x="553547" y="70830"/>
                  </a:lnTo>
                  <a:lnTo>
                    <a:pt x="543720" y="73260"/>
                  </a:lnTo>
                  <a:lnTo>
                    <a:pt x="542940" y="74333"/>
                  </a:lnTo>
                  <a:lnTo>
                    <a:pt x="539777" y="81084"/>
                  </a:lnTo>
                  <a:lnTo>
                    <a:pt x="538913" y="82073"/>
                  </a:lnTo>
                  <a:lnTo>
                    <a:pt x="537756" y="82910"/>
                  </a:lnTo>
                  <a:lnTo>
                    <a:pt x="534379" y="83995"/>
                  </a:lnTo>
                  <a:lnTo>
                    <a:pt x="532744" y="82497"/>
                  </a:lnTo>
                  <a:lnTo>
                    <a:pt x="531433" y="80230"/>
                  </a:lnTo>
                  <a:lnTo>
                    <a:pt x="531735" y="77980"/>
                  </a:lnTo>
                  <a:lnTo>
                    <a:pt x="535685" y="73656"/>
                  </a:lnTo>
                  <a:lnTo>
                    <a:pt x="539375" y="70586"/>
                  </a:lnTo>
                  <a:lnTo>
                    <a:pt x="540416" y="69522"/>
                  </a:lnTo>
                  <a:lnTo>
                    <a:pt x="542506" y="66432"/>
                  </a:lnTo>
                  <a:lnTo>
                    <a:pt x="538265" y="58655"/>
                  </a:lnTo>
                  <a:lnTo>
                    <a:pt x="530720" y="56294"/>
                  </a:lnTo>
                  <a:lnTo>
                    <a:pt x="522126" y="52702"/>
                  </a:lnTo>
                  <a:lnTo>
                    <a:pt x="518973" y="50783"/>
                  </a:lnTo>
                  <a:lnTo>
                    <a:pt x="514067" y="46826"/>
                  </a:lnTo>
                  <a:lnTo>
                    <a:pt x="510589" y="43266"/>
                  </a:lnTo>
                  <a:lnTo>
                    <a:pt x="507447" y="43140"/>
                  </a:lnTo>
                  <a:lnTo>
                    <a:pt x="503994" y="44035"/>
                  </a:lnTo>
                  <a:lnTo>
                    <a:pt x="498606" y="47285"/>
                  </a:lnTo>
                  <a:lnTo>
                    <a:pt x="495458" y="48918"/>
                  </a:lnTo>
                  <a:lnTo>
                    <a:pt x="493730" y="49400"/>
                  </a:lnTo>
                  <a:lnTo>
                    <a:pt x="493313" y="49471"/>
                  </a:lnTo>
                  <a:lnTo>
                    <a:pt x="489457" y="48546"/>
                  </a:lnTo>
                  <a:lnTo>
                    <a:pt x="485166" y="48351"/>
                  </a:lnTo>
                  <a:lnTo>
                    <a:pt x="481717" y="48617"/>
                  </a:lnTo>
                  <a:lnTo>
                    <a:pt x="480415" y="49063"/>
                  </a:lnTo>
                  <a:lnTo>
                    <a:pt x="475613" y="54309"/>
                  </a:lnTo>
                  <a:lnTo>
                    <a:pt x="472251" y="56954"/>
                  </a:lnTo>
                  <a:lnTo>
                    <a:pt x="470400" y="57864"/>
                  </a:lnTo>
                  <a:lnTo>
                    <a:pt x="469053" y="59393"/>
                  </a:lnTo>
                  <a:lnTo>
                    <a:pt x="467947" y="61904"/>
                  </a:lnTo>
                  <a:lnTo>
                    <a:pt x="465486" y="70594"/>
                  </a:lnTo>
                  <a:lnTo>
                    <a:pt x="463650" y="73863"/>
                  </a:lnTo>
                  <a:lnTo>
                    <a:pt x="463240" y="75858"/>
                  </a:lnTo>
                  <a:lnTo>
                    <a:pt x="463672" y="81895"/>
                  </a:lnTo>
                  <a:lnTo>
                    <a:pt x="463233" y="85229"/>
                  </a:lnTo>
                  <a:lnTo>
                    <a:pt x="460985" y="87977"/>
                  </a:lnTo>
                  <a:lnTo>
                    <a:pt x="459407" y="89213"/>
                  </a:lnTo>
                  <a:lnTo>
                    <a:pt x="457319" y="89467"/>
                  </a:lnTo>
                  <a:lnTo>
                    <a:pt x="454583" y="90168"/>
                  </a:lnTo>
                  <a:lnTo>
                    <a:pt x="452194" y="91756"/>
                  </a:lnTo>
                  <a:lnTo>
                    <a:pt x="450508" y="93919"/>
                  </a:lnTo>
                  <a:lnTo>
                    <a:pt x="448607" y="98760"/>
                  </a:lnTo>
                  <a:lnTo>
                    <a:pt x="445390" y="100541"/>
                  </a:lnTo>
                  <a:lnTo>
                    <a:pt x="442317" y="100033"/>
                  </a:lnTo>
                  <a:lnTo>
                    <a:pt x="440123" y="98251"/>
                  </a:lnTo>
                  <a:lnTo>
                    <a:pt x="435420" y="96871"/>
                  </a:lnTo>
                  <a:lnTo>
                    <a:pt x="431915" y="95991"/>
                  </a:lnTo>
                  <a:lnTo>
                    <a:pt x="427981" y="94089"/>
                  </a:lnTo>
                  <a:lnTo>
                    <a:pt x="424516" y="92640"/>
                  </a:lnTo>
                  <a:lnTo>
                    <a:pt x="421345" y="92352"/>
                  </a:lnTo>
                  <a:lnTo>
                    <a:pt x="419545" y="94184"/>
                  </a:lnTo>
                  <a:lnTo>
                    <a:pt x="418095" y="95901"/>
                  </a:lnTo>
                  <a:lnTo>
                    <a:pt x="412688" y="97296"/>
                  </a:lnTo>
                  <a:lnTo>
                    <a:pt x="409627" y="98399"/>
                  </a:lnTo>
                  <a:lnTo>
                    <a:pt x="405653" y="98645"/>
                  </a:lnTo>
                  <a:lnTo>
                    <a:pt x="404047" y="97422"/>
                  </a:lnTo>
                  <a:lnTo>
                    <a:pt x="398283" y="96615"/>
                  </a:lnTo>
                  <a:lnTo>
                    <a:pt x="391421" y="95656"/>
                  </a:lnTo>
                  <a:lnTo>
                    <a:pt x="389436" y="95670"/>
                  </a:lnTo>
                  <a:lnTo>
                    <a:pt x="388817" y="93482"/>
                  </a:lnTo>
                  <a:lnTo>
                    <a:pt x="386992" y="90423"/>
                  </a:lnTo>
                  <a:lnTo>
                    <a:pt x="382112" y="85126"/>
                  </a:lnTo>
                  <a:lnTo>
                    <a:pt x="380116" y="83253"/>
                  </a:lnTo>
                  <a:lnTo>
                    <a:pt x="376363" y="78851"/>
                  </a:lnTo>
                  <a:lnTo>
                    <a:pt x="371986" y="74329"/>
                  </a:lnTo>
                  <a:lnTo>
                    <a:pt x="371366" y="74217"/>
                  </a:lnTo>
                  <a:lnTo>
                    <a:pt x="368436" y="74065"/>
                  </a:lnTo>
                  <a:lnTo>
                    <a:pt x="364137" y="74214"/>
                  </a:lnTo>
                  <a:lnTo>
                    <a:pt x="361416" y="75242"/>
                  </a:lnTo>
                  <a:lnTo>
                    <a:pt x="359699" y="76533"/>
                  </a:lnTo>
                  <a:lnTo>
                    <a:pt x="359401" y="77604"/>
                  </a:lnTo>
                  <a:lnTo>
                    <a:pt x="361064" y="81713"/>
                  </a:lnTo>
                  <a:lnTo>
                    <a:pt x="360548" y="82736"/>
                  </a:lnTo>
                  <a:lnTo>
                    <a:pt x="359691" y="83228"/>
                  </a:lnTo>
                  <a:lnTo>
                    <a:pt x="355789" y="82077"/>
                  </a:lnTo>
                  <a:lnTo>
                    <a:pt x="351070" y="82153"/>
                  </a:lnTo>
                  <a:lnTo>
                    <a:pt x="349882" y="83418"/>
                  </a:lnTo>
                  <a:lnTo>
                    <a:pt x="347004" y="83556"/>
                  </a:lnTo>
                  <a:lnTo>
                    <a:pt x="338706" y="84037"/>
                  </a:lnTo>
                  <a:lnTo>
                    <a:pt x="342368" y="87389"/>
                  </a:lnTo>
                  <a:lnTo>
                    <a:pt x="343579" y="88730"/>
                  </a:lnTo>
                  <a:lnTo>
                    <a:pt x="343821" y="90698"/>
                  </a:lnTo>
                  <a:lnTo>
                    <a:pt x="343189" y="94352"/>
                  </a:lnTo>
                  <a:lnTo>
                    <a:pt x="341433" y="97469"/>
                  </a:lnTo>
                  <a:lnTo>
                    <a:pt x="339386" y="100001"/>
                  </a:lnTo>
                  <a:lnTo>
                    <a:pt x="335436" y="102509"/>
                  </a:lnTo>
                  <a:lnTo>
                    <a:pt x="341433" y="104984"/>
                  </a:lnTo>
                  <a:lnTo>
                    <a:pt x="337363" y="108323"/>
                  </a:lnTo>
                  <a:lnTo>
                    <a:pt x="335458" y="109623"/>
                  </a:lnTo>
                  <a:lnTo>
                    <a:pt x="333251" y="109399"/>
                  </a:lnTo>
                  <a:lnTo>
                    <a:pt x="329297" y="108244"/>
                  </a:lnTo>
                  <a:lnTo>
                    <a:pt x="319740" y="105452"/>
                  </a:lnTo>
                  <a:lnTo>
                    <a:pt x="315177" y="104401"/>
                  </a:lnTo>
                  <a:lnTo>
                    <a:pt x="311100" y="104079"/>
                  </a:lnTo>
                  <a:lnTo>
                    <a:pt x="308923" y="104120"/>
                  </a:lnTo>
                  <a:lnTo>
                    <a:pt x="300273" y="101727"/>
                  </a:lnTo>
                  <a:lnTo>
                    <a:pt x="298602" y="101995"/>
                  </a:lnTo>
                  <a:lnTo>
                    <a:pt x="295496" y="103032"/>
                  </a:lnTo>
                  <a:lnTo>
                    <a:pt x="295153" y="105358"/>
                  </a:lnTo>
                  <a:lnTo>
                    <a:pt x="295349" y="111135"/>
                  </a:lnTo>
                  <a:lnTo>
                    <a:pt x="295807" y="115572"/>
                  </a:lnTo>
                  <a:lnTo>
                    <a:pt x="294665" y="118133"/>
                  </a:lnTo>
                  <a:lnTo>
                    <a:pt x="293520" y="119869"/>
                  </a:lnTo>
                  <a:lnTo>
                    <a:pt x="290059" y="124542"/>
                  </a:lnTo>
                  <a:lnTo>
                    <a:pt x="282277" y="121367"/>
                  </a:lnTo>
                  <a:lnTo>
                    <a:pt x="276967" y="119261"/>
                  </a:lnTo>
                  <a:lnTo>
                    <a:pt x="273559" y="122064"/>
                  </a:lnTo>
                  <a:lnTo>
                    <a:pt x="265004" y="127192"/>
                  </a:lnTo>
                  <a:lnTo>
                    <a:pt x="260624" y="137276"/>
                  </a:lnTo>
                  <a:lnTo>
                    <a:pt x="260372" y="137605"/>
                  </a:lnTo>
                  <a:lnTo>
                    <a:pt x="257785" y="140161"/>
                  </a:lnTo>
                  <a:lnTo>
                    <a:pt x="254468" y="141334"/>
                  </a:lnTo>
                  <a:lnTo>
                    <a:pt x="251957" y="141914"/>
                  </a:lnTo>
                  <a:lnTo>
                    <a:pt x="250495" y="144897"/>
                  </a:lnTo>
                  <a:lnTo>
                    <a:pt x="253902" y="149167"/>
                  </a:lnTo>
                  <a:lnTo>
                    <a:pt x="255651" y="151417"/>
                  </a:lnTo>
                  <a:lnTo>
                    <a:pt x="257280" y="155042"/>
                  </a:lnTo>
                  <a:lnTo>
                    <a:pt x="256979" y="157347"/>
                  </a:lnTo>
                  <a:lnTo>
                    <a:pt x="256599" y="158780"/>
                  </a:lnTo>
                  <a:lnTo>
                    <a:pt x="252933" y="161708"/>
                  </a:lnTo>
                  <a:lnTo>
                    <a:pt x="245116" y="169424"/>
                  </a:lnTo>
                  <a:lnTo>
                    <a:pt x="237882" y="177449"/>
                  </a:lnTo>
                  <a:lnTo>
                    <a:pt x="234917" y="179747"/>
                  </a:lnTo>
                  <a:lnTo>
                    <a:pt x="236262" y="186523"/>
                  </a:lnTo>
                  <a:lnTo>
                    <a:pt x="233855" y="188504"/>
                  </a:lnTo>
                  <a:lnTo>
                    <a:pt x="228955" y="190744"/>
                  </a:lnTo>
                  <a:lnTo>
                    <a:pt x="226450" y="191608"/>
                  </a:lnTo>
                  <a:lnTo>
                    <a:pt x="223751" y="192114"/>
                  </a:lnTo>
                  <a:lnTo>
                    <a:pt x="215465" y="193008"/>
                  </a:lnTo>
                  <a:lnTo>
                    <a:pt x="216940" y="200220"/>
                  </a:lnTo>
                  <a:lnTo>
                    <a:pt x="217497" y="203404"/>
                  </a:lnTo>
                  <a:lnTo>
                    <a:pt x="217484" y="205291"/>
                  </a:lnTo>
                  <a:lnTo>
                    <a:pt x="216627" y="207126"/>
                  </a:lnTo>
                  <a:lnTo>
                    <a:pt x="215603" y="210635"/>
                  </a:lnTo>
                  <a:lnTo>
                    <a:pt x="214059" y="223129"/>
                  </a:lnTo>
                  <a:lnTo>
                    <a:pt x="212878" y="224469"/>
                  </a:lnTo>
                  <a:lnTo>
                    <a:pt x="211246" y="227840"/>
                  </a:lnTo>
                  <a:lnTo>
                    <a:pt x="205999" y="235919"/>
                  </a:lnTo>
                  <a:lnTo>
                    <a:pt x="201790" y="241272"/>
                  </a:lnTo>
                  <a:lnTo>
                    <a:pt x="195720" y="248960"/>
                  </a:lnTo>
                  <a:lnTo>
                    <a:pt x="200656" y="251381"/>
                  </a:lnTo>
                  <a:lnTo>
                    <a:pt x="205169" y="253145"/>
                  </a:lnTo>
                  <a:lnTo>
                    <a:pt x="206104" y="255857"/>
                  </a:lnTo>
                  <a:lnTo>
                    <a:pt x="206726" y="260380"/>
                  </a:lnTo>
                  <a:lnTo>
                    <a:pt x="206575" y="263453"/>
                  </a:lnTo>
                  <a:lnTo>
                    <a:pt x="204852" y="266213"/>
                  </a:lnTo>
                  <a:lnTo>
                    <a:pt x="203513" y="268148"/>
                  </a:lnTo>
                  <a:lnTo>
                    <a:pt x="202580" y="269091"/>
                  </a:lnTo>
                  <a:lnTo>
                    <a:pt x="196171" y="268152"/>
                  </a:lnTo>
                  <a:lnTo>
                    <a:pt x="187966" y="266945"/>
                  </a:lnTo>
                  <a:lnTo>
                    <a:pt x="185841" y="266934"/>
                  </a:lnTo>
                  <a:lnTo>
                    <a:pt x="181066" y="267803"/>
                  </a:lnTo>
                  <a:lnTo>
                    <a:pt x="176758" y="269586"/>
                  </a:lnTo>
                  <a:lnTo>
                    <a:pt x="174487" y="271088"/>
                  </a:lnTo>
                  <a:lnTo>
                    <a:pt x="173878" y="271685"/>
                  </a:lnTo>
                  <a:lnTo>
                    <a:pt x="171008" y="275099"/>
                  </a:lnTo>
                  <a:lnTo>
                    <a:pt x="165905" y="281156"/>
                  </a:lnTo>
                  <a:lnTo>
                    <a:pt x="163102" y="283795"/>
                  </a:lnTo>
                  <a:lnTo>
                    <a:pt x="163919" y="287426"/>
                  </a:lnTo>
                  <a:lnTo>
                    <a:pt x="159226" y="294429"/>
                  </a:lnTo>
                  <a:lnTo>
                    <a:pt x="162295" y="301478"/>
                  </a:lnTo>
                  <a:lnTo>
                    <a:pt x="162426" y="301709"/>
                  </a:lnTo>
                  <a:lnTo>
                    <a:pt x="164052" y="304551"/>
                  </a:lnTo>
                  <a:lnTo>
                    <a:pt x="162347" y="306381"/>
                  </a:lnTo>
                  <a:lnTo>
                    <a:pt x="161630" y="307364"/>
                  </a:lnTo>
                  <a:lnTo>
                    <a:pt x="161873" y="310603"/>
                  </a:lnTo>
                  <a:lnTo>
                    <a:pt x="162321" y="314217"/>
                  </a:lnTo>
                  <a:lnTo>
                    <a:pt x="161923" y="316334"/>
                  </a:lnTo>
                  <a:lnTo>
                    <a:pt x="161761" y="318682"/>
                  </a:lnTo>
                  <a:lnTo>
                    <a:pt x="165940" y="329208"/>
                  </a:lnTo>
                  <a:lnTo>
                    <a:pt x="165892" y="331669"/>
                  </a:lnTo>
                  <a:lnTo>
                    <a:pt x="165685" y="333254"/>
                  </a:lnTo>
                  <a:lnTo>
                    <a:pt x="164396" y="339764"/>
                  </a:lnTo>
                  <a:lnTo>
                    <a:pt x="162664" y="348480"/>
                  </a:lnTo>
                  <a:lnTo>
                    <a:pt x="165687" y="350764"/>
                  </a:lnTo>
                  <a:lnTo>
                    <a:pt x="169993" y="353492"/>
                  </a:lnTo>
                  <a:lnTo>
                    <a:pt x="172409" y="354565"/>
                  </a:lnTo>
                  <a:lnTo>
                    <a:pt x="175979" y="357800"/>
                  </a:lnTo>
                  <a:lnTo>
                    <a:pt x="178704" y="360956"/>
                  </a:lnTo>
                  <a:lnTo>
                    <a:pt x="178326" y="363049"/>
                  </a:lnTo>
                  <a:lnTo>
                    <a:pt x="177542" y="365356"/>
                  </a:lnTo>
                  <a:lnTo>
                    <a:pt x="176395" y="366968"/>
                  </a:lnTo>
                  <a:lnTo>
                    <a:pt x="175322" y="369179"/>
                  </a:lnTo>
                  <a:lnTo>
                    <a:pt x="174841" y="370806"/>
                  </a:lnTo>
                  <a:lnTo>
                    <a:pt x="174331" y="371244"/>
                  </a:lnTo>
                  <a:lnTo>
                    <a:pt x="169568" y="371422"/>
                  </a:lnTo>
                  <a:lnTo>
                    <a:pt x="167049" y="372037"/>
                  </a:lnTo>
                  <a:lnTo>
                    <a:pt x="165732" y="372726"/>
                  </a:lnTo>
                  <a:lnTo>
                    <a:pt x="166186" y="376434"/>
                  </a:lnTo>
                  <a:lnTo>
                    <a:pt x="169075" y="383209"/>
                  </a:lnTo>
                  <a:lnTo>
                    <a:pt x="171474" y="388013"/>
                  </a:lnTo>
                  <a:lnTo>
                    <a:pt x="172245" y="391175"/>
                  </a:lnTo>
                  <a:lnTo>
                    <a:pt x="171453" y="394375"/>
                  </a:lnTo>
                  <a:lnTo>
                    <a:pt x="170634" y="396012"/>
                  </a:lnTo>
                  <a:lnTo>
                    <a:pt x="170608" y="398214"/>
                  </a:lnTo>
                  <a:lnTo>
                    <a:pt x="169978" y="402590"/>
                  </a:lnTo>
                  <a:lnTo>
                    <a:pt x="168118" y="404799"/>
                  </a:lnTo>
                  <a:lnTo>
                    <a:pt x="165685" y="407204"/>
                  </a:lnTo>
                  <a:lnTo>
                    <a:pt x="162971" y="408999"/>
                  </a:lnTo>
                  <a:lnTo>
                    <a:pt x="160818" y="409503"/>
                  </a:lnTo>
                  <a:lnTo>
                    <a:pt x="158969" y="409711"/>
                  </a:lnTo>
                  <a:lnTo>
                    <a:pt x="157728" y="410622"/>
                  </a:lnTo>
                  <a:lnTo>
                    <a:pt x="156602" y="413299"/>
                  </a:lnTo>
                  <a:lnTo>
                    <a:pt x="155564" y="416106"/>
                  </a:lnTo>
                  <a:lnTo>
                    <a:pt x="152169" y="419553"/>
                  </a:lnTo>
                  <a:lnTo>
                    <a:pt x="152260" y="420752"/>
                  </a:lnTo>
                  <a:lnTo>
                    <a:pt x="153553" y="424829"/>
                  </a:lnTo>
                  <a:lnTo>
                    <a:pt x="154765" y="429460"/>
                  </a:lnTo>
                  <a:lnTo>
                    <a:pt x="153741" y="433781"/>
                  </a:lnTo>
                  <a:lnTo>
                    <a:pt x="152865" y="438308"/>
                  </a:lnTo>
                  <a:lnTo>
                    <a:pt x="151329" y="441320"/>
                  </a:lnTo>
                  <a:lnTo>
                    <a:pt x="149135" y="442395"/>
                  </a:lnTo>
                  <a:lnTo>
                    <a:pt x="147524" y="441858"/>
                  </a:lnTo>
                  <a:lnTo>
                    <a:pt x="145702" y="437727"/>
                  </a:lnTo>
                  <a:lnTo>
                    <a:pt x="145661" y="436776"/>
                  </a:lnTo>
                  <a:lnTo>
                    <a:pt x="145207" y="435511"/>
                  </a:lnTo>
                  <a:lnTo>
                    <a:pt x="140038" y="434250"/>
                  </a:lnTo>
                  <a:lnTo>
                    <a:pt x="139124" y="434296"/>
                  </a:lnTo>
                  <a:lnTo>
                    <a:pt x="137092" y="433557"/>
                  </a:lnTo>
                  <a:lnTo>
                    <a:pt x="135901" y="433348"/>
                  </a:lnTo>
                  <a:lnTo>
                    <a:pt x="133456" y="432921"/>
                  </a:lnTo>
                  <a:lnTo>
                    <a:pt x="131424" y="429261"/>
                  </a:lnTo>
                  <a:lnTo>
                    <a:pt x="129265" y="426212"/>
                  </a:lnTo>
                  <a:lnTo>
                    <a:pt x="128958" y="424936"/>
                  </a:lnTo>
                  <a:lnTo>
                    <a:pt x="129032" y="419218"/>
                  </a:lnTo>
                  <a:lnTo>
                    <a:pt x="128371" y="416670"/>
                  </a:lnTo>
                  <a:lnTo>
                    <a:pt x="128168" y="413889"/>
                  </a:lnTo>
                  <a:lnTo>
                    <a:pt x="126809" y="416151"/>
                  </a:lnTo>
                  <a:lnTo>
                    <a:pt x="127598" y="419723"/>
                  </a:lnTo>
                  <a:lnTo>
                    <a:pt x="125922" y="421220"/>
                  </a:lnTo>
                  <a:lnTo>
                    <a:pt x="123808" y="421947"/>
                  </a:lnTo>
                  <a:lnTo>
                    <a:pt x="124007" y="424035"/>
                  </a:lnTo>
                  <a:lnTo>
                    <a:pt x="124875" y="424430"/>
                  </a:lnTo>
                  <a:lnTo>
                    <a:pt x="125056" y="426595"/>
                  </a:lnTo>
                  <a:lnTo>
                    <a:pt x="124542" y="429796"/>
                  </a:lnTo>
                  <a:lnTo>
                    <a:pt x="120381" y="436895"/>
                  </a:lnTo>
                  <a:lnTo>
                    <a:pt x="119541" y="437657"/>
                  </a:lnTo>
                  <a:lnTo>
                    <a:pt x="118971" y="438614"/>
                  </a:lnTo>
                  <a:lnTo>
                    <a:pt x="116842" y="437978"/>
                  </a:lnTo>
                  <a:lnTo>
                    <a:pt x="114110" y="439950"/>
                  </a:lnTo>
                  <a:lnTo>
                    <a:pt x="111523" y="440266"/>
                  </a:lnTo>
                  <a:lnTo>
                    <a:pt x="110586" y="438035"/>
                  </a:lnTo>
                  <a:lnTo>
                    <a:pt x="106936" y="435079"/>
                  </a:lnTo>
                  <a:lnTo>
                    <a:pt x="105213" y="435245"/>
                  </a:lnTo>
                  <a:lnTo>
                    <a:pt x="106760" y="436704"/>
                  </a:lnTo>
                  <a:lnTo>
                    <a:pt x="108284" y="438599"/>
                  </a:lnTo>
                  <a:lnTo>
                    <a:pt x="107418" y="439853"/>
                  </a:lnTo>
                  <a:lnTo>
                    <a:pt x="106567" y="440671"/>
                  </a:lnTo>
                  <a:lnTo>
                    <a:pt x="105077" y="441095"/>
                  </a:lnTo>
                  <a:lnTo>
                    <a:pt x="99746" y="443570"/>
                  </a:lnTo>
                  <a:lnTo>
                    <a:pt x="101644" y="445231"/>
                  </a:lnTo>
                  <a:lnTo>
                    <a:pt x="100033" y="447116"/>
                  </a:lnTo>
                  <a:lnTo>
                    <a:pt x="98170" y="447393"/>
                  </a:lnTo>
                  <a:lnTo>
                    <a:pt x="97176" y="448273"/>
                  </a:lnTo>
                  <a:lnTo>
                    <a:pt x="96831" y="449467"/>
                  </a:lnTo>
                  <a:lnTo>
                    <a:pt x="91309" y="452866"/>
                  </a:lnTo>
                  <a:lnTo>
                    <a:pt x="82309" y="461559"/>
                  </a:lnTo>
                  <a:lnTo>
                    <a:pt x="77684" y="464009"/>
                  </a:lnTo>
                  <a:lnTo>
                    <a:pt x="74453" y="466554"/>
                  </a:lnTo>
                  <a:lnTo>
                    <a:pt x="71607" y="466491"/>
                  </a:lnTo>
                  <a:lnTo>
                    <a:pt x="68029" y="468652"/>
                  </a:lnTo>
                  <a:lnTo>
                    <a:pt x="58970" y="470547"/>
                  </a:lnTo>
                  <a:lnTo>
                    <a:pt x="52961" y="469690"/>
                  </a:lnTo>
                  <a:lnTo>
                    <a:pt x="48776" y="470442"/>
                  </a:lnTo>
                  <a:lnTo>
                    <a:pt x="46532" y="468957"/>
                  </a:lnTo>
                  <a:lnTo>
                    <a:pt x="46241" y="467936"/>
                  </a:lnTo>
                  <a:lnTo>
                    <a:pt x="46353" y="467343"/>
                  </a:lnTo>
                  <a:lnTo>
                    <a:pt x="46729" y="466632"/>
                  </a:lnTo>
                  <a:lnTo>
                    <a:pt x="45949" y="466380"/>
                  </a:lnTo>
                  <a:lnTo>
                    <a:pt x="44308" y="466257"/>
                  </a:lnTo>
                  <a:lnTo>
                    <a:pt x="43606" y="466974"/>
                  </a:lnTo>
                  <a:lnTo>
                    <a:pt x="43511" y="468602"/>
                  </a:lnTo>
                  <a:lnTo>
                    <a:pt x="42730" y="469027"/>
                  </a:lnTo>
                  <a:lnTo>
                    <a:pt x="39613" y="468096"/>
                  </a:lnTo>
                  <a:lnTo>
                    <a:pt x="38830" y="467257"/>
                  </a:lnTo>
                  <a:lnTo>
                    <a:pt x="39950" y="465556"/>
                  </a:lnTo>
                  <a:lnTo>
                    <a:pt x="41868" y="464023"/>
                  </a:lnTo>
                  <a:lnTo>
                    <a:pt x="41520" y="463709"/>
                  </a:lnTo>
                  <a:lnTo>
                    <a:pt x="41147" y="462777"/>
                  </a:lnTo>
                  <a:lnTo>
                    <a:pt x="40211" y="462659"/>
                  </a:lnTo>
                  <a:lnTo>
                    <a:pt x="37424" y="462884"/>
                  </a:lnTo>
                  <a:lnTo>
                    <a:pt x="35159" y="462609"/>
                  </a:lnTo>
                  <a:lnTo>
                    <a:pt x="27765" y="459156"/>
                  </a:lnTo>
                  <a:lnTo>
                    <a:pt x="26038" y="457312"/>
                  </a:lnTo>
                  <a:lnTo>
                    <a:pt x="20073" y="454363"/>
                  </a:lnTo>
                  <a:lnTo>
                    <a:pt x="17400" y="451234"/>
                  </a:lnTo>
                  <a:lnTo>
                    <a:pt x="15882" y="447798"/>
                  </a:lnTo>
                  <a:lnTo>
                    <a:pt x="15996" y="444680"/>
                  </a:lnTo>
                  <a:lnTo>
                    <a:pt x="16728" y="439723"/>
                  </a:lnTo>
                  <a:lnTo>
                    <a:pt x="17981" y="438496"/>
                  </a:lnTo>
                  <a:lnTo>
                    <a:pt x="23334" y="440234"/>
                  </a:lnTo>
                  <a:lnTo>
                    <a:pt x="28745" y="443134"/>
                  </a:lnTo>
                  <a:lnTo>
                    <a:pt x="29592" y="442991"/>
                  </a:lnTo>
                  <a:lnTo>
                    <a:pt x="31291" y="440715"/>
                  </a:lnTo>
                  <a:lnTo>
                    <a:pt x="34589" y="438885"/>
                  </a:lnTo>
                  <a:lnTo>
                    <a:pt x="33656" y="438380"/>
                  </a:lnTo>
                  <a:lnTo>
                    <a:pt x="28754" y="440479"/>
                  </a:lnTo>
                  <a:lnTo>
                    <a:pt x="26931" y="439316"/>
                  </a:lnTo>
                  <a:lnTo>
                    <a:pt x="24105" y="436946"/>
                  </a:lnTo>
                  <a:lnTo>
                    <a:pt x="24105" y="435725"/>
                  </a:lnTo>
                  <a:lnTo>
                    <a:pt x="25422" y="434503"/>
                  </a:lnTo>
                  <a:lnTo>
                    <a:pt x="25860" y="432849"/>
                  </a:lnTo>
                  <a:lnTo>
                    <a:pt x="25169" y="431287"/>
                  </a:lnTo>
                  <a:lnTo>
                    <a:pt x="25491" y="429160"/>
                  </a:lnTo>
                  <a:lnTo>
                    <a:pt x="27677" y="426901"/>
                  </a:lnTo>
                  <a:lnTo>
                    <a:pt x="30954" y="424611"/>
                  </a:lnTo>
                  <a:lnTo>
                    <a:pt x="33315" y="422399"/>
                  </a:lnTo>
                  <a:lnTo>
                    <a:pt x="35740" y="421036"/>
                  </a:lnTo>
                  <a:lnTo>
                    <a:pt x="35487" y="420581"/>
                  </a:lnTo>
                  <a:lnTo>
                    <a:pt x="32714" y="421449"/>
                  </a:lnTo>
                  <a:lnTo>
                    <a:pt x="30062" y="422921"/>
                  </a:lnTo>
                  <a:lnTo>
                    <a:pt x="26940" y="425385"/>
                  </a:lnTo>
                  <a:lnTo>
                    <a:pt x="23133" y="427381"/>
                  </a:lnTo>
                  <a:lnTo>
                    <a:pt x="20319" y="428155"/>
                  </a:lnTo>
                  <a:lnTo>
                    <a:pt x="18978" y="428795"/>
                  </a:lnTo>
                  <a:lnTo>
                    <a:pt x="16916" y="429417"/>
                  </a:lnTo>
                  <a:lnTo>
                    <a:pt x="14783" y="432273"/>
                  </a:lnTo>
                  <a:lnTo>
                    <a:pt x="12455" y="433495"/>
                  </a:lnTo>
                  <a:lnTo>
                    <a:pt x="8274" y="433619"/>
                  </a:lnTo>
                  <a:lnTo>
                    <a:pt x="7355" y="431533"/>
                  </a:lnTo>
                  <a:lnTo>
                    <a:pt x="8535" y="424101"/>
                  </a:lnTo>
                  <a:lnTo>
                    <a:pt x="9799" y="420472"/>
                  </a:lnTo>
                  <a:lnTo>
                    <a:pt x="11185" y="417901"/>
                  </a:lnTo>
                  <a:lnTo>
                    <a:pt x="13366" y="417468"/>
                  </a:lnTo>
                  <a:lnTo>
                    <a:pt x="14891" y="415582"/>
                  </a:lnTo>
                  <a:lnTo>
                    <a:pt x="16156" y="415582"/>
                  </a:lnTo>
                  <a:lnTo>
                    <a:pt x="17257" y="416453"/>
                  </a:lnTo>
                  <a:lnTo>
                    <a:pt x="21518" y="417297"/>
                  </a:lnTo>
                  <a:lnTo>
                    <a:pt x="23621" y="414895"/>
                  </a:lnTo>
                  <a:lnTo>
                    <a:pt x="26357" y="414543"/>
                  </a:lnTo>
                  <a:lnTo>
                    <a:pt x="31345" y="412116"/>
                  </a:lnTo>
                  <a:lnTo>
                    <a:pt x="31241" y="411674"/>
                  </a:lnTo>
                  <a:lnTo>
                    <a:pt x="27866" y="412208"/>
                  </a:lnTo>
                  <a:lnTo>
                    <a:pt x="25819" y="412287"/>
                  </a:lnTo>
                  <a:lnTo>
                    <a:pt x="22885" y="412896"/>
                  </a:lnTo>
                  <a:lnTo>
                    <a:pt x="21326" y="412461"/>
                  </a:lnTo>
                  <a:lnTo>
                    <a:pt x="20596" y="410642"/>
                  </a:lnTo>
                  <a:lnTo>
                    <a:pt x="21770" y="409002"/>
                  </a:lnTo>
                  <a:lnTo>
                    <a:pt x="26478" y="405081"/>
                  </a:lnTo>
                  <a:lnTo>
                    <a:pt x="28102" y="403361"/>
                  </a:lnTo>
                  <a:lnTo>
                    <a:pt x="29028" y="401753"/>
                  </a:lnTo>
                  <a:lnTo>
                    <a:pt x="28881" y="400658"/>
                  </a:lnTo>
                  <a:lnTo>
                    <a:pt x="29663" y="398392"/>
                  </a:lnTo>
                  <a:lnTo>
                    <a:pt x="34267" y="394426"/>
                  </a:lnTo>
                  <a:lnTo>
                    <a:pt x="38011" y="392611"/>
                  </a:lnTo>
                  <a:lnTo>
                    <a:pt x="39240" y="394173"/>
                  </a:lnTo>
                  <a:lnTo>
                    <a:pt x="38195" y="399051"/>
                  </a:lnTo>
                  <a:lnTo>
                    <a:pt x="38205" y="401062"/>
                  </a:lnTo>
                  <a:lnTo>
                    <a:pt x="41170" y="393952"/>
                  </a:lnTo>
                  <a:lnTo>
                    <a:pt x="42475" y="392258"/>
                  </a:lnTo>
                  <a:lnTo>
                    <a:pt x="43960" y="391063"/>
                  </a:lnTo>
                  <a:lnTo>
                    <a:pt x="47556" y="390260"/>
                  </a:lnTo>
                  <a:lnTo>
                    <a:pt x="48573" y="389136"/>
                  </a:lnTo>
                  <a:lnTo>
                    <a:pt x="44386" y="389508"/>
                  </a:lnTo>
                  <a:lnTo>
                    <a:pt x="34228" y="392228"/>
                  </a:lnTo>
                  <a:lnTo>
                    <a:pt x="29946" y="394649"/>
                  </a:lnTo>
                  <a:lnTo>
                    <a:pt x="28806" y="396513"/>
                  </a:lnTo>
                  <a:lnTo>
                    <a:pt x="25834" y="399318"/>
                  </a:lnTo>
                  <a:lnTo>
                    <a:pt x="24441" y="401138"/>
                  </a:lnTo>
                  <a:lnTo>
                    <a:pt x="23826" y="403807"/>
                  </a:lnTo>
                  <a:lnTo>
                    <a:pt x="22152" y="405256"/>
                  </a:lnTo>
                  <a:lnTo>
                    <a:pt x="19896" y="405791"/>
                  </a:lnTo>
                  <a:lnTo>
                    <a:pt x="16761" y="409168"/>
                  </a:lnTo>
                  <a:lnTo>
                    <a:pt x="15379" y="411878"/>
                  </a:lnTo>
                  <a:lnTo>
                    <a:pt x="12259" y="414035"/>
                  </a:lnTo>
                  <a:lnTo>
                    <a:pt x="10278" y="415692"/>
                  </a:lnTo>
                  <a:lnTo>
                    <a:pt x="9628" y="416283"/>
                  </a:lnTo>
                  <a:lnTo>
                    <a:pt x="8557" y="417911"/>
                  </a:lnTo>
                  <a:lnTo>
                    <a:pt x="7667" y="418025"/>
                  </a:lnTo>
                  <a:lnTo>
                    <a:pt x="6892" y="417071"/>
                  </a:lnTo>
                  <a:lnTo>
                    <a:pt x="6763" y="414970"/>
                  </a:lnTo>
                  <a:lnTo>
                    <a:pt x="7080" y="411611"/>
                  </a:lnTo>
                  <a:lnTo>
                    <a:pt x="8581" y="409191"/>
                  </a:lnTo>
                  <a:lnTo>
                    <a:pt x="9298" y="406824"/>
                  </a:lnTo>
                  <a:lnTo>
                    <a:pt x="8300" y="404611"/>
                  </a:lnTo>
                  <a:lnTo>
                    <a:pt x="8991" y="403214"/>
                  </a:lnTo>
                  <a:lnTo>
                    <a:pt x="10313" y="403262"/>
                  </a:lnTo>
                  <a:lnTo>
                    <a:pt x="12768" y="403899"/>
                  </a:lnTo>
                  <a:lnTo>
                    <a:pt x="15379" y="403797"/>
                  </a:lnTo>
                  <a:lnTo>
                    <a:pt x="19669" y="402047"/>
                  </a:lnTo>
                  <a:lnTo>
                    <a:pt x="18985" y="401024"/>
                  </a:lnTo>
                  <a:lnTo>
                    <a:pt x="17132" y="400878"/>
                  </a:lnTo>
                  <a:lnTo>
                    <a:pt x="13673" y="401024"/>
                  </a:lnTo>
                  <a:lnTo>
                    <a:pt x="10764" y="399313"/>
                  </a:lnTo>
                  <a:lnTo>
                    <a:pt x="8503" y="395906"/>
                  </a:lnTo>
                  <a:lnTo>
                    <a:pt x="7475" y="391346"/>
                  </a:lnTo>
                  <a:lnTo>
                    <a:pt x="8162" y="390040"/>
                  </a:lnTo>
                  <a:lnTo>
                    <a:pt x="16528" y="385382"/>
                  </a:lnTo>
                  <a:lnTo>
                    <a:pt x="18780" y="383264"/>
                  </a:lnTo>
                  <a:lnTo>
                    <a:pt x="17475" y="383054"/>
                  </a:lnTo>
                  <a:lnTo>
                    <a:pt x="14336" y="385623"/>
                  </a:lnTo>
                  <a:lnTo>
                    <a:pt x="9840" y="387216"/>
                  </a:lnTo>
                  <a:lnTo>
                    <a:pt x="7005" y="385001"/>
                  </a:lnTo>
                  <a:lnTo>
                    <a:pt x="5530" y="382612"/>
                  </a:lnTo>
                  <a:lnTo>
                    <a:pt x="4681" y="377560"/>
                  </a:lnTo>
                  <a:lnTo>
                    <a:pt x="4988" y="374959"/>
                  </a:lnTo>
                  <a:lnTo>
                    <a:pt x="4633" y="371534"/>
                  </a:lnTo>
                  <a:lnTo>
                    <a:pt x="6553" y="370420"/>
                  </a:lnTo>
                  <a:lnTo>
                    <a:pt x="8700" y="371012"/>
                  </a:lnTo>
                  <a:lnTo>
                    <a:pt x="10816" y="371232"/>
                  </a:lnTo>
                  <a:lnTo>
                    <a:pt x="15616" y="370932"/>
                  </a:lnTo>
                  <a:lnTo>
                    <a:pt x="26201" y="368874"/>
                  </a:lnTo>
                  <a:lnTo>
                    <a:pt x="33025" y="370097"/>
                  </a:lnTo>
                  <a:lnTo>
                    <a:pt x="35798" y="369985"/>
                  </a:lnTo>
                  <a:lnTo>
                    <a:pt x="40041" y="368212"/>
                  </a:lnTo>
                  <a:lnTo>
                    <a:pt x="43755" y="368029"/>
                  </a:lnTo>
                  <a:lnTo>
                    <a:pt x="46532" y="369384"/>
                  </a:lnTo>
                  <a:lnTo>
                    <a:pt x="48050" y="370937"/>
                  </a:lnTo>
                  <a:lnTo>
                    <a:pt x="48238" y="373013"/>
                  </a:lnTo>
                  <a:lnTo>
                    <a:pt x="49523" y="374396"/>
                  </a:lnTo>
                  <a:lnTo>
                    <a:pt x="50391" y="373947"/>
                  </a:lnTo>
                  <a:lnTo>
                    <a:pt x="49700" y="372303"/>
                  </a:lnTo>
                  <a:lnTo>
                    <a:pt x="49555" y="369753"/>
                  </a:lnTo>
                  <a:lnTo>
                    <a:pt x="60719" y="366861"/>
                  </a:lnTo>
                  <a:lnTo>
                    <a:pt x="62035" y="365736"/>
                  </a:lnTo>
                  <a:lnTo>
                    <a:pt x="57599" y="365345"/>
                  </a:lnTo>
                  <a:lnTo>
                    <a:pt x="56331" y="362701"/>
                  </a:lnTo>
                  <a:lnTo>
                    <a:pt x="58674" y="358695"/>
                  </a:lnTo>
                  <a:lnTo>
                    <a:pt x="58454" y="358175"/>
                  </a:lnTo>
                  <a:lnTo>
                    <a:pt x="55990" y="360290"/>
                  </a:lnTo>
                  <a:lnTo>
                    <a:pt x="54777" y="363263"/>
                  </a:lnTo>
                  <a:lnTo>
                    <a:pt x="55258" y="365633"/>
                  </a:lnTo>
                  <a:lnTo>
                    <a:pt x="54770" y="366733"/>
                  </a:lnTo>
                  <a:lnTo>
                    <a:pt x="52505" y="367237"/>
                  </a:lnTo>
                  <a:lnTo>
                    <a:pt x="47398" y="367420"/>
                  </a:lnTo>
                  <a:lnTo>
                    <a:pt x="44120" y="366415"/>
                  </a:lnTo>
                  <a:lnTo>
                    <a:pt x="41084" y="365869"/>
                  </a:lnTo>
                  <a:lnTo>
                    <a:pt x="40050" y="365111"/>
                  </a:lnTo>
                  <a:lnTo>
                    <a:pt x="40395" y="363419"/>
                  </a:lnTo>
                  <a:lnTo>
                    <a:pt x="39821" y="363070"/>
                  </a:lnTo>
                  <a:lnTo>
                    <a:pt x="38564" y="364591"/>
                  </a:lnTo>
                  <a:lnTo>
                    <a:pt x="37448" y="367620"/>
                  </a:lnTo>
                  <a:lnTo>
                    <a:pt x="35035" y="368317"/>
                  </a:lnTo>
                  <a:lnTo>
                    <a:pt x="28380" y="367193"/>
                  </a:lnTo>
                  <a:lnTo>
                    <a:pt x="18745" y="367855"/>
                  </a:lnTo>
                  <a:lnTo>
                    <a:pt x="14422" y="369378"/>
                  </a:lnTo>
                  <a:lnTo>
                    <a:pt x="11621" y="369179"/>
                  </a:lnTo>
                  <a:lnTo>
                    <a:pt x="6804" y="366511"/>
                  </a:lnTo>
                  <a:lnTo>
                    <a:pt x="4923" y="364387"/>
                  </a:lnTo>
                  <a:lnTo>
                    <a:pt x="4221" y="360099"/>
                  </a:lnTo>
                  <a:lnTo>
                    <a:pt x="4504" y="358210"/>
                  </a:lnTo>
                  <a:lnTo>
                    <a:pt x="8257" y="357414"/>
                  </a:lnTo>
                  <a:lnTo>
                    <a:pt x="10155" y="357470"/>
                  </a:lnTo>
                  <a:lnTo>
                    <a:pt x="11932" y="356454"/>
                  </a:lnTo>
                  <a:lnTo>
                    <a:pt x="10360" y="355794"/>
                  </a:lnTo>
                  <a:lnTo>
                    <a:pt x="8149" y="354496"/>
                  </a:lnTo>
                  <a:lnTo>
                    <a:pt x="6642" y="351893"/>
                  </a:lnTo>
                  <a:lnTo>
                    <a:pt x="4370" y="351044"/>
                  </a:lnTo>
                  <a:lnTo>
                    <a:pt x="2848" y="348822"/>
                  </a:lnTo>
                  <a:lnTo>
                    <a:pt x="2461" y="345461"/>
                  </a:lnTo>
                  <a:lnTo>
                    <a:pt x="2897" y="343122"/>
                  </a:lnTo>
                  <a:lnTo>
                    <a:pt x="4113" y="342369"/>
                  </a:lnTo>
                  <a:lnTo>
                    <a:pt x="7031" y="342881"/>
                  </a:lnTo>
                  <a:lnTo>
                    <a:pt x="14733" y="342488"/>
                  </a:lnTo>
                  <a:lnTo>
                    <a:pt x="21984" y="344865"/>
                  </a:lnTo>
                  <a:lnTo>
                    <a:pt x="26905" y="346212"/>
                  </a:lnTo>
                  <a:lnTo>
                    <a:pt x="36875" y="345535"/>
                  </a:lnTo>
                  <a:lnTo>
                    <a:pt x="42714" y="343413"/>
                  </a:lnTo>
                  <a:lnTo>
                    <a:pt x="41643" y="342826"/>
                  </a:lnTo>
                  <a:lnTo>
                    <a:pt x="35310" y="344053"/>
                  </a:lnTo>
                  <a:lnTo>
                    <a:pt x="29456" y="344003"/>
                  </a:lnTo>
                  <a:lnTo>
                    <a:pt x="19136" y="341603"/>
                  </a:lnTo>
                  <a:lnTo>
                    <a:pt x="14904" y="340829"/>
                  </a:lnTo>
                  <a:lnTo>
                    <a:pt x="10345" y="341171"/>
                  </a:lnTo>
                  <a:lnTo>
                    <a:pt x="7972" y="340442"/>
                  </a:lnTo>
                  <a:lnTo>
                    <a:pt x="6577" y="338065"/>
                  </a:lnTo>
                  <a:lnTo>
                    <a:pt x="7609" y="333512"/>
                  </a:lnTo>
                  <a:lnTo>
                    <a:pt x="9771" y="332528"/>
                  </a:lnTo>
                  <a:lnTo>
                    <a:pt x="10941" y="333717"/>
                  </a:lnTo>
                  <a:lnTo>
                    <a:pt x="12353" y="333792"/>
                  </a:lnTo>
                  <a:lnTo>
                    <a:pt x="13783" y="331887"/>
                  </a:lnTo>
                  <a:lnTo>
                    <a:pt x="15152" y="330801"/>
                  </a:lnTo>
                  <a:lnTo>
                    <a:pt x="16236" y="328341"/>
                  </a:lnTo>
                  <a:lnTo>
                    <a:pt x="20324" y="326007"/>
                  </a:lnTo>
                  <a:lnTo>
                    <a:pt x="22051" y="325809"/>
                  </a:lnTo>
                  <a:lnTo>
                    <a:pt x="24528" y="324733"/>
                  </a:lnTo>
                  <a:lnTo>
                    <a:pt x="26109" y="325038"/>
                  </a:lnTo>
                  <a:lnTo>
                    <a:pt x="27122" y="326118"/>
                  </a:lnTo>
                  <a:lnTo>
                    <a:pt x="28402" y="327012"/>
                  </a:lnTo>
                  <a:lnTo>
                    <a:pt x="31177" y="326903"/>
                  </a:lnTo>
                  <a:lnTo>
                    <a:pt x="39382" y="325033"/>
                  </a:lnTo>
                  <a:lnTo>
                    <a:pt x="40266" y="324483"/>
                  </a:lnTo>
                  <a:lnTo>
                    <a:pt x="41866" y="322944"/>
                  </a:lnTo>
                  <a:lnTo>
                    <a:pt x="36664" y="323630"/>
                  </a:lnTo>
                  <a:lnTo>
                    <a:pt x="32343" y="324723"/>
                  </a:lnTo>
                  <a:lnTo>
                    <a:pt x="29566" y="325026"/>
                  </a:lnTo>
                  <a:lnTo>
                    <a:pt x="29175" y="323662"/>
                  </a:lnTo>
                  <a:lnTo>
                    <a:pt x="30199" y="322450"/>
                  </a:lnTo>
                  <a:lnTo>
                    <a:pt x="31807" y="321160"/>
                  </a:lnTo>
                  <a:lnTo>
                    <a:pt x="32589" y="318959"/>
                  </a:lnTo>
                  <a:lnTo>
                    <a:pt x="34359" y="318019"/>
                  </a:lnTo>
                  <a:lnTo>
                    <a:pt x="36273" y="318069"/>
                  </a:lnTo>
                  <a:lnTo>
                    <a:pt x="40229" y="317669"/>
                  </a:lnTo>
                  <a:lnTo>
                    <a:pt x="43021" y="317096"/>
                  </a:lnTo>
                  <a:lnTo>
                    <a:pt x="47808" y="317480"/>
                  </a:lnTo>
                  <a:lnTo>
                    <a:pt x="54943" y="318323"/>
                  </a:lnTo>
                  <a:lnTo>
                    <a:pt x="59542" y="320372"/>
                  </a:lnTo>
                  <a:lnTo>
                    <a:pt x="61274" y="320187"/>
                  </a:lnTo>
                  <a:lnTo>
                    <a:pt x="63110" y="319642"/>
                  </a:lnTo>
                  <a:lnTo>
                    <a:pt x="63941" y="318899"/>
                  </a:lnTo>
                  <a:lnTo>
                    <a:pt x="60331" y="318048"/>
                  </a:lnTo>
                  <a:lnTo>
                    <a:pt x="60125" y="316834"/>
                  </a:lnTo>
                  <a:lnTo>
                    <a:pt x="60573" y="315918"/>
                  </a:lnTo>
                  <a:lnTo>
                    <a:pt x="66461" y="314229"/>
                  </a:lnTo>
                  <a:lnTo>
                    <a:pt x="72892" y="313855"/>
                  </a:lnTo>
                  <a:lnTo>
                    <a:pt x="71786" y="312494"/>
                  </a:lnTo>
                  <a:lnTo>
                    <a:pt x="57698" y="314548"/>
                  </a:lnTo>
                  <a:lnTo>
                    <a:pt x="54021" y="313146"/>
                  </a:lnTo>
                  <a:lnTo>
                    <a:pt x="51119" y="313158"/>
                  </a:lnTo>
                  <a:lnTo>
                    <a:pt x="49218" y="313959"/>
                  </a:lnTo>
                  <a:lnTo>
                    <a:pt x="43803" y="314929"/>
                  </a:lnTo>
                  <a:lnTo>
                    <a:pt x="42807" y="314239"/>
                  </a:lnTo>
                  <a:lnTo>
                    <a:pt x="43837" y="311857"/>
                  </a:lnTo>
                  <a:lnTo>
                    <a:pt x="47081" y="307944"/>
                  </a:lnTo>
                  <a:lnTo>
                    <a:pt x="47351" y="306984"/>
                  </a:lnTo>
                  <a:lnTo>
                    <a:pt x="48856" y="306041"/>
                  </a:lnTo>
                  <a:lnTo>
                    <a:pt x="57271" y="303765"/>
                  </a:lnTo>
                  <a:lnTo>
                    <a:pt x="61313" y="301118"/>
                  </a:lnTo>
                  <a:lnTo>
                    <a:pt x="63136" y="300782"/>
                  </a:lnTo>
                  <a:lnTo>
                    <a:pt x="64943" y="300967"/>
                  </a:lnTo>
                  <a:lnTo>
                    <a:pt x="67692" y="300657"/>
                  </a:lnTo>
                  <a:lnTo>
                    <a:pt x="73004" y="301415"/>
                  </a:lnTo>
                  <a:lnTo>
                    <a:pt x="75448" y="304729"/>
                  </a:lnTo>
                  <a:lnTo>
                    <a:pt x="77647" y="305769"/>
                  </a:lnTo>
                  <a:lnTo>
                    <a:pt x="84559" y="309900"/>
                  </a:lnTo>
                  <a:lnTo>
                    <a:pt x="84250" y="308712"/>
                  </a:lnTo>
                  <a:lnTo>
                    <a:pt x="78267" y="303109"/>
                  </a:lnTo>
                  <a:lnTo>
                    <a:pt x="75980" y="301720"/>
                  </a:lnTo>
                  <a:lnTo>
                    <a:pt x="74274" y="298962"/>
                  </a:lnTo>
                  <a:lnTo>
                    <a:pt x="74859" y="296352"/>
                  </a:lnTo>
                  <a:lnTo>
                    <a:pt x="76783" y="294608"/>
                  </a:lnTo>
                  <a:lnTo>
                    <a:pt x="83609" y="293673"/>
                  </a:lnTo>
                  <a:lnTo>
                    <a:pt x="84833" y="292663"/>
                  </a:lnTo>
                  <a:lnTo>
                    <a:pt x="84954" y="290926"/>
                  </a:lnTo>
                  <a:lnTo>
                    <a:pt x="83909" y="289737"/>
                  </a:lnTo>
                  <a:lnTo>
                    <a:pt x="81398" y="289806"/>
                  </a:lnTo>
                  <a:lnTo>
                    <a:pt x="79327" y="289069"/>
                  </a:lnTo>
                  <a:lnTo>
                    <a:pt x="78757" y="287194"/>
                  </a:lnTo>
                  <a:lnTo>
                    <a:pt x="79584" y="285926"/>
                  </a:lnTo>
                  <a:lnTo>
                    <a:pt x="83520" y="283612"/>
                  </a:lnTo>
                  <a:lnTo>
                    <a:pt x="85675" y="282860"/>
                  </a:lnTo>
                  <a:lnTo>
                    <a:pt x="89407" y="282044"/>
                  </a:lnTo>
                  <a:lnTo>
                    <a:pt x="95896" y="283876"/>
                  </a:lnTo>
                  <a:lnTo>
                    <a:pt x="96388" y="284835"/>
                  </a:lnTo>
                  <a:lnTo>
                    <a:pt x="94570" y="287141"/>
                  </a:lnTo>
                  <a:lnTo>
                    <a:pt x="94753" y="288434"/>
                  </a:lnTo>
                  <a:lnTo>
                    <a:pt x="96343" y="288577"/>
                  </a:lnTo>
                  <a:lnTo>
                    <a:pt x="100048" y="284691"/>
                  </a:lnTo>
                  <a:lnTo>
                    <a:pt x="104406" y="284154"/>
                  </a:lnTo>
                  <a:lnTo>
                    <a:pt x="106209" y="283318"/>
                  </a:lnTo>
                  <a:lnTo>
                    <a:pt x="108301" y="282792"/>
                  </a:lnTo>
                  <a:lnTo>
                    <a:pt x="111294" y="286309"/>
                  </a:lnTo>
                  <a:lnTo>
                    <a:pt x="112605" y="287433"/>
                  </a:lnTo>
                  <a:lnTo>
                    <a:pt x="113590" y="287894"/>
                  </a:lnTo>
                  <a:lnTo>
                    <a:pt x="114544" y="290815"/>
                  </a:lnTo>
                  <a:lnTo>
                    <a:pt x="115468" y="290971"/>
                  </a:lnTo>
                  <a:lnTo>
                    <a:pt x="116785" y="289507"/>
                  </a:lnTo>
                  <a:lnTo>
                    <a:pt x="119174" y="288736"/>
                  </a:lnTo>
                  <a:lnTo>
                    <a:pt x="122523" y="288227"/>
                  </a:lnTo>
                  <a:lnTo>
                    <a:pt x="128070" y="289000"/>
                  </a:lnTo>
                  <a:lnTo>
                    <a:pt x="130582" y="288429"/>
                  </a:lnTo>
                  <a:lnTo>
                    <a:pt x="131813" y="288509"/>
                  </a:lnTo>
                  <a:lnTo>
                    <a:pt x="130632" y="285883"/>
                  </a:lnTo>
                  <a:lnTo>
                    <a:pt x="129899" y="285124"/>
                  </a:lnTo>
                  <a:lnTo>
                    <a:pt x="131042" y="282777"/>
                  </a:lnTo>
                  <a:lnTo>
                    <a:pt x="132234" y="281859"/>
                  </a:lnTo>
                  <a:lnTo>
                    <a:pt x="136067" y="280209"/>
                  </a:lnTo>
                  <a:lnTo>
                    <a:pt x="139722" y="279472"/>
                  </a:lnTo>
                  <a:lnTo>
                    <a:pt x="142109" y="277904"/>
                  </a:lnTo>
                  <a:lnTo>
                    <a:pt x="145313" y="276462"/>
                  </a:lnTo>
                  <a:lnTo>
                    <a:pt x="144810" y="275306"/>
                  </a:lnTo>
                  <a:lnTo>
                    <a:pt x="143918" y="273967"/>
                  </a:lnTo>
                  <a:lnTo>
                    <a:pt x="141845" y="273882"/>
                  </a:lnTo>
                  <a:lnTo>
                    <a:pt x="140999" y="273151"/>
                  </a:lnTo>
                  <a:lnTo>
                    <a:pt x="143631" y="271414"/>
                  </a:lnTo>
                  <a:lnTo>
                    <a:pt x="147235" y="269481"/>
                  </a:lnTo>
                  <a:lnTo>
                    <a:pt x="146607" y="268721"/>
                  </a:lnTo>
                  <a:lnTo>
                    <a:pt x="143897" y="267861"/>
                  </a:lnTo>
                  <a:lnTo>
                    <a:pt x="141839" y="268509"/>
                  </a:lnTo>
                  <a:lnTo>
                    <a:pt x="138779" y="270005"/>
                  </a:lnTo>
                  <a:lnTo>
                    <a:pt x="135220" y="272369"/>
                  </a:lnTo>
                  <a:lnTo>
                    <a:pt x="136380" y="273057"/>
                  </a:lnTo>
                  <a:lnTo>
                    <a:pt x="138161" y="275041"/>
                  </a:lnTo>
                  <a:lnTo>
                    <a:pt x="135676" y="277679"/>
                  </a:lnTo>
                  <a:lnTo>
                    <a:pt x="122504" y="284668"/>
                  </a:lnTo>
                  <a:lnTo>
                    <a:pt x="116222" y="286710"/>
                  </a:lnTo>
                  <a:lnTo>
                    <a:pt x="113324" y="286392"/>
                  </a:lnTo>
                  <a:lnTo>
                    <a:pt x="112633" y="284486"/>
                  </a:lnTo>
                  <a:lnTo>
                    <a:pt x="111296" y="283074"/>
                  </a:lnTo>
                  <a:lnTo>
                    <a:pt x="109863" y="280162"/>
                  </a:lnTo>
                  <a:lnTo>
                    <a:pt x="107425" y="280240"/>
                  </a:lnTo>
                  <a:lnTo>
                    <a:pt x="106040" y="280884"/>
                  </a:lnTo>
                  <a:lnTo>
                    <a:pt x="105436" y="279929"/>
                  </a:lnTo>
                  <a:lnTo>
                    <a:pt x="106485" y="276814"/>
                  </a:lnTo>
                  <a:lnTo>
                    <a:pt x="108548" y="274348"/>
                  </a:lnTo>
                  <a:lnTo>
                    <a:pt x="112007" y="272484"/>
                  </a:lnTo>
                  <a:lnTo>
                    <a:pt x="113665" y="270230"/>
                  </a:lnTo>
                  <a:lnTo>
                    <a:pt x="115224" y="266650"/>
                  </a:lnTo>
                  <a:lnTo>
                    <a:pt x="120228" y="263237"/>
                  </a:lnTo>
                  <a:lnTo>
                    <a:pt x="127511" y="254770"/>
                  </a:lnTo>
                  <a:lnTo>
                    <a:pt x="133445" y="252061"/>
                  </a:lnTo>
                  <a:lnTo>
                    <a:pt x="135620" y="249095"/>
                  </a:lnTo>
                  <a:lnTo>
                    <a:pt x="139116" y="247783"/>
                  </a:lnTo>
                  <a:lnTo>
                    <a:pt x="142100" y="245465"/>
                  </a:lnTo>
                  <a:lnTo>
                    <a:pt x="144443" y="245235"/>
                  </a:lnTo>
                  <a:lnTo>
                    <a:pt x="148699" y="243146"/>
                  </a:lnTo>
                  <a:lnTo>
                    <a:pt x="151111" y="240658"/>
                  </a:lnTo>
                  <a:lnTo>
                    <a:pt x="149537" y="240503"/>
                  </a:lnTo>
                  <a:lnTo>
                    <a:pt x="145795" y="242123"/>
                  </a:lnTo>
                  <a:lnTo>
                    <a:pt x="143678" y="242774"/>
                  </a:lnTo>
                  <a:lnTo>
                    <a:pt x="143828" y="240104"/>
                  </a:lnTo>
                  <a:lnTo>
                    <a:pt x="144853" y="237363"/>
                  </a:lnTo>
                  <a:lnTo>
                    <a:pt x="147937" y="234854"/>
                  </a:lnTo>
                  <a:lnTo>
                    <a:pt x="162759" y="227548"/>
                  </a:lnTo>
                  <a:lnTo>
                    <a:pt x="164238" y="228758"/>
                  </a:lnTo>
                  <a:lnTo>
                    <a:pt x="166006" y="230895"/>
                  </a:lnTo>
                  <a:lnTo>
                    <a:pt x="170470" y="230412"/>
                  </a:lnTo>
                  <a:lnTo>
                    <a:pt x="175556" y="226271"/>
                  </a:lnTo>
                  <a:lnTo>
                    <a:pt x="179473" y="221764"/>
                  </a:lnTo>
                  <a:lnTo>
                    <a:pt x="177356" y="222551"/>
                  </a:lnTo>
                  <a:lnTo>
                    <a:pt x="175046" y="224397"/>
                  </a:lnTo>
                  <a:lnTo>
                    <a:pt x="170543" y="226959"/>
                  </a:lnTo>
                  <a:lnTo>
                    <a:pt x="168462" y="227364"/>
                  </a:lnTo>
                  <a:lnTo>
                    <a:pt x="167274" y="227031"/>
                  </a:lnTo>
                  <a:lnTo>
                    <a:pt x="166613" y="225322"/>
                  </a:lnTo>
                  <a:lnTo>
                    <a:pt x="165052" y="224767"/>
                  </a:lnTo>
                  <a:lnTo>
                    <a:pt x="163642" y="225151"/>
                  </a:lnTo>
                  <a:lnTo>
                    <a:pt x="162189" y="223935"/>
                  </a:lnTo>
                  <a:lnTo>
                    <a:pt x="161930" y="220930"/>
                  </a:lnTo>
                  <a:lnTo>
                    <a:pt x="163789" y="216446"/>
                  </a:lnTo>
                  <a:lnTo>
                    <a:pt x="165262" y="213475"/>
                  </a:lnTo>
                  <a:lnTo>
                    <a:pt x="166853" y="211224"/>
                  </a:lnTo>
                  <a:lnTo>
                    <a:pt x="173109" y="204821"/>
                  </a:lnTo>
                  <a:lnTo>
                    <a:pt x="174461" y="201318"/>
                  </a:lnTo>
                  <a:lnTo>
                    <a:pt x="177290" y="199467"/>
                  </a:lnTo>
                  <a:lnTo>
                    <a:pt x="180964" y="199879"/>
                  </a:lnTo>
                  <a:lnTo>
                    <a:pt x="182073" y="199344"/>
                  </a:lnTo>
                  <a:lnTo>
                    <a:pt x="180811" y="197042"/>
                  </a:lnTo>
                  <a:lnTo>
                    <a:pt x="176806" y="195215"/>
                  </a:lnTo>
                  <a:lnTo>
                    <a:pt x="176560" y="194067"/>
                  </a:lnTo>
                  <a:lnTo>
                    <a:pt x="189900" y="191049"/>
                  </a:lnTo>
                  <a:lnTo>
                    <a:pt x="196253" y="191151"/>
                  </a:lnTo>
                  <a:lnTo>
                    <a:pt x="198138" y="189643"/>
                  </a:lnTo>
                  <a:lnTo>
                    <a:pt x="201591" y="188677"/>
                  </a:lnTo>
                  <a:lnTo>
                    <a:pt x="204208" y="186831"/>
                  </a:lnTo>
                  <a:lnTo>
                    <a:pt x="202859" y="186016"/>
                  </a:lnTo>
                  <a:lnTo>
                    <a:pt x="196407" y="187713"/>
                  </a:lnTo>
                  <a:lnTo>
                    <a:pt x="192373" y="188510"/>
                  </a:lnTo>
                  <a:lnTo>
                    <a:pt x="190548" y="188485"/>
                  </a:lnTo>
                  <a:lnTo>
                    <a:pt x="189125" y="189068"/>
                  </a:lnTo>
                  <a:lnTo>
                    <a:pt x="183969" y="189290"/>
                  </a:lnTo>
                  <a:lnTo>
                    <a:pt x="182848" y="181925"/>
                  </a:lnTo>
                  <a:lnTo>
                    <a:pt x="183655" y="177918"/>
                  </a:lnTo>
                  <a:lnTo>
                    <a:pt x="185577" y="178001"/>
                  </a:lnTo>
                  <a:lnTo>
                    <a:pt x="186015" y="174168"/>
                  </a:lnTo>
                  <a:lnTo>
                    <a:pt x="188235" y="171907"/>
                  </a:lnTo>
                  <a:lnTo>
                    <a:pt x="191300" y="171401"/>
                  </a:lnTo>
                  <a:lnTo>
                    <a:pt x="192844" y="170432"/>
                  </a:lnTo>
                  <a:lnTo>
                    <a:pt x="195074" y="168460"/>
                  </a:lnTo>
                  <a:lnTo>
                    <a:pt x="198765" y="168918"/>
                  </a:lnTo>
                  <a:lnTo>
                    <a:pt x="202556" y="168478"/>
                  </a:lnTo>
                  <a:lnTo>
                    <a:pt x="201617" y="167548"/>
                  </a:lnTo>
                  <a:lnTo>
                    <a:pt x="196910" y="166349"/>
                  </a:lnTo>
                  <a:lnTo>
                    <a:pt x="195748" y="164288"/>
                  </a:lnTo>
                  <a:lnTo>
                    <a:pt x="197408" y="163137"/>
                  </a:lnTo>
                  <a:lnTo>
                    <a:pt x="199216" y="162289"/>
                  </a:lnTo>
                  <a:lnTo>
                    <a:pt x="200803" y="162137"/>
                  </a:lnTo>
                  <a:lnTo>
                    <a:pt x="203947" y="158104"/>
                  </a:lnTo>
                  <a:lnTo>
                    <a:pt x="205858" y="156381"/>
                  </a:lnTo>
                  <a:lnTo>
                    <a:pt x="207998" y="156680"/>
                  </a:lnTo>
                  <a:lnTo>
                    <a:pt x="210978" y="154898"/>
                  </a:lnTo>
                  <a:lnTo>
                    <a:pt x="213904" y="155506"/>
                  </a:lnTo>
                  <a:lnTo>
                    <a:pt x="216735" y="154339"/>
                  </a:lnTo>
                  <a:lnTo>
                    <a:pt x="220602" y="153569"/>
                  </a:lnTo>
                  <a:lnTo>
                    <a:pt x="234757" y="153271"/>
                  </a:lnTo>
                  <a:lnTo>
                    <a:pt x="235178" y="151616"/>
                  </a:lnTo>
                  <a:lnTo>
                    <a:pt x="232201" y="151232"/>
                  </a:lnTo>
                  <a:lnTo>
                    <a:pt x="221682" y="150806"/>
                  </a:lnTo>
                  <a:lnTo>
                    <a:pt x="216312" y="150839"/>
                  </a:lnTo>
                  <a:lnTo>
                    <a:pt x="214051" y="151268"/>
                  </a:lnTo>
                  <a:lnTo>
                    <a:pt x="213220" y="150691"/>
                  </a:lnTo>
                  <a:lnTo>
                    <a:pt x="213366" y="149699"/>
                  </a:lnTo>
                  <a:lnTo>
                    <a:pt x="215318" y="148129"/>
                  </a:lnTo>
                  <a:lnTo>
                    <a:pt x="216245" y="146392"/>
                  </a:lnTo>
                  <a:lnTo>
                    <a:pt x="220147" y="142146"/>
                  </a:lnTo>
                  <a:lnTo>
                    <a:pt x="224722" y="139313"/>
                  </a:lnTo>
                  <a:lnTo>
                    <a:pt x="228229" y="140038"/>
                  </a:lnTo>
                  <a:lnTo>
                    <a:pt x="231959" y="142743"/>
                  </a:lnTo>
                  <a:lnTo>
                    <a:pt x="234617" y="143081"/>
                  </a:lnTo>
                  <a:lnTo>
                    <a:pt x="235854" y="143954"/>
                  </a:lnTo>
                  <a:lnTo>
                    <a:pt x="237791" y="147678"/>
                  </a:lnTo>
                  <a:lnTo>
                    <a:pt x="238709" y="147799"/>
                  </a:lnTo>
                  <a:lnTo>
                    <a:pt x="238294" y="144220"/>
                  </a:lnTo>
                  <a:lnTo>
                    <a:pt x="240855" y="141304"/>
                  </a:lnTo>
                  <a:lnTo>
                    <a:pt x="240188" y="140497"/>
                  </a:lnTo>
                  <a:lnTo>
                    <a:pt x="236340" y="141552"/>
                  </a:lnTo>
                  <a:lnTo>
                    <a:pt x="233392" y="140455"/>
                  </a:lnTo>
                  <a:lnTo>
                    <a:pt x="231065" y="138262"/>
                  </a:lnTo>
                  <a:lnTo>
                    <a:pt x="230399" y="136255"/>
                  </a:lnTo>
                  <a:lnTo>
                    <a:pt x="231846" y="134270"/>
                  </a:lnTo>
                  <a:lnTo>
                    <a:pt x="233211" y="133270"/>
                  </a:lnTo>
                  <a:lnTo>
                    <a:pt x="232285" y="132104"/>
                  </a:lnTo>
                  <a:lnTo>
                    <a:pt x="226467" y="135229"/>
                  </a:lnTo>
                  <a:lnTo>
                    <a:pt x="222352" y="135955"/>
                  </a:lnTo>
                  <a:lnTo>
                    <a:pt x="220730" y="135518"/>
                  </a:lnTo>
                  <a:lnTo>
                    <a:pt x="221609" y="132687"/>
                  </a:lnTo>
                  <a:lnTo>
                    <a:pt x="221119" y="130438"/>
                  </a:lnTo>
                  <a:lnTo>
                    <a:pt x="226636" y="124888"/>
                  </a:lnTo>
                  <a:lnTo>
                    <a:pt x="228534" y="124245"/>
                  </a:lnTo>
                  <a:lnTo>
                    <a:pt x="231632" y="124691"/>
                  </a:lnTo>
                  <a:lnTo>
                    <a:pt x="234429" y="126259"/>
                  </a:lnTo>
                  <a:lnTo>
                    <a:pt x="236768" y="126009"/>
                  </a:lnTo>
                  <a:lnTo>
                    <a:pt x="239305" y="125172"/>
                  </a:lnTo>
                  <a:lnTo>
                    <a:pt x="238959" y="123668"/>
                  </a:lnTo>
                  <a:lnTo>
                    <a:pt x="233457" y="123071"/>
                  </a:lnTo>
                  <a:lnTo>
                    <a:pt x="232041" y="121822"/>
                  </a:lnTo>
                  <a:lnTo>
                    <a:pt x="232552" y="120595"/>
                  </a:lnTo>
                  <a:lnTo>
                    <a:pt x="236329" y="119298"/>
                  </a:lnTo>
                  <a:lnTo>
                    <a:pt x="240085" y="116955"/>
                  </a:lnTo>
                  <a:lnTo>
                    <a:pt x="244388" y="116276"/>
                  </a:lnTo>
                  <a:lnTo>
                    <a:pt x="247852" y="114501"/>
                  </a:lnTo>
                  <a:lnTo>
                    <a:pt x="248519" y="114904"/>
                  </a:lnTo>
                  <a:lnTo>
                    <a:pt x="249104" y="115600"/>
                  </a:lnTo>
                  <a:lnTo>
                    <a:pt x="250348" y="122169"/>
                  </a:lnTo>
                  <a:lnTo>
                    <a:pt x="253442" y="127512"/>
                  </a:lnTo>
                  <a:lnTo>
                    <a:pt x="254582" y="127706"/>
                  </a:lnTo>
                  <a:lnTo>
                    <a:pt x="253395" y="123162"/>
                  </a:lnTo>
                  <a:lnTo>
                    <a:pt x="254503" y="121854"/>
                  </a:lnTo>
                  <a:lnTo>
                    <a:pt x="255906" y="120859"/>
                  </a:lnTo>
                  <a:lnTo>
                    <a:pt x="256344" y="119726"/>
                  </a:lnTo>
                  <a:lnTo>
                    <a:pt x="254736" y="119339"/>
                  </a:lnTo>
                  <a:lnTo>
                    <a:pt x="253421" y="117711"/>
                  </a:lnTo>
                  <a:lnTo>
                    <a:pt x="251542" y="112496"/>
                  </a:lnTo>
                  <a:lnTo>
                    <a:pt x="252183" y="111139"/>
                  </a:lnTo>
                  <a:lnTo>
                    <a:pt x="256254" y="108355"/>
                  </a:lnTo>
                  <a:lnTo>
                    <a:pt x="261361" y="107713"/>
                  </a:lnTo>
                  <a:lnTo>
                    <a:pt x="266802" y="109666"/>
                  </a:lnTo>
                  <a:lnTo>
                    <a:pt x="268713" y="109688"/>
                  </a:lnTo>
                  <a:lnTo>
                    <a:pt x="271868" y="109164"/>
                  </a:lnTo>
                  <a:lnTo>
                    <a:pt x="277221" y="107558"/>
                  </a:lnTo>
                  <a:lnTo>
                    <a:pt x="280370" y="106947"/>
                  </a:lnTo>
                  <a:lnTo>
                    <a:pt x="282013" y="106949"/>
                  </a:lnTo>
                  <a:lnTo>
                    <a:pt x="282419" y="106137"/>
                  </a:lnTo>
                  <a:lnTo>
                    <a:pt x="280897" y="105615"/>
                  </a:lnTo>
                  <a:lnTo>
                    <a:pt x="280406" y="105107"/>
                  </a:lnTo>
                  <a:lnTo>
                    <a:pt x="279212" y="104815"/>
                  </a:lnTo>
                  <a:lnTo>
                    <a:pt x="274263" y="105684"/>
                  </a:lnTo>
                  <a:lnTo>
                    <a:pt x="260609" y="105409"/>
                  </a:lnTo>
                  <a:lnTo>
                    <a:pt x="259292" y="104480"/>
                  </a:lnTo>
                  <a:lnTo>
                    <a:pt x="259050" y="102872"/>
                  </a:lnTo>
                  <a:lnTo>
                    <a:pt x="260499" y="100564"/>
                  </a:lnTo>
                  <a:lnTo>
                    <a:pt x="262091" y="99291"/>
                  </a:lnTo>
                  <a:lnTo>
                    <a:pt x="267239" y="96997"/>
                  </a:lnTo>
                  <a:lnTo>
                    <a:pt x="272689" y="96687"/>
                  </a:lnTo>
                  <a:lnTo>
                    <a:pt x="278431" y="92605"/>
                  </a:lnTo>
                  <a:lnTo>
                    <a:pt x="280625" y="89538"/>
                  </a:lnTo>
                  <a:lnTo>
                    <a:pt x="281868" y="84803"/>
                  </a:lnTo>
                  <a:lnTo>
                    <a:pt x="285369" y="80966"/>
                  </a:lnTo>
                  <a:lnTo>
                    <a:pt x="294144" y="78781"/>
                  </a:lnTo>
                  <a:lnTo>
                    <a:pt x="294499" y="77813"/>
                  </a:lnTo>
                  <a:lnTo>
                    <a:pt x="293568" y="75813"/>
                  </a:lnTo>
                  <a:lnTo>
                    <a:pt x="293641" y="72204"/>
                  </a:lnTo>
                  <a:lnTo>
                    <a:pt x="296047" y="67992"/>
                  </a:lnTo>
                  <a:lnTo>
                    <a:pt x="297645" y="66526"/>
                  </a:lnTo>
                  <a:lnTo>
                    <a:pt x="298383" y="66350"/>
                  </a:lnTo>
                  <a:lnTo>
                    <a:pt x="300275" y="67729"/>
                  </a:lnTo>
                  <a:lnTo>
                    <a:pt x="302573" y="70659"/>
                  </a:lnTo>
                  <a:lnTo>
                    <a:pt x="306175" y="72335"/>
                  </a:lnTo>
                  <a:lnTo>
                    <a:pt x="310895" y="72624"/>
                  </a:lnTo>
                  <a:lnTo>
                    <a:pt x="312154" y="71800"/>
                  </a:lnTo>
                  <a:lnTo>
                    <a:pt x="308485" y="70129"/>
                  </a:lnTo>
                  <a:lnTo>
                    <a:pt x="305708" y="67943"/>
                  </a:lnTo>
                  <a:lnTo>
                    <a:pt x="305488" y="65745"/>
                  </a:lnTo>
                  <a:lnTo>
                    <a:pt x="306805" y="64579"/>
                  </a:lnTo>
                  <a:lnTo>
                    <a:pt x="308852" y="64709"/>
                  </a:lnTo>
                  <a:lnTo>
                    <a:pt x="311422" y="64462"/>
                  </a:lnTo>
                  <a:lnTo>
                    <a:pt x="313816" y="62982"/>
                  </a:lnTo>
                  <a:lnTo>
                    <a:pt x="314164" y="61941"/>
                  </a:lnTo>
                  <a:lnTo>
                    <a:pt x="314264" y="60527"/>
                  </a:lnTo>
                  <a:lnTo>
                    <a:pt x="314862" y="59088"/>
                  </a:lnTo>
                  <a:lnTo>
                    <a:pt x="318375" y="55651"/>
                  </a:lnTo>
                  <a:lnTo>
                    <a:pt x="329204" y="53412"/>
                  </a:lnTo>
                  <a:lnTo>
                    <a:pt x="329988" y="54321"/>
                  </a:lnTo>
                  <a:lnTo>
                    <a:pt x="329403" y="60951"/>
                  </a:lnTo>
                  <a:lnTo>
                    <a:pt x="328159" y="65227"/>
                  </a:lnTo>
                  <a:lnTo>
                    <a:pt x="328198" y="68347"/>
                  </a:lnTo>
                  <a:lnTo>
                    <a:pt x="330306" y="65227"/>
                  </a:lnTo>
                  <a:lnTo>
                    <a:pt x="333132" y="56663"/>
                  </a:lnTo>
                  <a:lnTo>
                    <a:pt x="335253" y="52629"/>
                  </a:lnTo>
                  <a:lnTo>
                    <a:pt x="337650" y="50309"/>
                  </a:lnTo>
                  <a:lnTo>
                    <a:pt x="339362" y="49785"/>
                  </a:lnTo>
                  <a:lnTo>
                    <a:pt x="341057" y="48583"/>
                  </a:lnTo>
                  <a:lnTo>
                    <a:pt x="343295" y="47867"/>
                  </a:lnTo>
                  <a:lnTo>
                    <a:pt x="343979" y="48791"/>
                  </a:lnTo>
                  <a:lnTo>
                    <a:pt x="344687" y="50933"/>
                  </a:lnTo>
                  <a:lnTo>
                    <a:pt x="343482" y="58438"/>
                  </a:lnTo>
                  <a:lnTo>
                    <a:pt x="343603" y="60805"/>
                  </a:lnTo>
                  <a:lnTo>
                    <a:pt x="342253" y="63973"/>
                  </a:lnTo>
                  <a:lnTo>
                    <a:pt x="337093" y="71017"/>
                  </a:lnTo>
                  <a:lnTo>
                    <a:pt x="337330" y="71914"/>
                  </a:lnTo>
                  <a:lnTo>
                    <a:pt x="338496" y="71581"/>
                  </a:lnTo>
                  <a:lnTo>
                    <a:pt x="340496" y="70420"/>
                  </a:lnTo>
                  <a:lnTo>
                    <a:pt x="346888" y="63728"/>
                  </a:lnTo>
                  <a:lnTo>
                    <a:pt x="352476" y="64573"/>
                  </a:lnTo>
                  <a:lnTo>
                    <a:pt x="352545" y="64024"/>
                  </a:lnTo>
                  <a:lnTo>
                    <a:pt x="350753" y="62058"/>
                  </a:lnTo>
                  <a:lnTo>
                    <a:pt x="348563" y="60171"/>
                  </a:lnTo>
                  <a:lnTo>
                    <a:pt x="347905" y="57833"/>
                  </a:lnTo>
                  <a:lnTo>
                    <a:pt x="348198" y="51586"/>
                  </a:lnTo>
                  <a:lnTo>
                    <a:pt x="349881" y="49107"/>
                  </a:lnTo>
                  <a:lnTo>
                    <a:pt x="354707" y="49367"/>
                  </a:lnTo>
                  <a:lnTo>
                    <a:pt x="357598" y="49024"/>
                  </a:lnTo>
                  <a:lnTo>
                    <a:pt x="358948" y="50151"/>
                  </a:lnTo>
                  <a:lnTo>
                    <a:pt x="361843" y="50070"/>
                  </a:lnTo>
                  <a:lnTo>
                    <a:pt x="363848" y="45579"/>
                  </a:lnTo>
                  <a:lnTo>
                    <a:pt x="367810" y="45185"/>
                  </a:lnTo>
                  <a:lnTo>
                    <a:pt x="371289" y="48155"/>
                  </a:lnTo>
                  <a:lnTo>
                    <a:pt x="375476" y="50151"/>
                  </a:lnTo>
                  <a:lnTo>
                    <a:pt x="378840" y="53019"/>
                  </a:lnTo>
                  <a:lnTo>
                    <a:pt x="379790" y="52236"/>
                  </a:lnTo>
                  <a:lnTo>
                    <a:pt x="377974" y="45538"/>
                  </a:lnTo>
                  <a:lnTo>
                    <a:pt x="375987" y="43092"/>
                  </a:lnTo>
                  <a:lnTo>
                    <a:pt x="371677" y="41819"/>
                  </a:lnTo>
                  <a:lnTo>
                    <a:pt x="367091" y="38795"/>
                  </a:lnTo>
                  <a:lnTo>
                    <a:pt x="365895" y="37453"/>
                  </a:lnTo>
                  <a:lnTo>
                    <a:pt x="366104" y="36454"/>
                  </a:lnTo>
                  <a:lnTo>
                    <a:pt x="370151" y="35490"/>
                  </a:lnTo>
                  <a:lnTo>
                    <a:pt x="375491" y="36594"/>
                  </a:lnTo>
                  <a:lnTo>
                    <a:pt x="380250" y="34070"/>
                  </a:lnTo>
                  <a:lnTo>
                    <a:pt x="381552" y="34762"/>
                  </a:lnTo>
                  <a:lnTo>
                    <a:pt x="385202" y="33441"/>
                  </a:lnTo>
                  <a:lnTo>
                    <a:pt x="387469" y="35218"/>
                  </a:lnTo>
                  <a:lnTo>
                    <a:pt x="388857" y="34692"/>
                  </a:lnTo>
                  <a:lnTo>
                    <a:pt x="389663" y="32309"/>
                  </a:lnTo>
                  <a:lnTo>
                    <a:pt x="395487" y="30829"/>
                  </a:lnTo>
                  <a:lnTo>
                    <a:pt x="399181" y="32195"/>
                  </a:lnTo>
                  <a:lnTo>
                    <a:pt x="401162" y="33608"/>
                  </a:lnTo>
                  <a:lnTo>
                    <a:pt x="402082" y="36320"/>
                  </a:lnTo>
                  <a:lnTo>
                    <a:pt x="403489" y="41674"/>
                  </a:lnTo>
                  <a:lnTo>
                    <a:pt x="406374" y="44557"/>
                  </a:lnTo>
                  <a:lnTo>
                    <a:pt x="408165" y="45971"/>
                  </a:lnTo>
                  <a:lnTo>
                    <a:pt x="410287" y="46362"/>
                  </a:lnTo>
                  <a:lnTo>
                    <a:pt x="411311" y="44924"/>
                  </a:lnTo>
                  <a:lnTo>
                    <a:pt x="409322" y="43190"/>
                  </a:lnTo>
                  <a:lnTo>
                    <a:pt x="408786" y="41556"/>
                  </a:lnTo>
                  <a:lnTo>
                    <a:pt x="409739" y="37494"/>
                  </a:lnTo>
                  <a:lnTo>
                    <a:pt x="410851" y="35896"/>
                  </a:lnTo>
                  <a:lnTo>
                    <a:pt x="417083" y="29833"/>
                  </a:lnTo>
                  <a:lnTo>
                    <a:pt x="422300" y="26680"/>
                  </a:lnTo>
                  <a:lnTo>
                    <a:pt x="425424" y="26417"/>
                  </a:lnTo>
                  <a:lnTo>
                    <a:pt x="430888" y="19331"/>
                  </a:lnTo>
                  <a:lnTo>
                    <a:pt x="432436" y="18040"/>
                  </a:lnTo>
                  <a:lnTo>
                    <a:pt x="433861" y="17743"/>
                  </a:lnTo>
                  <a:lnTo>
                    <a:pt x="433496" y="16004"/>
                  </a:lnTo>
                  <a:lnTo>
                    <a:pt x="430503" y="14903"/>
                  </a:lnTo>
                  <a:lnTo>
                    <a:pt x="430400" y="12748"/>
                  </a:lnTo>
                  <a:lnTo>
                    <a:pt x="434343" y="10121"/>
                  </a:lnTo>
                  <a:lnTo>
                    <a:pt x="439124" y="5706"/>
                  </a:lnTo>
                  <a:lnTo>
                    <a:pt x="441484" y="5406"/>
                  </a:lnTo>
                  <a:lnTo>
                    <a:pt x="442963" y="6634"/>
                  </a:lnTo>
                  <a:lnTo>
                    <a:pt x="447619" y="8627"/>
                  </a:lnTo>
                  <a:lnTo>
                    <a:pt x="450471" y="10908"/>
                  </a:lnTo>
                  <a:lnTo>
                    <a:pt x="452538" y="12056"/>
                  </a:lnTo>
                  <a:lnTo>
                    <a:pt x="453881" y="11818"/>
                  </a:lnTo>
                  <a:lnTo>
                    <a:pt x="454991" y="10105"/>
                  </a:lnTo>
                  <a:lnTo>
                    <a:pt x="456325" y="9303"/>
                  </a:lnTo>
                  <a:lnTo>
                    <a:pt x="459286" y="9753"/>
                  </a:lnTo>
                  <a:lnTo>
                    <a:pt x="461052" y="10855"/>
                  </a:lnTo>
                  <a:lnTo>
                    <a:pt x="462428" y="11000"/>
                  </a:lnTo>
                  <a:lnTo>
                    <a:pt x="463672" y="11667"/>
                  </a:lnTo>
                  <a:lnTo>
                    <a:pt x="463965" y="13131"/>
                  </a:lnTo>
                  <a:lnTo>
                    <a:pt x="461404" y="14725"/>
                  </a:lnTo>
                  <a:lnTo>
                    <a:pt x="457040" y="18947"/>
                  </a:lnTo>
                  <a:lnTo>
                    <a:pt x="452734" y="23737"/>
                  </a:lnTo>
                  <a:lnTo>
                    <a:pt x="451314" y="26255"/>
                  </a:lnTo>
                  <a:lnTo>
                    <a:pt x="449923" y="32850"/>
                  </a:lnTo>
                  <a:lnTo>
                    <a:pt x="446558" y="37058"/>
                  </a:lnTo>
                  <a:lnTo>
                    <a:pt x="446304" y="40003"/>
                  </a:lnTo>
                  <a:lnTo>
                    <a:pt x="447655" y="41390"/>
                  </a:lnTo>
                  <a:lnTo>
                    <a:pt x="451369" y="40302"/>
                  </a:lnTo>
                  <a:lnTo>
                    <a:pt x="455947" y="36371"/>
                  </a:lnTo>
                  <a:lnTo>
                    <a:pt x="457090" y="32191"/>
                  </a:lnTo>
                  <a:lnTo>
                    <a:pt x="468535" y="20815"/>
                  </a:lnTo>
                  <a:lnTo>
                    <a:pt x="473903" y="14505"/>
                  </a:lnTo>
                  <a:lnTo>
                    <a:pt x="480007" y="9265"/>
                  </a:lnTo>
                  <a:lnTo>
                    <a:pt x="483421" y="8179"/>
                  </a:lnTo>
                  <a:lnTo>
                    <a:pt x="485028" y="11651"/>
                  </a:lnTo>
                  <a:lnTo>
                    <a:pt x="483734" y="16179"/>
                  </a:lnTo>
                  <a:lnTo>
                    <a:pt x="481141" y="19061"/>
                  </a:lnTo>
                  <a:lnTo>
                    <a:pt x="483052" y="20380"/>
                  </a:lnTo>
                  <a:lnTo>
                    <a:pt x="482687" y="23797"/>
                  </a:lnTo>
                  <a:lnTo>
                    <a:pt x="482091" y="25693"/>
                  </a:lnTo>
                  <a:lnTo>
                    <a:pt x="481711" y="27676"/>
                  </a:lnTo>
                  <a:lnTo>
                    <a:pt x="481735" y="29424"/>
                  </a:lnTo>
                  <a:lnTo>
                    <a:pt x="483527" y="28958"/>
                  </a:lnTo>
                  <a:lnTo>
                    <a:pt x="490675" y="25377"/>
                  </a:lnTo>
                  <a:lnTo>
                    <a:pt x="492486" y="21493"/>
                  </a:lnTo>
                  <a:lnTo>
                    <a:pt x="494166" y="18577"/>
                  </a:lnTo>
                  <a:lnTo>
                    <a:pt x="494972" y="16055"/>
                  </a:lnTo>
                  <a:lnTo>
                    <a:pt x="497751" y="13663"/>
                  </a:lnTo>
                  <a:lnTo>
                    <a:pt x="502994" y="13645"/>
                  </a:lnTo>
                  <a:lnTo>
                    <a:pt x="503197" y="12704"/>
                  </a:lnTo>
                  <a:lnTo>
                    <a:pt x="496859" y="9377"/>
                  </a:lnTo>
                  <a:lnTo>
                    <a:pt x="496112" y="7877"/>
                  </a:lnTo>
                  <a:lnTo>
                    <a:pt x="498243" y="5879"/>
                  </a:lnTo>
                  <a:close/>
                  <a:moveTo>
                    <a:pt x="459651" y="0"/>
                  </a:moveTo>
                  <a:lnTo>
                    <a:pt x="465559" y="1548"/>
                  </a:lnTo>
                  <a:lnTo>
                    <a:pt x="467582" y="1516"/>
                  </a:lnTo>
                  <a:lnTo>
                    <a:pt x="470515" y="4407"/>
                  </a:lnTo>
                  <a:lnTo>
                    <a:pt x="472046" y="4151"/>
                  </a:lnTo>
                  <a:lnTo>
                    <a:pt x="471756" y="5916"/>
                  </a:lnTo>
                  <a:lnTo>
                    <a:pt x="468792" y="6752"/>
                  </a:lnTo>
                  <a:lnTo>
                    <a:pt x="464183" y="7260"/>
                  </a:lnTo>
                  <a:lnTo>
                    <a:pt x="463495" y="7611"/>
                  </a:lnTo>
                  <a:lnTo>
                    <a:pt x="459556" y="7329"/>
                  </a:lnTo>
                  <a:lnTo>
                    <a:pt x="457345" y="4956"/>
                  </a:lnTo>
                  <a:lnTo>
                    <a:pt x="453650" y="4368"/>
                  </a:lnTo>
                  <a:lnTo>
                    <a:pt x="453656" y="3606"/>
                  </a:lnTo>
                  <a:lnTo>
                    <a:pt x="456049" y="1809"/>
                  </a:lnTo>
                  <a:close/>
                </a:path>
              </a:pathLst>
            </a:custGeom>
            <a:solidFill>
              <a:srgbClr val="C7CDD0"/>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AT" sz="1600" err="1">
                <a:solidFill>
                  <a:schemeClr val="tx1"/>
                </a:solidFill>
                <a:latin typeface="Calibri" panose="020F0502020204030204" pitchFamily="34" charset="0"/>
                <a:cs typeface="Calibri" panose="020F0502020204030204" pitchFamily="34" charset="0"/>
              </a:endParaRPr>
            </a:p>
          </p:txBody>
        </p:sp>
        <p:sp>
          <p:nvSpPr>
            <p:cNvPr id="101" name="ee4p_PL_1_86241">
              <a:extLst>
                <a:ext uri="{FF2B5EF4-FFF2-40B4-BE49-F238E27FC236}">
                  <a16:creationId xmlns:a16="http://schemas.microsoft.com/office/drawing/2014/main" id="{2A510B80-5DD4-45B0-A7C2-4E1699D8616F}"/>
                </a:ext>
              </a:extLst>
            </p:cNvPr>
            <p:cNvSpPr>
              <a:spLocks noChangeAspect="1"/>
            </p:cNvSpPr>
            <p:nvPr>
              <p:custDataLst>
                <p:tags r:id="rId39"/>
              </p:custDataLst>
            </p:nvPr>
          </p:nvSpPr>
          <p:spPr>
            <a:xfrm>
              <a:off x="7058772" y="2592951"/>
              <a:ext cx="668605" cy="534994"/>
            </a:xfrm>
            <a:custGeom>
              <a:avLst/>
              <a:gdLst/>
              <a:ahLst/>
              <a:cxnLst/>
              <a:rect l="0" t="0" r="0" b="0"/>
              <a:pathLst>
                <a:path w="220617" h="171991">
                  <a:moveTo>
                    <a:pt x="121082" y="11596"/>
                  </a:moveTo>
                  <a:lnTo>
                    <a:pt x="121963" y="11965"/>
                  </a:lnTo>
                  <a:lnTo>
                    <a:pt x="128156" y="12364"/>
                  </a:lnTo>
                  <a:lnTo>
                    <a:pt x="134433" y="12768"/>
                  </a:lnTo>
                  <a:lnTo>
                    <a:pt x="144528" y="13198"/>
                  </a:lnTo>
                  <a:lnTo>
                    <a:pt x="155049" y="13651"/>
                  </a:lnTo>
                  <a:lnTo>
                    <a:pt x="165965" y="14118"/>
                  </a:lnTo>
                  <a:lnTo>
                    <a:pt x="177778" y="14624"/>
                  </a:lnTo>
                  <a:lnTo>
                    <a:pt x="190236" y="14922"/>
                  </a:lnTo>
                  <a:lnTo>
                    <a:pt x="190996" y="14718"/>
                  </a:lnTo>
                  <a:lnTo>
                    <a:pt x="192268" y="13529"/>
                  </a:lnTo>
                  <a:lnTo>
                    <a:pt x="193821" y="13690"/>
                  </a:lnTo>
                  <a:lnTo>
                    <a:pt x="195652" y="14427"/>
                  </a:lnTo>
                  <a:lnTo>
                    <a:pt x="196509" y="14976"/>
                  </a:lnTo>
                  <a:lnTo>
                    <a:pt x="196872" y="15599"/>
                  </a:lnTo>
                  <a:lnTo>
                    <a:pt x="197098" y="16320"/>
                  </a:lnTo>
                  <a:lnTo>
                    <a:pt x="198100" y="16464"/>
                  </a:lnTo>
                  <a:lnTo>
                    <a:pt x="199931" y="17013"/>
                  </a:lnTo>
                  <a:lnTo>
                    <a:pt x="202408" y="18265"/>
                  </a:lnTo>
                  <a:lnTo>
                    <a:pt x="204349" y="19477"/>
                  </a:lnTo>
                  <a:lnTo>
                    <a:pt x="206196" y="21210"/>
                  </a:lnTo>
                  <a:lnTo>
                    <a:pt x="206809" y="23168"/>
                  </a:lnTo>
                  <a:lnTo>
                    <a:pt x="206846" y="25385"/>
                  </a:lnTo>
                  <a:lnTo>
                    <a:pt x="206727" y="26811"/>
                  </a:lnTo>
                  <a:lnTo>
                    <a:pt x="206883" y="27391"/>
                  </a:lnTo>
                  <a:lnTo>
                    <a:pt x="209409" y="37691"/>
                  </a:lnTo>
                  <a:lnTo>
                    <a:pt x="213618" y="47576"/>
                  </a:lnTo>
                  <a:lnTo>
                    <a:pt x="215164" y="52344"/>
                  </a:lnTo>
                  <a:lnTo>
                    <a:pt x="215781" y="54879"/>
                  </a:lnTo>
                  <a:lnTo>
                    <a:pt x="216274" y="58550"/>
                  </a:lnTo>
                  <a:lnTo>
                    <a:pt x="216427" y="61124"/>
                  </a:lnTo>
                  <a:lnTo>
                    <a:pt x="216408" y="62573"/>
                  </a:lnTo>
                  <a:lnTo>
                    <a:pt x="216094" y="64562"/>
                  </a:lnTo>
                  <a:lnTo>
                    <a:pt x="214844" y="65737"/>
                  </a:lnTo>
                  <a:lnTo>
                    <a:pt x="206770" y="69093"/>
                  </a:lnTo>
                  <a:lnTo>
                    <a:pt x="205252" y="70145"/>
                  </a:lnTo>
                  <a:lnTo>
                    <a:pt x="202872" y="72758"/>
                  </a:lnTo>
                  <a:lnTo>
                    <a:pt x="200679" y="75446"/>
                  </a:lnTo>
                  <a:lnTo>
                    <a:pt x="200173" y="76364"/>
                  </a:lnTo>
                  <a:lnTo>
                    <a:pt x="200037" y="76968"/>
                  </a:lnTo>
                  <a:lnTo>
                    <a:pt x="200521" y="77849"/>
                  </a:lnTo>
                  <a:lnTo>
                    <a:pt x="203399" y="79287"/>
                  </a:lnTo>
                  <a:lnTo>
                    <a:pt x="206302" y="80441"/>
                  </a:lnTo>
                  <a:lnTo>
                    <a:pt x="207247" y="81304"/>
                  </a:lnTo>
                  <a:lnTo>
                    <a:pt x="209388" y="82409"/>
                  </a:lnTo>
                  <a:lnTo>
                    <a:pt x="210169" y="83400"/>
                  </a:lnTo>
                  <a:lnTo>
                    <a:pt x="210592" y="84264"/>
                  </a:lnTo>
                  <a:lnTo>
                    <a:pt x="210562" y="86257"/>
                  </a:lnTo>
                  <a:lnTo>
                    <a:pt x="209597" y="89011"/>
                  </a:lnTo>
                  <a:lnTo>
                    <a:pt x="210001" y="91090"/>
                  </a:lnTo>
                  <a:lnTo>
                    <a:pt x="209020" y="92474"/>
                  </a:lnTo>
                  <a:lnTo>
                    <a:pt x="208213" y="94011"/>
                  </a:lnTo>
                  <a:lnTo>
                    <a:pt x="208098" y="96701"/>
                  </a:lnTo>
                  <a:lnTo>
                    <a:pt x="209550" y="99671"/>
                  </a:lnTo>
                  <a:lnTo>
                    <a:pt x="210735" y="101697"/>
                  </a:lnTo>
                  <a:lnTo>
                    <a:pt x="211195" y="103284"/>
                  </a:lnTo>
                  <a:lnTo>
                    <a:pt x="210707" y="104529"/>
                  </a:lnTo>
                  <a:lnTo>
                    <a:pt x="210858" y="105774"/>
                  </a:lnTo>
                  <a:lnTo>
                    <a:pt x="211914" y="107090"/>
                  </a:lnTo>
                  <a:lnTo>
                    <a:pt x="215259" y="111158"/>
                  </a:lnTo>
                  <a:lnTo>
                    <a:pt x="216909" y="115066"/>
                  </a:lnTo>
                  <a:lnTo>
                    <a:pt x="217963" y="116587"/>
                  </a:lnTo>
                  <a:lnTo>
                    <a:pt x="220396" y="118562"/>
                  </a:lnTo>
                  <a:lnTo>
                    <a:pt x="220616" y="119372"/>
                  </a:lnTo>
                  <a:lnTo>
                    <a:pt x="219640" y="120114"/>
                  </a:lnTo>
                  <a:lnTo>
                    <a:pt x="218852" y="120212"/>
                  </a:lnTo>
                  <a:lnTo>
                    <a:pt x="218213" y="120409"/>
                  </a:lnTo>
                  <a:lnTo>
                    <a:pt x="217801" y="121102"/>
                  </a:lnTo>
                  <a:lnTo>
                    <a:pt x="218440" y="121843"/>
                  </a:lnTo>
                  <a:lnTo>
                    <a:pt x="219301" y="122931"/>
                  </a:lnTo>
                  <a:lnTo>
                    <a:pt x="220372" y="126008"/>
                  </a:lnTo>
                  <a:lnTo>
                    <a:pt x="220266" y="128524"/>
                  </a:lnTo>
                  <a:lnTo>
                    <a:pt x="219442" y="129164"/>
                  </a:lnTo>
                  <a:lnTo>
                    <a:pt x="218388" y="130656"/>
                  </a:lnTo>
                  <a:lnTo>
                    <a:pt x="217673" y="132019"/>
                  </a:lnTo>
                  <a:lnTo>
                    <a:pt x="211903" y="132968"/>
                  </a:lnTo>
                  <a:lnTo>
                    <a:pt x="210517" y="134426"/>
                  </a:lnTo>
                  <a:lnTo>
                    <a:pt x="207358" y="137241"/>
                  </a:lnTo>
                  <a:lnTo>
                    <a:pt x="205201" y="138859"/>
                  </a:lnTo>
                  <a:lnTo>
                    <a:pt x="202013" y="141780"/>
                  </a:lnTo>
                  <a:lnTo>
                    <a:pt x="196969" y="146796"/>
                  </a:lnTo>
                  <a:lnTo>
                    <a:pt x="195110" y="148891"/>
                  </a:lnTo>
                  <a:lnTo>
                    <a:pt x="193749" y="150622"/>
                  </a:lnTo>
                  <a:lnTo>
                    <a:pt x="189668" y="155225"/>
                  </a:lnTo>
                  <a:lnTo>
                    <a:pt x="188413" y="157155"/>
                  </a:lnTo>
                  <a:lnTo>
                    <a:pt x="188662" y="158743"/>
                  </a:lnTo>
                  <a:lnTo>
                    <a:pt x="189972" y="162467"/>
                  </a:lnTo>
                  <a:lnTo>
                    <a:pt x="190249" y="164146"/>
                  </a:lnTo>
                  <a:lnTo>
                    <a:pt x="190018" y="165698"/>
                  </a:lnTo>
                  <a:lnTo>
                    <a:pt x="189584" y="167078"/>
                  </a:lnTo>
                  <a:lnTo>
                    <a:pt x="189657" y="167693"/>
                  </a:lnTo>
                  <a:lnTo>
                    <a:pt x="190862" y="168693"/>
                  </a:lnTo>
                  <a:lnTo>
                    <a:pt x="192784" y="170263"/>
                  </a:lnTo>
                  <a:lnTo>
                    <a:pt x="192894" y="170792"/>
                  </a:lnTo>
                  <a:lnTo>
                    <a:pt x="192622" y="171472"/>
                  </a:lnTo>
                  <a:lnTo>
                    <a:pt x="191959" y="171990"/>
                  </a:lnTo>
                  <a:lnTo>
                    <a:pt x="189560" y="171443"/>
                  </a:lnTo>
                  <a:lnTo>
                    <a:pt x="186878" y="170379"/>
                  </a:lnTo>
                  <a:lnTo>
                    <a:pt x="185965" y="170507"/>
                  </a:lnTo>
                  <a:lnTo>
                    <a:pt x="184513" y="170262"/>
                  </a:lnTo>
                  <a:lnTo>
                    <a:pt x="178532" y="168207"/>
                  </a:lnTo>
                  <a:lnTo>
                    <a:pt x="174498" y="166597"/>
                  </a:lnTo>
                  <a:lnTo>
                    <a:pt x="174101" y="165551"/>
                  </a:lnTo>
                  <a:lnTo>
                    <a:pt x="173339" y="164034"/>
                  </a:lnTo>
                  <a:lnTo>
                    <a:pt x="171624" y="162763"/>
                  </a:lnTo>
                  <a:lnTo>
                    <a:pt x="167688" y="161661"/>
                  </a:lnTo>
                  <a:lnTo>
                    <a:pt x="166085" y="160800"/>
                  </a:lnTo>
                  <a:lnTo>
                    <a:pt x="159691" y="160319"/>
                  </a:lnTo>
                  <a:lnTo>
                    <a:pt x="156917" y="160299"/>
                  </a:lnTo>
                  <a:lnTo>
                    <a:pt x="154952" y="160655"/>
                  </a:lnTo>
                  <a:lnTo>
                    <a:pt x="153697" y="160619"/>
                  </a:lnTo>
                  <a:lnTo>
                    <a:pt x="151967" y="162867"/>
                  </a:lnTo>
                  <a:lnTo>
                    <a:pt x="150775" y="163518"/>
                  </a:lnTo>
                  <a:lnTo>
                    <a:pt x="149033" y="163587"/>
                  </a:lnTo>
                  <a:lnTo>
                    <a:pt x="147508" y="163187"/>
                  </a:lnTo>
                  <a:lnTo>
                    <a:pt x="145949" y="162005"/>
                  </a:lnTo>
                  <a:lnTo>
                    <a:pt x="143453" y="161381"/>
                  </a:lnTo>
                  <a:lnTo>
                    <a:pt x="141650" y="161682"/>
                  </a:lnTo>
                  <a:lnTo>
                    <a:pt x="140322" y="161424"/>
                  </a:lnTo>
                  <a:lnTo>
                    <a:pt x="139175" y="161363"/>
                  </a:lnTo>
                  <a:lnTo>
                    <a:pt x="138778" y="161599"/>
                  </a:lnTo>
                  <a:lnTo>
                    <a:pt x="137856" y="161566"/>
                  </a:lnTo>
                  <a:lnTo>
                    <a:pt x="136519" y="162131"/>
                  </a:lnTo>
                  <a:lnTo>
                    <a:pt x="135059" y="162930"/>
                  </a:lnTo>
                  <a:lnTo>
                    <a:pt x="133448" y="163538"/>
                  </a:lnTo>
                  <a:lnTo>
                    <a:pt x="132209" y="164845"/>
                  </a:lnTo>
                  <a:lnTo>
                    <a:pt x="131103" y="167404"/>
                  </a:lnTo>
                  <a:lnTo>
                    <a:pt x="127974" y="166258"/>
                  </a:lnTo>
                  <a:lnTo>
                    <a:pt x="126931" y="166755"/>
                  </a:lnTo>
                  <a:lnTo>
                    <a:pt x="125457" y="167089"/>
                  </a:lnTo>
                  <a:lnTo>
                    <a:pt x="124448" y="166744"/>
                  </a:lnTo>
                  <a:lnTo>
                    <a:pt x="124686" y="165862"/>
                  </a:lnTo>
                  <a:lnTo>
                    <a:pt x="125141" y="164868"/>
                  </a:lnTo>
                  <a:lnTo>
                    <a:pt x="125120" y="163477"/>
                  </a:lnTo>
                  <a:lnTo>
                    <a:pt x="124830" y="161941"/>
                  </a:lnTo>
                  <a:lnTo>
                    <a:pt x="123861" y="161441"/>
                  </a:lnTo>
                  <a:lnTo>
                    <a:pt x="122403" y="161257"/>
                  </a:lnTo>
                  <a:lnTo>
                    <a:pt x="121654" y="160953"/>
                  </a:lnTo>
                  <a:lnTo>
                    <a:pt x="121574" y="160445"/>
                  </a:lnTo>
                  <a:lnTo>
                    <a:pt x="120831" y="159792"/>
                  </a:lnTo>
                  <a:lnTo>
                    <a:pt x="119542" y="158138"/>
                  </a:lnTo>
                  <a:lnTo>
                    <a:pt x="118324" y="156082"/>
                  </a:lnTo>
                  <a:lnTo>
                    <a:pt x="117482" y="155469"/>
                  </a:lnTo>
                  <a:lnTo>
                    <a:pt x="116258" y="156448"/>
                  </a:lnTo>
                  <a:lnTo>
                    <a:pt x="114403" y="157561"/>
                  </a:lnTo>
                  <a:lnTo>
                    <a:pt x="113250" y="157947"/>
                  </a:lnTo>
                  <a:lnTo>
                    <a:pt x="111021" y="161143"/>
                  </a:lnTo>
                  <a:lnTo>
                    <a:pt x="107017" y="161251"/>
                  </a:lnTo>
                  <a:lnTo>
                    <a:pt x="106771" y="159759"/>
                  </a:lnTo>
                  <a:lnTo>
                    <a:pt x="106350" y="158324"/>
                  </a:lnTo>
                  <a:lnTo>
                    <a:pt x="104007" y="157965"/>
                  </a:lnTo>
                  <a:lnTo>
                    <a:pt x="103942" y="157123"/>
                  </a:lnTo>
                  <a:lnTo>
                    <a:pt x="103448" y="155009"/>
                  </a:lnTo>
                  <a:lnTo>
                    <a:pt x="98754" y="150865"/>
                  </a:lnTo>
                  <a:lnTo>
                    <a:pt x="98183" y="149134"/>
                  </a:lnTo>
                  <a:lnTo>
                    <a:pt x="98367" y="148466"/>
                  </a:lnTo>
                  <a:lnTo>
                    <a:pt x="98041" y="147364"/>
                  </a:lnTo>
                  <a:lnTo>
                    <a:pt x="97020" y="146700"/>
                  </a:lnTo>
                  <a:lnTo>
                    <a:pt x="93310" y="145909"/>
                  </a:lnTo>
                  <a:lnTo>
                    <a:pt x="92355" y="146364"/>
                  </a:lnTo>
                  <a:lnTo>
                    <a:pt x="91494" y="145896"/>
                  </a:lnTo>
                  <a:lnTo>
                    <a:pt x="90144" y="144902"/>
                  </a:lnTo>
                  <a:lnTo>
                    <a:pt x="87799" y="144093"/>
                  </a:lnTo>
                  <a:lnTo>
                    <a:pt x="87544" y="143674"/>
                  </a:lnTo>
                  <a:lnTo>
                    <a:pt x="86700" y="142962"/>
                  </a:lnTo>
                  <a:lnTo>
                    <a:pt x="86231" y="142866"/>
                  </a:lnTo>
                  <a:lnTo>
                    <a:pt x="85929" y="143299"/>
                  </a:lnTo>
                  <a:lnTo>
                    <a:pt x="85247" y="143911"/>
                  </a:lnTo>
                  <a:lnTo>
                    <a:pt x="82837" y="144685"/>
                  </a:lnTo>
                  <a:lnTo>
                    <a:pt x="81874" y="144366"/>
                  </a:lnTo>
                  <a:lnTo>
                    <a:pt x="80999" y="143694"/>
                  </a:lnTo>
                  <a:lnTo>
                    <a:pt x="80001" y="142245"/>
                  </a:lnTo>
                  <a:lnTo>
                    <a:pt x="78552" y="140973"/>
                  </a:lnTo>
                  <a:lnTo>
                    <a:pt x="77358" y="140522"/>
                  </a:lnTo>
                  <a:lnTo>
                    <a:pt x="76678" y="139854"/>
                  </a:lnTo>
                  <a:lnTo>
                    <a:pt x="76525" y="139335"/>
                  </a:lnTo>
                  <a:lnTo>
                    <a:pt x="79176" y="138291"/>
                  </a:lnTo>
                  <a:lnTo>
                    <a:pt x="79755" y="137214"/>
                  </a:lnTo>
                  <a:lnTo>
                    <a:pt x="79416" y="135249"/>
                  </a:lnTo>
                  <a:lnTo>
                    <a:pt x="79021" y="135001"/>
                  </a:lnTo>
                  <a:lnTo>
                    <a:pt x="77970" y="135666"/>
                  </a:lnTo>
                  <a:lnTo>
                    <a:pt x="75756" y="136250"/>
                  </a:lnTo>
                  <a:lnTo>
                    <a:pt x="73716" y="136519"/>
                  </a:lnTo>
                  <a:lnTo>
                    <a:pt x="72675" y="136519"/>
                  </a:lnTo>
                  <a:lnTo>
                    <a:pt x="66853" y="132940"/>
                  </a:lnTo>
                  <a:lnTo>
                    <a:pt x="63067" y="131844"/>
                  </a:lnTo>
                  <a:lnTo>
                    <a:pt x="60841" y="131526"/>
                  </a:lnTo>
                  <a:lnTo>
                    <a:pt x="60599" y="131890"/>
                  </a:lnTo>
                  <a:lnTo>
                    <a:pt x="61608" y="133899"/>
                  </a:lnTo>
                  <a:lnTo>
                    <a:pt x="63346" y="136376"/>
                  </a:lnTo>
                  <a:lnTo>
                    <a:pt x="63264" y="137036"/>
                  </a:lnTo>
                  <a:lnTo>
                    <a:pt x="61178" y="138048"/>
                  </a:lnTo>
                  <a:lnTo>
                    <a:pt x="59995" y="138489"/>
                  </a:lnTo>
                  <a:lnTo>
                    <a:pt x="58597" y="139347"/>
                  </a:lnTo>
                  <a:lnTo>
                    <a:pt x="57418" y="140532"/>
                  </a:lnTo>
                  <a:lnTo>
                    <a:pt x="56397" y="141069"/>
                  </a:lnTo>
                  <a:lnTo>
                    <a:pt x="55514" y="140934"/>
                  </a:lnTo>
                  <a:lnTo>
                    <a:pt x="54574" y="140362"/>
                  </a:lnTo>
                  <a:lnTo>
                    <a:pt x="52163" y="136704"/>
                  </a:lnTo>
                  <a:lnTo>
                    <a:pt x="49131" y="133899"/>
                  </a:lnTo>
                  <a:lnTo>
                    <a:pt x="48770" y="133271"/>
                  </a:lnTo>
                  <a:lnTo>
                    <a:pt x="47822" y="133126"/>
                  </a:lnTo>
                  <a:lnTo>
                    <a:pt x="46483" y="132482"/>
                  </a:lnTo>
                  <a:lnTo>
                    <a:pt x="46032" y="131623"/>
                  </a:lnTo>
                  <a:lnTo>
                    <a:pt x="46704" y="130724"/>
                  </a:lnTo>
                  <a:lnTo>
                    <a:pt x="47628" y="129902"/>
                  </a:lnTo>
                  <a:lnTo>
                    <a:pt x="49267" y="129395"/>
                  </a:lnTo>
                  <a:lnTo>
                    <a:pt x="49764" y="128918"/>
                  </a:lnTo>
                  <a:lnTo>
                    <a:pt x="50055" y="128199"/>
                  </a:lnTo>
                  <a:lnTo>
                    <a:pt x="50662" y="127270"/>
                  </a:lnTo>
                  <a:lnTo>
                    <a:pt x="50502" y="126935"/>
                  </a:lnTo>
                  <a:lnTo>
                    <a:pt x="49340" y="125882"/>
                  </a:lnTo>
                  <a:lnTo>
                    <a:pt x="47621" y="124886"/>
                  </a:lnTo>
                  <a:lnTo>
                    <a:pt x="42849" y="125634"/>
                  </a:lnTo>
                  <a:lnTo>
                    <a:pt x="41540" y="126166"/>
                  </a:lnTo>
                  <a:lnTo>
                    <a:pt x="40802" y="125473"/>
                  </a:lnTo>
                  <a:lnTo>
                    <a:pt x="40243" y="124460"/>
                  </a:lnTo>
                  <a:lnTo>
                    <a:pt x="39035" y="124267"/>
                  </a:lnTo>
                  <a:lnTo>
                    <a:pt x="37384" y="123342"/>
                  </a:lnTo>
                  <a:lnTo>
                    <a:pt x="35423" y="122439"/>
                  </a:lnTo>
                  <a:lnTo>
                    <a:pt x="33508" y="122172"/>
                  </a:lnTo>
                  <a:lnTo>
                    <a:pt x="29528" y="120862"/>
                  </a:lnTo>
                  <a:lnTo>
                    <a:pt x="27995" y="120791"/>
                  </a:lnTo>
                  <a:lnTo>
                    <a:pt x="27105" y="120340"/>
                  </a:lnTo>
                  <a:lnTo>
                    <a:pt x="26181" y="119349"/>
                  </a:lnTo>
                  <a:lnTo>
                    <a:pt x="25395" y="118263"/>
                  </a:lnTo>
                  <a:lnTo>
                    <a:pt x="24987" y="116058"/>
                  </a:lnTo>
                  <a:lnTo>
                    <a:pt x="22054" y="115056"/>
                  </a:lnTo>
                  <a:lnTo>
                    <a:pt x="19131" y="114428"/>
                  </a:lnTo>
                  <a:lnTo>
                    <a:pt x="18925" y="114748"/>
                  </a:lnTo>
                  <a:lnTo>
                    <a:pt x="19046" y="116972"/>
                  </a:lnTo>
                  <a:lnTo>
                    <a:pt x="18891" y="118159"/>
                  </a:lnTo>
                  <a:lnTo>
                    <a:pt x="16965" y="118893"/>
                  </a:lnTo>
                  <a:lnTo>
                    <a:pt x="15054" y="118963"/>
                  </a:lnTo>
                  <a:lnTo>
                    <a:pt x="15161" y="118594"/>
                  </a:lnTo>
                  <a:lnTo>
                    <a:pt x="17444" y="114592"/>
                  </a:lnTo>
                  <a:lnTo>
                    <a:pt x="18470" y="112068"/>
                  </a:lnTo>
                  <a:lnTo>
                    <a:pt x="19636" y="107454"/>
                  </a:lnTo>
                  <a:lnTo>
                    <a:pt x="18232" y="103806"/>
                  </a:lnTo>
                  <a:lnTo>
                    <a:pt x="17843" y="102097"/>
                  </a:lnTo>
                  <a:lnTo>
                    <a:pt x="17189" y="101276"/>
                  </a:lnTo>
                  <a:lnTo>
                    <a:pt x="13181" y="99496"/>
                  </a:lnTo>
                  <a:lnTo>
                    <a:pt x="12877" y="98878"/>
                  </a:lnTo>
                  <a:lnTo>
                    <a:pt x="13490" y="96459"/>
                  </a:lnTo>
                  <a:lnTo>
                    <a:pt x="13186" y="95441"/>
                  </a:lnTo>
                  <a:lnTo>
                    <a:pt x="12222" y="94366"/>
                  </a:lnTo>
                  <a:lnTo>
                    <a:pt x="10953" y="92226"/>
                  </a:lnTo>
                  <a:lnTo>
                    <a:pt x="10460" y="90410"/>
                  </a:lnTo>
                  <a:lnTo>
                    <a:pt x="12080" y="88271"/>
                  </a:lnTo>
                  <a:lnTo>
                    <a:pt x="12479" y="86700"/>
                  </a:lnTo>
                  <a:lnTo>
                    <a:pt x="13184" y="84546"/>
                  </a:lnTo>
                  <a:lnTo>
                    <a:pt x="13699" y="83364"/>
                  </a:lnTo>
                  <a:lnTo>
                    <a:pt x="13797" y="83038"/>
                  </a:lnTo>
                  <a:lnTo>
                    <a:pt x="12736" y="82198"/>
                  </a:lnTo>
                  <a:lnTo>
                    <a:pt x="12467" y="81018"/>
                  </a:lnTo>
                  <a:lnTo>
                    <a:pt x="12754" y="79316"/>
                  </a:lnTo>
                  <a:lnTo>
                    <a:pt x="12190" y="78055"/>
                  </a:lnTo>
                  <a:lnTo>
                    <a:pt x="10769" y="77235"/>
                  </a:lnTo>
                  <a:lnTo>
                    <a:pt x="9847" y="76151"/>
                  </a:lnTo>
                  <a:lnTo>
                    <a:pt x="9420" y="74800"/>
                  </a:lnTo>
                  <a:lnTo>
                    <a:pt x="9754" y="72677"/>
                  </a:lnTo>
                  <a:lnTo>
                    <a:pt x="10853" y="69779"/>
                  </a:lnTo>
                  <a:lnTo>
                    <a:pt x="8523" y="66291"/>
                  </a:lnTo>
                  <a:lnTo>
                    <a:pt x="2767" y="62206"/>
                  </a:lnTo>
                  <a:lnTo>
                    <a:pt x="0" y="59347"/>
                  </a:lnTo>
                  <a:lnTo>
                    <a:pt x="227" y="57713"/>
                  </a:lnTo>
                  <a:lnTo>
                    <a:pt x="1439" y="56233"/>
                  </a:lnTo>
                  <a:lnTo>
                    <a:pt x="3639" y="54902"/>
                  </a:lnTo>
                  <a:lnTo>
                    <a:pt x="5306" y="52540"/>
                  </a:lnTo>
                  <a:lnTo>
                    <a:pt x="6243" y="49736"/>
                  </a:lnTo>
                  <a:lnTo>
                    <a:pt x="6274" y="49204"/>
                  </a:lnTo>
                  <a:lnTo>
                    <a:pt x="6323" y="47199"/>
                  </a:lnTo>
                  <a:lnTo>
                    <a:pt x="3762" y="38982"/>
                  </a:lnTo>
                  <a:lnTo>
                    <a:pt x="3345" y="36921"/>
                  </a:lnTo>
                  <a:lnTo>
                    <a:pt x="3041" y="34433"/>
                  </a:lnTo>
                  <a:lnTo>
                    <a:pt x="2881" y="33753"/>
                  </a:lnTo>
                  <a:lnTo>
                    <a:pt x="7938" y="35498"/>
                  </a:lnTo>
                  <a:lnTo>
                    <a:pt x="10059" y="36480"/>
                  </a:lnTo>
                  <a:lnTo>
                    <a:pt x="9795" y="35377"/>
                  </a:lnTo>
                  <a:lnTo>
                    <a:pt x="9366" y="34427"/>
                  </a:lnTo>
                  <a:lnTo>
                    <a:pt x="9649" y="33031"/>
                  </a:lnTo>
                  <a:lnTo>
                    <a:pt x="9504" y="30923"/>
                  </a:lnTo>
                  <a:lnTo>
                    <a:pt x="4915" y="29847"/>
                  </a:lnTo>
                  <a:lnTo>
                    <a:pt x="1881" y="29483"/>
                  </a:lnTo>
                  <a:lnTo>
                    <a:pt x="1540" y="28020"/>
                  </a:lnTo>
                  <a:lnTo>
                    <a:pt x="1832" y="27072"/>
                  </a:lnTo>
                  <a:lnTo>
                    <a:pt x="2670" y="27630"/>
                  </a:lnTo>
                  <a:lnTo>
                    <a:pt x="5651" y="27849"/>
                  </a:lnTo>
                  <a:lnTo>
                    <a:pt x="12983" y="25011"/>
                  </a:lnTo>
                  <a:lnTo>
                    <a:pt x="25645" y="21319"/>
                  </a:lnTo>
                  <a:lnTo>
                    <a:pt x="39170" y="17850"/>
                  </a:lnTo>
                  <a:lnTo>
                    <a:pt x="42327" y="17472"/>
                  </a:lnTo>
                  <a:lnTo>
                    <a:pt x="45501" y="16741"/>
                  </a:lnTo>
                  <a:lnTo>
                    <a:pt x="46673" y="15441"/>
                  </a:lnTo>
                  <a:lnTo>
                    <a:pt x="47844" y="14571"/>
                  </a:lnTo>
                  <a:lnTo>
                    <a:pt x="49686" y="12276"/>
                  </a:lnTo>
                  <a:lnTo>
                    <a:pt x="53758" y="8706"/>
                  </a:lnTo>
                  <a:lnTo>
                    <a:pt x="60960" y="7404"/>
                  </a:lnTo>
                  <a:lnTo>
                    <a:pt x="63648" y="5708"/>
                  </a:lnTo>
                  <a:lnTo>
                    <a:pt x="69284" y="3330"/>
                  </a:lnTo>
                  <a:lnTo>
                    <a:pt x="82132" y="659"/>
                  </a:lnTo>
                  <a:lnTo>
                    <a:pt x="87499" y="72"/>
                  </a:lnTo>
                  <a:lnTo>
                    <a:pt x="92757" y="0"/>
                  </a:lnTo>
                  <a:lnTo>
                    <a:pt x="97439" y="2108"/>
                  </a:lnTo>
                  <a:lnTo>
                    <a:pt x="102394" y="4707"/>
                  </a:lnTo>
                  <a:lnTo>
                    <a:pt x="103286" y="6274"/>
                  </a:lnTo>
                  <a:lnTo>
                    <a:pt x="100604" y="5297"/>
                  </a:lnTo>
                  <a:lnTo>
                    <a:pt x="96696" y="2963"/>
                  </a:lnTo>
                  <a:lnTo>
                    <a:pt x="95251" y="2864"/>
                  </a:lnTo>
                  <a:lnTo>
                    <a:pt x="98587" y="9956"/>
                  </a:lnTo>
                  <a:lnTo>
                    <a:pt x="100412" y="12458"/>
                  </a:lnTo>
                  <a:lnTo>
                    <a:pt x="104100" y="14328"/>
                  </a:lnTo>
                  <a:lnTo>
                    <a:pt x="107192" y="14958"/>
                  </a:lnTo>
                  <a:lnTo>
                    <a:pt x="116720" y="13825"/>
                  </a:lnTo>
                  <a:lnTo>
                    <a:pt x="120103" y="12345"/>
                  </a:lnTo>
                  <a:close/>
                </a:path>
              </a:pathLst>
            </a:custGeom>
            <a:solidFill>
              <a:srgbClr val="C7CDD0"/>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AT" sz="1600" err="1">
                <a:solidFill>
                  <a:schemeClr val="tx1"/>
                </a:solidFill>
                <a:latin typeface="Calibri" panose="020F0502020204030204" pitchFamily="34" charset="0"/>
                <a:cs typeface="Calibri" panose="020F0502020204030204" pitchFamily="34" charset="0"/>
              </a:endParaRPr>
            </a:p>
          </p:txBody>
        </p:sp>
        <p:sp>
          <p:nvSpPr>
            <p:cNvPr id="102" name="ee4p_PT_1_86241">
              <a:extLst>
                <a:ext uri="{FF2B5EF4-FFF2-40B4-BE49-F238E27FC236}">
                  <a16:creationId xmlns:a16="http://schemas.microsoft.com/office/drawing/2014/main" id="{1E80BAC6-2869-4583-8C3C-5E2DCBF99EA5}"/>
                </a:ext>
              </a:extLst>
            </p:cNvPr>
            <p:cNvSpPr>
              <a:spLocks noChangeAspect="1"/>
            </p:cNvSpPr>
            <p:nvPr>
              <p:custDataLst>
                <p:tags r:id="rId40"/>
              </p:custDataLst>
            </p:nvPr>
          </p:nvSpPr>
          <p:spPr>
            <a:xfrm>
              <a:off x="5476701" y="3717109"/>
              <a:ext cx="218950" cy="414850"/>
            </a:xfrm>
            <a:custGeom>
              <a:avLst/>
              <a:gdLst/>
              <a:ahLst/>
              <a:cxnLst/>
              <a:rect l="0" t="0" r="0" b="0"/>
              <a:pathLst>
                <a:path w="72246" h="133367">
                  <a:moveTo>
                    <a:pt x="28883" y="8426"/>
                  </a:moveTo>
                  <a:lnTo>
                    <a:pt x="29348" y="8638"/>
                  </a:lnTo>
                  <a:lnTo>
                    <a:pt x="30632" y="8579"/>
                  </a:lnTo>
                  <a:lnTo>
                    <a:pt x="32920" y="7579"/>
                  </a:lnTo>
                  <a:lnTo>
                    <a:pt x="34470" y="6738"/>
                  </a:lnTo>
                  <a:lnTo>
                    <a:pt x="35011" y="7084"/>
                  </a:lnTo>
                  <a:lnTo>
                    <a:pt x="39507" y="6609"/>
                  </a:lnTo>
                  <a:lnTo>
                    <a:pt x="40577" y="6994"/>
                  </a:lnTo>
                  <a:lnTo>
                    <a:pt x="41286" y="7419"/>
                  </a:lnTo>
                  <a:lnTo>
                    <a:pt x="43497" y="8001"/>
                  </a:lnTo>
                  <a:lnTo>
                    <a:pt x="45907" y="8062"/>
                  </a:lnTo>
                  <a:lnTo>
                    <a:pt x="48894" y="7248"/>
                  </a:lnTo>
                  <a:lnTo>
                    <a:pt x="50197" y="6430"/>
                  </a:lnTo>
                  <a:lnTo>
                    <a:pt x="50447" y="5524"/>
                  </a:lnTo>
                  <a:lnTo>
                    <a:pt x="50513" y="4839"/>
                  </a:lnTo>
                  <a:lnTo>
                    <a:pt x="50898" y="4402"/>
                  </a:lnTo>
                  <a:lnTo>
                    <a:pt x="51579" y="4151"/>
                  </a:lnTo>
                  <a:lnTo>
                    <a:pt x="52640" y="4600"/>
                  </a:lnTo>
                  <a:lnTo>
                    <a:pt x="54158" y="4961"/>
                  </a:lnTo>
                  <a:lnTo>
                    <a:pt x="57806" y="5103"/>
                  </a:lnTo>
                  <a:lnTo>
                    <a:pt x="58521" y="4602"/>
                  </a:lnTo>
                  <a:lnTo>
                    <a:pt x="59757" y="4752"/>
                  </a:lnTo>
                  <a:lnTo>
                    <a:pt x="61386" y="5387"/>
                  </a:lnTo>
                  <a:lnTo>
                    <a:pt x="63273" y="5180"/>
                  </a:lnTo>
                  <a:lnTo>
                    <a:pt x="64222" y="5957"/>
                  </a:lnTo>
                  <a:lnTo>
                    <a:pt x="64616" y="6990"/>
                  </a:lnTo>
                  <a:lnTo>
                    <a:pt x="64725" y="9232"/>
                  </a:lnTo>
                  <a:lnTo>
                    <a:pt x="64584" y="11496"/>
                  </a:lnTo>
                  <a:lnTo>
                    <a:pt x="64955" y="12331"/>
                  </a:lnTo>
                  <a:lnTo>
                    <a:pt x="66227" y="12546"/>
                  </a:lnTo>
                  <a:lnTo>
                    <a:pt x="68283" y="12520"/>
                  </a:lnTo>
                  <a:lnTo>
                    <a:pt x="70133" y="13134"/>
                  </a:lnTo>
                  <a:lnTo>
                    <a:pt x="71569" y="14202"/>
                  </a:lnTo>
                  <a:lnTo>
                    <a:pt x="72043" y="15296"/>
                  </a:lnTo>
                  <a:lnTo>
                    <a:pt x="72245" y="16047"/>
                  </a:lnTo>
                  <a:lnTo>
                    <a:pt x="71542" y="16473"/>
                  </a:lnTo>
                  <a:lnTo>
                    <a:pt x="70546" y="18082"/>
                  </a:lnTo>
                  <a:lnTo>
                    <a:pt x="68030" y="20184"/>
                  </a:lnTo>
                  <a:lnTo>
                    <a:pt x="64431" y="22076"/>
                  </a:lnTo>
                  <a:lnTo>
                    <a:pt x="61684" y="24428"/>
                  </a:lnTo>
                  <a:lnTo>
                    <a:pt x="59790" y="27241"/>
                  </a:lnTo>
                  <a:lnTo>
                    <a:pt x="57423" y="28434"/>
                  </a:lnTo>
                  <a:lnTo>
                    <a:pt x="56700" y="29076"/>
                  </a:lnTo>
                  <a:lnTo>
                    <a:pt x="56414" y="29836"/>
                  </a:lnTo>
                  <a:lnTo>
                    <a:pt x="57978" y="33276"/>
                  </a:lnTo>
                  <a:lnTo>
                    <a:pt x="58461" y="35924"/>
                  </a:lnTo>
                  <a:lnTo>
                    <a:pt x="58849" y="39163"/>
                  </a:lnTo>
                  <a:lnTo>
                    <a:pt x="58595" y="40080"/>
                  </a:lnTo>
                  <a:lnTo>
                    <a:pt x="58466" y="43641"/>
                  </a:lnTo>
                  <a:lnTo>
                    <a:pt x="58104" y="44686"/>
                  </a:lnTo>
                  <a:lnTo>
                    <a:pt x="58194" y="45530"/>
                  </a:lnTo>
                  <a:lnTo>
                    <a:pt x="58773" y="46439"/>
                  </a:lnTo>
                  <a:lnTo>
                    <a:pt x="59030" y="47306"/>
                  </a:lnTo>
                  <a:lnTo>
                    <a:pt x="57952" y="48414"/>
                  </a:lnTo>
                  <a:lnTo>
                    <a:pt x="55972" y="49698"/>
                  </a:lnTo>
                  <a:lnTo>
                    <a:pt x="54507" y="50828"/>
                  </a:lnTo>
                  <a:lnTo>
                    <a:pt x="54111" y="51884"/>
                  </a:lnTo>
                  <a:lnTo>
                    <a:pt x="54217" y="52545"/>
                  </a:lnTo>
                  <a:lnTo>
                    <a:pt x="56681" y="54784"/>
                  </a:lnTo>
                  <a:lnTo>
                    <a:pt x="57130" y="55697"/>
                  </a:lnTo>
                  <a:lnTo>
                    <a:pt x="56796" y="57905"/>
                  </a:lnTo>
                  <a:lnTo>
                    <a:pt x="55376" y="61518"/>
                  </a:lnTo>
                  <a:lnTo>
                    <a:pt x="54020" y="63715"/>
                  </a:lnTo>
                  <a:lnTo>
                    <a:pt x="53784" y="63933"/>
                  </a:lnTo>
                  <a:lnTo>
                    <a:pt x="52230" y="64554"/>
                  </a:lnTo>
                  <a:lnTo>
                    <a:pt x="44791" y="64581"/>
                  </a:lnTo>
                  <a:lnTo>
                    <a:pt x="42987" y="65077"/>
                  </a:lnTo>
                  <a:lnTo>
                    <a:pt x="43241" y="65515"/>
                  </a:lnTo>
                  <a:lnTo>
                    <a:pt x="44990" y="68335"/>
                  </a:lnTo>
                  <a:lnTo>
                    <a:pt x="46812" y="69837"/>
                  </a:lnTo>
                  <a:lnTo>
                    <a:pt x="47415" y="70179"/>
                  </a:lnTo>
                  <a:lnTo>
                    <a:pt x="48071" y="73474"/>
                  </a:lnTo>
                  <a:lnTo>
                    <a:pt x="51020" y="78731"/>
                  </a:lnTo>
                  <a:lnTo>
                    <a:pt x="53882" y="79458"/>
                  </a:lnTo>
                  <a:lnTo>
                    <a:pt x="54877" y="80768"/>
                  </a:lnTo>
                  <a:lnTo>
                    <a:pt x="54694" y="82609"/>
                  </a:lnTo>
                  <a:lnTo>
                    <a:pt x="53814" y="84630"/>
                  </a:lnTo>
                  <a:lnTo>
                    <a:pt x="52057" y="86698"/>
                  </a:lnTo>
                  <a:lnTo>
                    <a:pt x="49969" y="88155"/>
                  </a:lnTo>
                  <a:lnTo>
                    <a:pt x="48607" y="89598"/>
                  </a:lnTo>
                  <a:lnTo>
                    <a:pt x="48500" y="91279"/>
                  </a:lnTo>
                  <a:lnTo>
                    <a:pt x="48067" y="93405"/>
                  </a:lnTo>
                  <a:lnTo>
                    <a:pt x="47407" y="95088"/>
                  </a:lnTo>
                  <a:lnTo>
                    <a:pt x="47247" y="96222"/>
                  </a:lnTo>
                  <a:lnTo>
                    <a:pt x="52479" y="103327"/>
                  </a:lnTo>
                  <a:lnTo>
                    <a:pt x="55389" y="102982"/>
                  </a:lnTo>
                  <a:lnTo>
                    <a:pt x="55770" y="103150"/>
                  </a:lnTo>
                  <a:lnTo>
                    <a:pt x="55250" y="104842"/>
                  </a:lnTo>
                  <a:lnTo>
                    <a:pt x="54327" y="106824"/>
                  </a:lnTo>
                  <a:lnTo>
                    <a:pt x="53229" y="107201"/>
                  </a:lnTo>
                  <a:lnTo>
                    <a:pt x="50732" y="107808"/>
                  </a:lnTo>
                  <a:lnTo>
                    <a:pt x="48370" y="110369"/>
                  </a:lnTo>
                  <a:lnTo>
                    <a:pt x="46454" y="113443"/>
                  </a:lnTo>
                  <a:lnTo>
                    <a:pt x="45016" y="114929"/>
                  </a:lnTo>
                  <a:lnTo>
                    <a:pt x="43698" y="118580"/>
                  </a:lnTo>
                  <a:lnTo>
                    <a:pt x="43864" y="120161"/>
                  </a:lnTo>
                  <a:lnTo>
                    <a:pt x="44502" y="122600"/>
                  </a:lnTo>
                  <a:lnTo>
                    <a:pt x="45851" y="128938"/>
                  </a:lnTo>
                  <a:lnTo>
                    <a:pt x="43918" y="129221"/>
                  </a:lnTo>
                  <a:lnTo>
                    <a:pt x="36388" y="133359"/>
                  </a:lnTo>
                  <a:lnTo>
                    <a:pt x="34053" y="133366"/>
                  </a:lnTo>
                  <a:lnTo>
                    <a:pt x="29696" y="131544"/>
                  </a:lnTo>
                  <a:lnTo>
                    <a:pt x="22011" y="130959"/>
                  </a:lnTo>
                  <a:lnTo>
                    <a:pt x="19505" y="130417"/>
                  </a:lnTo>
                  <a:lnTo>
                    <a:pt x="16377" y="131606"/>
                  </a:lnTo>
                  <a:lnTo>
                    <a:pt x="13959" y="131579"/>
                  </a:lnTo>
                  <a:lnTo>
                    <a:pt x="12037" y="133097"/>
                  </a:lnTo>
                  <a:lnTo>
                    <a:pt x="10656" y="132683"/>
                  </a:lnTo>
                  <a:lnTo>
                    <a:pt x="12239" y="129278"/>
                  </a:lnTo>
                  <a:lnTo>
                    <a:pt x="14717" y="122529"/>
                  </a:lnTo>
                  <a:lnTo>
                    <a:pt x="14620" y="118403"/>
                  </a:lnTo>
                  <a:lnTo>
                    <a:pt x="15211" y="114813"/>
                  </a:lnTo>
                  <a:lnTo>
                    <a:pt x="14529" y="111254"/>
                  </a:lnTo>
                  <a:lnTo>
                    <a:pt x="13285" y="109030"/>
                  </a:lnTo>
                  <a:lnTo>
                    <a:pt x="14981" y="103254"/>
                  </a:lnTo>
                  <a:lnTo>
                    <a:pt x="14788" y="100277"/>
                  </a:lnTo>
                  <a:lnTo>
                    <a:pt x="13237" y="96498"/>
                  </a:lnTo>
                  <a:lnTo>
                    <a:pt x="17942" y="97074"/>
                  </a:lnTo>
                  <a:lnTo>
                    <a:pt x="16490" y="95579"/>
                  </a:lnTo>
                  <a:lnTo>
                    <a:pt x="15055" y="94659"/>
                  </a:lnTo>
                  <a:lnTo>
                    <a:pt x="13668" y="94870"/>
                  </a:lnTo>
                  <a:lnTo>
                    <a:pt x="12492" y="94814"/>
                  </a:lnTo>
                  <a:lnTo>
                    <a:pt x="8485" y="96279"/>
                  </a:lnTo>
                  <a:lnTo>
                    <a:pt x="6479" y="96717"/>
                  </a:lnTo>
                  <a:lnTo>
                    <a:pt x="5892" y="96462"/>
                  </a:lnTo>
                  <a:lnTo>
                    <a:pt x="6111" y="94123"/>
                  </a:lnTo>
                  <a:lnTo>
                    <a:pt x="5071" y="91089"/>
                  </a:lnTo>
                  <a:lnTo>
                    <a:pt x="6676" y="90288"/>
                  </a:lnTo>
                  <a:lnTo>
                    <a:pt x="8545" y="90059"/>
                  </a:lnTo>
                  <a:lnTo>
                    <a:pt x="10133" y="88764"/>
                  </a:lnTo>
                  <a:lnTo>
                    <a:pt x="11115" y="87318"/>
                  </a:lnTo>
                  <a:lnTo>
                    <a:pt x="10597" y="84734"/>
                  </a:lnTo>
                  <a:lnTo>
                    <a:pt x="11977" y="82277"/>
                  </a:lnTo>
                  <a:lnTo>
                    <a:pt x="15216" y="80206"/>
                  </a:lnTo>
                  <a:lnTo>
                    <a:pt x="13538" y="80522"/>
                  </a:lnTo>
                  <a:lnTo>
                    <a:pt x="11618" y="81812"/>
                  </a:lnTo>
                  <a:lnTo>
                    <a:pt x="8595" y="86499"/>
                  </a:lnTo>
                  <a:lnTo>
                    <a:pt x="7605" y="88870"/>
                  </a:lnTo>
                  <a:lnTo>
                    <a:pt x="5029" y="89643"/>
                  </a:lnTo>
                  <a:lnTo>
                    <a:pt x="2720" y="90027"/>
                  </a:lnTo>
                  <a:lnTo>
                    <a:pt x="1538" y="89779"/>
                  </a:lnTo>
                  <a:lnTo>
                    <a:pt x="124" y="89178"/>
                  </a:lnTo>
                  <a:lnTo>
                    <a:pt x="0" y="87425"/>
                  </a:lnTo>
                  <a:lnTo>
                    <a:pt x="110" y="86027"/>
                  </a:lnTo>
                  <a:lnTo>
                    <a:pt x="1068" y="83250"/>
                  </a:lnTo>
                  <a:lnTo>
                    <a:pt x="1446" y="79328"/>
                  </a:lnTo>
                  <a:lnTo>
                    <a:pt x="2806" y="75806"/>
                  </a:lnTo>
                  <a:lnTo>
                    <a:pt x="2709" y="74870"/>
                  </a:lnTo>
                  <a:lnTo>
                    <a:pt x="2321" y="73470"/>
                  </a:lnTo>
                  <a:lnTo>
                    <a:pt x="3540" y="72100"/>
                  </a:lnTo>
                  <a:lnTo>
                    <a:pt x="5049" y="71195"/>
                  </a:lnTo>
                  <a:lnTo>
                    <a:pt x="7329" y="68169"/>
                  </a:lnTo>
                  <a:lnTo>
                    <a:pt x="10518" y="60941"/>
                  </a:lnTo>
                  <a:lnTo>
                    <a:pt x="14194" y="53248"/>
                  </a:lnTo>
                  <a:lnTo>
                    <a:pt x="13896" y="52305"/>
                  </a:lnTo>
                  <a:lnTo>
                    <a:pt x="13115" y="51583"/>
                  </a:lnTo>
                  <a:lnTo>
                    <a:pt x="13424" y="49503"/>
                  </a:lnTo>
                  <a:lnTo>
                    <a:pt x="15640" y="40432"/>
                  </a:lnTo>
                  <a:lnTo>
                    <a:pt x="16543" y="39245"/>
                  </a:lnTo>
                  <a:lnTo>
                    <a:pt x="17582" y="36579"/>
                  </a:lnTo>
                  <a:lnTo>
                    <a:pt x="17817" y="32272"/>
                  </a:lnTo>
                  <a:lnTo>
                    <a:pt x="18224" y="29301"/>
                  </a:lnTo>
                  <a:lnTo>
                    <a:pt x="18130" y="27806"/>
                  </a:lnTo>
                  <a:lnTo>
                    <a:pt x="17803" y="26010"/>
                  </a:lnTo>
                  <a:lnTo>
                    <a:pt x="16393" y="22578"/>
                  </a:lnTo>
                  <a:lnTo>
                    <a:pt x="14905" y="15307"/>
                  </a:lnTo>
                  <a:lnTo>
                    <a:pt x="14791" y="12875"/>
                  </a:lnTo>
                  <a:lnTo>
                    <a:pt x="16016" y="11646"/>
                  </a:lnTo>
                  <a:lnTo>
                    <a:pt x="14005" y="11466"/>
                  </a:lnTo>
                  <a:lnTo>
                    <a:pt x="13094" y="9893"/>
                  </a:lnTo>
                  <a:lnTo>
                    <a:pt x="13301" y="8105"/>
                  </a:lnTo>
                  <a:lnTo>
                    <a:pt x="15536" y="5214"/>
                  </a:lnTo>
                  <a:lnTo>
                    <a:pt x="17618" y="3425"/>
                  </a:lnTo>
                  <a:lnTo>
                    <a:pt x="19682" y="2250"/>
                  </a:lnTo>
                  <a:lnTo>
                    <a:pt x="20822" y="1809"/>
                  </a:lnTo>
                  <a:lnTo>
                    <a:pt x="25588" y="593"/>
                  </a:lnTo>
                  <a:lnTo>
                    <a:pt x="26837" y="0"/>
                  </a:lnTo>
                  <a:lnTo>
                    <a:pt x="28009" y="99"/>
                  </a:lnTo>
                  <a:lnTo>
                    <a:pt x="28205" y="679"/>
                  </a:lnTo>
                  <a:lnTo>
                    <a:pt x="28882" y="1808"/>
                  </a:lnTo>
                  <a:lnTo>
                    <a:pt x="29640" y="2590"/>
                  </a:lnTo>
                  <a:lnTo>
                    <a:pt x="29846" y="3168"/>
                  </a:lnTo>
                  <a:lnTo>
                    <a:pt x="28003" y="5585"/>
                  </a:lnTo>
                  <a:lnTo>
                    <a:pt x="27750" y="6414"/>
                  </a:lnTo>
                  <a:lnTo>
                    <a:pt x="28712" y="7975"/>
                  </a:lnTo>
                  <a:close/>
                </a:path>
              </a:pathLst>
            </a:custGeom>
            <a:solidFill>
              <a:srgbClr val="C7CDD0"/>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AT" sz="1600" err="1">
                <a:solidFill>
                  <a:schemeClr val="tx1"/>
                </a:solidFill>
                <a:latin typeface="Calibri" panose="020F0502020204030204" pitchFamily="34" charset="0"/>
                <a:cs typeface="Calibri" panose="020F0502020204030204" pitchFamily="34" charset="0"/>
              </a:endParaRPr>
            </a:p>
          </p:txBody>
        </p:sp>
        <p:sp>
          <p:nvSpPr>
            <p:cNvPr id="103" name="ee4p_RO_1_86241">
              <a:extLst>
                <a:ext uri="{FF2B5EF4-FFF2-40B4-BE49-F238E27FC236}">
                  <a16:creationId xmlns:a16="http://schemas.microsoft.com/office/drawing/2014/main" id="{96A6080A-5372-46B7-82E6-ADBE52EB1601}"/>
                </a:ext>
              </a:extLst>
            </p:cNvPr>
            <p:cNvSpPr>
              <a:spLocks noChangeAspect="1"/>
            </p:cNvSpPr>
            <p:nvPr>
              <p:custDataLst>
                <p:tags r:id="rId41"/>
              </p:custDataLst>
            </p:nvPr>
          </p:nvSpPr>
          <p:spPr>
            <a:xfrm>
              <a:off x="7468439" y="3194884"/>
              <a:ext cx="634219" cy="394516"/>
            </a:xfrm>
            <a:custGeom>
              <a:avLst/>
              <a:gdLst/>
              <a:ahLst/>
              <a:cxnLst/>
              <a:rect l="0" t="0" r="0" b="0"/>
              <a:pathLst>
                <a:path w="209271" h="126830">
                  <a:moveTo>
                    <a:pt x="176249" y="78400"/>
                  </a:moveTo>
                  <a:lnTo>
                    <a:pt x="178575" y="81236"/>
                  </a:lnTo>
                  <a:lnTo>
                    <a:pt x="181529" y="82742"/>
                  </a:lnTo>
                  <a:lnTo>
                    <a:pt x="188372" y="84333"/>
                  </a:lnTo>
                  <a:lnTo>
                    <a:pt x="188980" y="84146"/>
                  </a:lnTo>
                  <a:lnTo>
                    <a:pt x="189050" y="83846"/>
                  </a:lnTo>
                  <a:lnTo>
                    <a:pt x="188573" y="83435"/>
                  </a:lnTo>
                  <a:lnTo>
                    <a:pt x="188501" y="82905"/>
                  </a:lnTo>
                  <a:lnTo>
                    <a:pt x="188836" y="82257"/>
                  </a:lnTo>
                  <a:lnTo>
                    <a:pt x="189777" y="82224"/>
                  </a:lnTo>
                  <a:lnTo>
                    <a:pt x="191326" y="82804"/>
                  </a:lnTo>
                  <a:lnTo>
                    <a:pt x="194269" y="81964"/>
                  </a:lnTo>
                  <a:lnTo>
                    <a:pt x="198605" y="79704"/>
                  </a:lnTo>
                  <a:lnTo>
                    <a:pt x="202589" y="79245"/>
                  </a:lnTo>
                  <a:lnTo>
                    <a:pt x="206215" y="80586"/>
                  </a:lnTo>
                  <a:lnTo>
                    <a:pt x="208078" y="82146"/>
                  </a:lnTo>
                  <a:lnTo>
                    <a:pt x="209270" y="83626"/>
                  </a:lnTo>
                  <a:lnTo>
                    <a:pt x="208899" y="85454"/>
                  </a:lnTo>
                  <a:lnTo>
                    <a:pt x="208668" y="86591"/>
                  </a:lnTo>
                  <a:lnTo>
                    <a:pt x="207711" y="91297"/>
                  </a:lnTo>
                  <a:lnTo>
                    <a:pt x="207050" y="93049"/>
                  </a:lnTo>
                  <a:lnTo>
                    <a:pt x="205990" y="95016"/>
                  </a:lnTo>
                  <a:lnTo>
                    <a:pt x="194729" y="97358"/>
                  </a:lnTo>
                  <a:lnTo>
                    <a:pt x="195454" y="96233"/>
                  </a:lnTo>
                  <a:lnTo>
                    <a:pt x="195191" y="94260"/>
                  </a:lnTo>
                  <a:lnTo>
                    <a:pt x="194718" y="92770"/>
                  </a:lnTo>
                  <a:lnTo>
                    <a:pt x="195770" y="91422"/>
                  </a:lnTo>
                  <a:lnTo>
                    <a:pt x="193234" y="90933"/>
                  </a:lnTo>
                  <a:lnTo>
                    <a:pt x="192127" y="91674"/>
                  </a:lnTo>
                  <a:lnTo>
                    <a:pt x="191263" y="92962"/>
                  </a:lnTo>
                  <a:lnTo>
                    <a:pt x="192030" y="95928"/>
                  </a:lnTo>
                  <a:lnTo>
                    <a:pt x="190797" y="97566"/>
                  </a:lnTo>
                  <a:lnTo>
                    <a:pt x="190324" y="98483"/>
                  </a:lnTo>
                  <a:lnTo>
                    <a:pt x="190268" y="100647"/>
                  </a:lnTo>
                  <a:lnTo>
                    <a:pt x="189540" y="101583"/>
                  </a:lnTo>
                  <a:lnTo>
                    <a:pt x="189395" y="102602"/>
                  </a:lnTo>
                  <a:lnTo>
                    <a:pt x="191190" y="102338"/>
                  </a:lnTo>
                  <a:lnTo>
                    <a:pt x="190384" y="104205"/>
                  </a:lnTo>
                  <a:lnTo>
                    <a:pt x="187011" y="107790"/>
                  </a:lnTo>
                  <a:lnTo>
                    <a:pt x="185821" y="109923"/>
                  </a:lnTo>
                  <a:lnTo>
                    <a:pt x="186113" y="118372"/>
                  </a:lnTo>
                  <a:lnTo>
                    <a:pt x="184612" y="123412"/>
                  </a:lnTo>
                  <a:lnTo>
                    <a:pt x="184494" y="124901"/>
                  </a:lnTo>
                  <a:lnTo>
                    <a:pt x="180913" y="124949"/>
                  </a:lnTo>
                  <a:lnTo>
                    <a:pt x="179847" y="124833"/>
                  </a:lnTo>
                  <a:lnTo>
                    <a:pt x="176458" y="124075"/>
                  </a:lnTo>
                  <a:lnTo>
                    <a:pt x="172655" y="122736"/>
                  </a:lnTo>
                  <a:lnTo>
                    <a:pt x="170421" y="120137"/>
                  </a:lnTo>
                  <a:lnTo>
                    <a:pt x="168991" y="118277"/>
                  </a:lnTo>
                  <a:lnTo>
                    <a:pt x="165769" y="119118"/>
                  </a:lnTo>
                  <a:lnTo>
                    <a:pt x="165154" y="118893"/>
                  </a:lnTo>
                  <a:lnTo>
                    <a:pt x="164273" y="117995"/>
                  </a:lnTo>
                  <a:lnTo>
                    <a:pt x="161844" y="117392"/>
                  </a:lnTo>
                  <a:lnTo>
                    <a:pt x="158844" y="117380"/>
                  </a:lnTo>
                  <a:lnTo>
                    <a:pt x="152107" y="113978"/>
                  </a:lnTo>
                  <a:lnTo>
                    <a:pt x="151360" y="113402"/>
                  </a:lnTo>
                  <a:lnTo>
                    <a:pt x="146071" y="113977"/>
                  </a:lnTo>
                  <a:lnTo>
                    <a:pt x="138144" y="115662"/>
                  </a:lnTo>
                  <a:lnTo>
                    <a:pt x="132098" y="117738"/>
                  </a:lnTo>
                  <a:lnTo>
                    <a:pt x="125853" y="121436"/>
                  </a:lnTo>
                  <a:lnTo>
                    <a:pt x="123320" y="124237"/>
                  </a:lnTo>
                  <a:lnTo>
                    <a:pt x="120385" y="125724"/>
                  </a:lnTo>
                  <a:lnTo>
                    <a:pt x="116205" y="126829"/>
                  </a:lnTo>
                  <a:lnTo>
                    <a:pt x="108744" y="126410"/>
                  </a:lnTo>
                  <a:lnTo>
                    <a:pt x="100973" y="125005"/>
                  </a:lnTo>
                  <a:lnTo>
                    <a:pt x="92622" y="123493"/>
                  </a:lnTo>
                  <a:lnTo>
                    <a:pt x="88116" y="124328"/>
                  </a:lnTo>
                  <a:lnTo>
                    <a:pt x="82013" y="123702"/>
                  </a:lnTo>
                  <a:lnTo>
                    <a:pt x="72810" y="121895"/>
                  </a:lnTo>
                  <a:lnTo>
                    <a:pt x="65956" y="121346"/>
                  </a:lnTo>
                  <a:lnTo>
                    <a:pt x="59199" y="122411"/>
                  </a:lnTo>
                  <a:lnTo>
                    <a:pt x="58064" y="121598"/>
                  </a:lnTo>
                  <a:lnTo>
                    <a:pt x="57815" y="120666"/>
                  </a:lnTo>
                  <a:lnTo>
                    <a:pt x="58076" y="119345"/>
                  </a:lnTo>
                  <a:lnTo>
                    <a:pt x="59029" y="118281"/>
                  </a:lnTo>
                  <a:lnTo>
                    <a:pt x="60666" y="117476"/>
                  </a:lnTo>
                  <a:lnTo>
                    <a:pt x="61529" y="116657"/>
                  </a:lnTo>
                  <a:lnTo>
                    <a:pt x="61620" y="115824"/>
                  </a:lnTo>
                  <a:lnTo>
                    <a:pt x="59783" y="114489"/>
                  </a:lnTo>
                  <a:lnTo>
                    <a:pt x="56019" y="112648"/>
                  </a:lnTo>
                  <a:lnTo>
                    <a:pt x="54468" y="111493"/>
                  </a:lnTo>
                  <a:lnTo>
                    <a:pt x="54088" y="111208"/>
                  </a:lnTo>
                  <a:lnTo>
                    <a:pt x="53987" y="110172"/>
                  </a:lnTo>
                  <a:lnTo>
                    <a:pt x="53205" y="109359"/>
                  </a:lnTo>
                  <a:lnTo>
                    <a:pt x="51743" y="108764"/>
                  </a:lnTo>
                  <a:lnTo>
                    <a:pt x="50611" y="107688"/>
                  </a:lnTo>
                  <a:lnTo>
                    <a:pt x="49813" y="106127"/>
                  </a:lnTo>
                  <a:lnTo>
                    <a:pt x="49985" y="104654"/>
                  </a:lnTo>
                  <a:lnTo>
                    <a:pt x="51128" y="103274"/>
                  </a:lnTo>
                  <a:lnTo>
                    <a:pt x="52590" y="102675"/>
                  </a:lnTo>
                  <a:lnTo>
                    <a:pt x="54373" y="102861"/>
                  </a:lnTo>
                  <a:lnTo>
                    <a:pt x="55116" y="102469"/>
                  </a:lnTo>
                  <a:lnTo>
                    <a:pt x="54818" y="101501"/>
                  </a:lnTo>
                  <a:lnTo>
                    <a:pt x="53075" y="100263"/>
                  </a:lnTo>
                  <a:lnTo>
                    <a:pt x="49882" y="98757"/>
                  </a:lnTo>
                  <a:lnTo>
                    <a:pt x="46632" y="99578"/>
                  </a:lnTo>
                  <a:lnTo>
                    <a:pt x="43322" y="102721"/>
                  </a:lnTo>
                  <a:lnTo>
                    <a:pt x="40935" y="103231"/>
                  </a:lnTo>
                  <a:lnTo>
                    <a:pt x="39473" y="101110"/>
                  </a:lnTo>
                  <a:lnTo>
                    <a:pt x="36871" y="99850"/>
                  </a:lnTo>
                  <a:lnTo>
                    <a:pt x="33133" y="99454"/>
                  </a:lnTo>
                  <a:lnTo>
                    <a:pt x="30832" y="98643"/>
                  </a:lnTo>
                  <a:lnTo>
                    <a:pt x="29968" y="97417"/>
                  </a:lnTo>
                  <a:lnTo>
                    <a:pt x="28333" y="96471"/>
                  </a:lnTo>
                  <a:lnTo>
                    <a:pt x="24727" y="95473"/>
                  </a:lnTo>
                  <a:lnTo>
                    <a:pt x="24679" y="94514"/>
                  </a:lnTo>
                  <a:lnTo>
                    <a:pt x="25264" y="94289"/>
                  </a:lnTo>
                  <a:lnTo>
                    <a:pt x="26543" y="94198"/>
                  </a:lnTo>
                  <a:lnTo>
                    <a:pt x="28262" y="93996"/>
                  </a:lnTo>
                  <a:lnTo>
                    <a:pt x="28536" y="93453"/>
                  </a:lnTo>
                  <a:lnTo>
                    <a:pt x="28555" y="92957"/>
                  </a:lnTo>
                  <a:lnTo>
                    <a:pt x="27202" y="92325"/>
                  </a:lnTo>
                  <a:lnTo>
                    <a:pt x="25830" y="91895"/>
                  </a:lnTo>
                  <a:lnTo>
                    <a:pt x="25118" y="91466"/>
                  </a:lnTo>
                  <a:lnTo>
                    <a:pt x="24660" y="90992"/>
                  </a:lnTo>
                  <a:lnTo>
                    <a:pt x="24569" y="90494"/>
                  </a:lnTo>
                  <a:lnTo>
                    <a:pt x="24971" y="90156"/>
                  </a:lnTo>
                  <a:lnTo>
                    <a:pt x="25520" y="90133"/>
                  </a:lnTo>
                  <a:lnTo>
                    <a:pt x="26068" y="89839"/>
                  </a:lnTo>
                  <a:lnTo>
                    <a:pt x="26373" y="88685"/>
                  </a:lnTo>
                  <a:lnTo>
                    <a:pt x="27111" y="87736"/>
                  </a:lnTo>
                  <a:lnTo>
                    <a:pt x="27640" y="87396"/>
                  </a:lnTo>
                  <a:lnTo>
                    <a:pt x="27605" y="86694"/>
                  </a:lnTo>
                  <a:lnTo>
                    <a:pt x="27057" y="86038"/>
                  </a:lnTo>
                  <a:lnTo>
                    <a:pt x="26306" y="85472"/>
                  </a:lnTo>
                  <a:lnTo>
                    <a:pt x="25206" y="85129"/>
                  </a:lnTo>
                  <a:lnTo>
                    <a:pt x="21773" y="84137"/>
                  </a:lnTo>
                  <a:lnTo>
                    <a:pt x="20035" y="82754"/>
                  </a:lnTo>
                  <a:lnTo>
                    <a:pt x="18974" y="82704"/>
                  </a:lnTo>
                  <a:lnTo>
                    <a:pt x="17292" y="81937"/>
                  </a:lnTo>
                  <a:lnTo>
                    <a:pt x="15478" y="80736"/>
                  </a:lnTo>
                  <a:lnTo>
                    <a:pt x="13909" y="79029"/>
                  </a:lnTo>
                  <a:lnTo>
                    <a:pt x="12211" y="77921"/>
                  </a:lnTo>
                  <a:lnTo>
                    <a:pt x="11773" y="77467"/>
                  </a:lnTo>
                  <a:lnTo>
                    <a:pt x="11734" y="77036"/>
                  </a:lnTo>
                  <a:lnTo>
                    <a:pt x="12045" y="76559"/>
                  </a:lnTo>
                  <a:lnTo>
                    <a:pt x="12034" y="76037"/>
                  </a:lnTo>
                  <a:lnTo>
                    <a:pt x="11587" y="74360"/>
                  </a:lnTo>
                  <a:lnTo>
                    <a:pt x="11885" y="72585"/>
                  </a:lnTo>
                  <a:lnTo>
                    <a:pt x="11807" y="70919"/>
                  </a:lnTo>
                  <a:lnTo>
                    <a:pt x="11790" y="70168"/>
                  </a:lnTo>
                  <a:lnTo>
                    <a:pt x="11462" y="69939"/>
                  </a:lnTo>
                  <a:lnTo>
                    <a:pt x="11168" y="70190"/>
                  </a:lnTo>
                  <a:lnTo>
                    <a:pt x="10747" y="70509"/>
                  </a:lnTo>
                  <a:lnTo>
                    <a:pt x="10337" y="70568"/>
                  </a:lnTo>
                  <a:lnTo>
                    <a:pt x="9086" y="69353"/>
                  </a:lnTo>
                  <a:lnTo>
                    <a:pt x="7504" y="66869"/>
                  </a:lnTo>
                  <a:lnTo>
                    <a:pt x="6430" y="66041"/>
                  </a:lnTo>
                  <a:lnTo>
                    <a:pt x="4338" y="64902"/>
                  </a:lnTo>
                  <a:lnTo>
                    <a:pt x="2583" y="63944"/>
                  </a:lnTo>
                  <a:lnTo>
                    <a:pt x="1317" y="61867"/>
                  </a:lnTo>
                  <a:lnTo>
                    <a:pt x="0" y="60267"/>
                  </a:lnTo>
                  <a:lnTo>
                    <a:pt x="866" y="59592"/>
                  </a:lnTo>
                  <a:lnTo>
                    <a:pt x="5889" y="58653"/>
                  </a:lnTo>
                  <a:lnTo>
                    <a:pt x="8223" y="59578"/>
                  </a:lnTo>
                  <a:lnTo>
                    <a:pt x="9270" y="59242"/>
                  </a:lnTo>
                  <a:lnTo>
                    <a:pt x="10296" y="58491"/>
                  </a:lnTo>
                  <a:lnTo>
                    <a:pt x="10855" y="57893"/>
                  </a:lnTo>
                  <a:lnTo>
                    <a:pt x="10959" y="57255"/>
                  </a:lnTo>
                  <a:lnTo>
                    <a:pt x="11464" y="56459"/>
                  </a:lnTo>
                  <a:lnTo>
                    <a:pt x="13161" y="56086"/>
                  </a:lnTo>
                  <a:lnTo>
                    <a:pt x="17646" y="56570"/>
                  </a:lnTo>
                  <a:lnTo>
                    <a:pt x="19456" y="55457"/>
                  </a:lnTo>
                  <a:lnTo>
                    <a:pt x="20125" y="54850"/>
                  </a:lnTo>
                  <a:lnTo>
                    <a:pt x="20533" y="53510"/>
                  </a:lnTo>
                  <a:lnTo>
                    <a:pt x="21006" y="52433"/>
                  </a:lnTo>
                  <a:lnTo>
                    <a:pt x="22615" y="51857"/>
                  </a:lnTo>
                  <a:lnTo>
                    <a:pt x="22587" y="50874"/>
                  </a:lnTo>
                  <a:lnTo>
                    <a:pt x="22343" y="49802"/>
                  </a:lnTo>
                  <a:lnTo>
                    <a:pt x="23278" y="47411"/>
                  </a:lnTo>
                  <a:lnTo>
                    <a:pt x="23846" y="46429"/>
                  </a:lnTo>
                  <a:lnTo>
                    <a:pt x="24755" y="46069"/>
                  </a:lnTo>
                  <a:lnTo>
                    <a:pt x="25854" y="45316"/>
                  </a:lnTo>
                  <a:lnTo>
                    <a:pt x="27757" y="43746"/>
                  </a:lnTo>
                  <a:lnTo>
                    <a:pt x="27314" y="42381"/>
                  </a:lnTo>
                  <a:lnTo>
                    <a:pt x="27698" y="41368"/>
                  </a:lnTo>
                  <a:lnTo>
                    <a:pt x="29683" y="38899"/>
                  </a:lnTo>
                  <a:lnTo>
                    <a:pt x="31197" y="36517"/>
                  </a:lnTo>
                  <a:lnTo>
                    <a:pt x="31171" y="35324"/>
                  </a:lnTo>
                  <a:lnTo>
                    <a:pt x="31391" y="34281"/>
                  </a:lnTo>
                  <a:lnTo>
                    <a:pt x="32725" y="33138"/>
                  </a:lnTo>
                  <a:lnTo>
                    <a:pt x="34133" y="31648"/>
                  </a:lnTo>
                  <a:lnTo>
                    <a:pt x="35988" y="26992"/>
                  </a:lnTo>
                  <a:lnTo>
                    <a:pt x="36649" y="26208"/>
                  </a:lnTo>
                  <a:lnTo>
                    <a:pt x="37867" y="25320"/>
                  </a:lnTo>
                  <a:lnTo>
                    <a:pt x="38774" y="24439"/>
                  </a:lnTo>
                  <a:lnTo>
                    <a:pt x="38871" y="21373"/>
                  </a:lnTo>
                  <a:lnTo>
                    <a:pt x="39717" y="20486"/>
                  </a:lnTo>
                  <a:lnTo>
                    <a:pt x="41352" y="19492"/>
                  </a:lnTo>
                  <a:lnTo>
                    <a:pt x="42970" y="17890"/>
                  </a:lnTo>
                  <a:lnTo>
                    <a:pt x="44287" y="15997"/>
                  </a:lnTo>
                  <a:lnTo>
                    <a:pt x="45304" y="15113"/>
                  </a:lnTo>
                  <a:lnTo>
                    <a:pt x="46649" y="14877"/>
                  </a:lnTo>
                  <a:lnTo>
                    <a:pt x="48109" y="14133"/>
                  </a:lnTo>
                  <a:lnTo>
                    <a:pt x="49744" y="13854"/>
                  </a:lnTo>
                  <a:lnTo>
                    <a:pt x="51324" y="14220"/>
                  </a:lnTo>
                  <a:lnTo>
                    <a:pt x="52330" y="14030"/>
                  </a:lnTo>
                  <a:lnTo>
                    <a:pt x="53842" y="13109"/>
                  </a:lnTo>
                  <a:lnTo>
                    <a:pt x="57712" y="9629"/>
                  </a:lnTo>
                  <a:lnTo>
                    <a:pt x="58262" y="8933"/>
                  </a:lnTo>
                  <a:lnTo>
                    <a:pt x="59063" y="8454"/>
                  </a:lnTo>
                  <a:lnTo>
                    <a:pt x="62201" y="7261"/>
                  </a:lnTo>
                  <a:lnTo>
                    <a:pt x="62998" y="6059"/>
                  </a:lnTo>
                  <a:lnTo>
                    <a:pt x="64073" y="4978"/>
                  </a:lnTo>
                  <a:lnTo>
                    <a:pt x="65470" y="5059"/>
                  </a:lnTo>
                  <a:lnTo>
                    <a:pt x="70016" y="7728"/>
                  </a:lnTo>
                  <a:lnTo>
                    <a:pt x="74892" y="7563"/>
                  </a:lnTo>
                  <a:lnTo>
                    <a:pt x="75784" y="7662"/>
                  </a:lnTo>
                  <a:lnTo>
                    <a:pt x="76071" y="7717"/>
                  </a:lnTo>
                  <a:lnTo>
                    <a:pt x="76667" y="7936"/>
                  </a:lnTo>
                  <a:lnTo>
                    <a:pt x="83143" y="9256"/>
                  </a:lnTo>
                  <a:lnTo>
                    <a:pt x="84149" y="9109"/>
                  </a:lnTo>
                  <a:lnTo>
                    <a:pt x="84423" y="9003"/>
                  </a:lnTo>
                  <a:lnTo>
                    <a:pt x="87032" y="10095"/>
                  </a:lnTo>
                  <a:lnTo>
                    <a:pt x="89336" y="9950"/>
                  </a:lnTo>
                  <a:lnTo>
                    <a:pt x="91526" y="9193"/>
                  </a:lnTo>
                  <a:lnTo>
                    <a:pt x="93806" y="8937"/>
                  </a:lnTo>
                  <a:lnTo>
                    <a:pt x="95902" y="9390"/>
                  </a:lnTo>
                  <a:lnTo>
                    <a:pt x="97496" y="10927"/>
                  </a:lnTo>
                  <a:lnTo>
                    <a:pt x="101629" y="14184"/>
                  </a:lnTo>
                  <a:lnTo>
                    <a:pt x="102856" y="15396"/>
                  </a:lnTo>
                  <a:lnTo>
                    <a:pt x="104752" y="15217"/>
                  </a:lnTo>
                  <a:lnTo>
                    <a:pt x="106846" y="14610"/>
                  </a:lnTo>
                  <a:lnTo>
                    <a:pt x="108964" y="12432"/>
                  </a:lnTo>
                  <a:lnTo>
                    <a:pt x="115480" y="9961"/>
                  </a:lnTo>
                  <a:lnTo>
                    <a:pt x="120455" y="9350"/>
                  </a:lnTo>
                  <a:lnTo>
                    <a:pt x="125307" y="8360"/>
                  </a:lnTo>
                  <a:lnTo>
                    <a:pt x="130924" y="7656"/>
                  </a:lnTo>
                  <a:lnTo>
                    <a:pt x="132549" y="5629"/>
                  </a:lnTo>
                  <a:lnTo>
                    <a:pt x="133450" y="4248"/>
                  </a:lnTo>
                  <a:lnTo>
                    <a:pt x="134085" y="1690"/>
                  </a:lnTo>
                  <a:lnTo>
                    <a:pt x="137108" y="948"/>
                  </a:lnTo>
                  <a:lnTo>
                    <a:pt x="139984" y="425"/>
                  </a:lnTo>
                  <a:lnTo>
                    <a:pt x="141012" y="102"/>
                  </a:lnTo>
                  <a:lnTo>
                    <a:pt x="143109" y="0"/>
                  </a:lnTo>
                  <a:lnTo>
                    <a:pt x="144735" y="217"/>
                  </a:lnTo>
                  <a:lnTo>
                    <a:pt x="147249" y="1481"/>
                  </a:lnTo>
                  <a:lnTo>
                    <a:pt x="149013" y="3067"/>
                  </a:lnTo>
                  <a:lnTo>
                    <a:pt x="149708" y="4325"/>
                  </a:lnTo>
                  <a:lnTo>
                    <a:pt x="151215" y="6100"/>
                  </a:lnTo>
                  <a:lnTo>
                    <a:pt x="152800" y="8594"/>
                  </a:lnTo>
                  <a:lnTo>
                    <a:pt x="154543" y="11906"/>
                  </a:lnTo>
                  <a:lnTo>
                    <a:pt x="154925" y="13582"/>
                  </a:lnTo>
                  <a:lnTo>
                    <a:pt x="155584" y="15390"/>
                  </a:lnTo>
                  <a:lnTo>
                    <a:pt x="156888" y="17590"/>
                  </a:lnTo>
                  <a:lnTo>
                    <a:pt x="159371" y="20023"/>
                  </a:lnTo>
                  <a:lnTo>
                    <a:pt x="159717" y="20485"/>
                  </a:lnTo>
                  <a:lnTo>
                    <a:pt x="160844" y="22198"/>
                  </a:lnTo>
                  <a:lnTo>
                    <a:pt x="163016" y="25985"/>
                  </a:lnTo>
                  <a:lnTo>
                    <a:pt x="164832" y="27500"/>
                  </a:lnTo>
                  <a:lnTo>
                    <a:pt x="166419" y="29147"/>
                  </a:lnTo>
                  <a:lnTo>
                    <a:pt x="167179" y="30805"/>
                  </a:lnTo>
                  <a:lnTo>
                    <a:pt x="168317" y="32309"/>
                  </a:lnTo>
                  <a:lnTo>
                    <a:pt x="170980" y="34300"/>
                  </a:lnTo>
                  <a:lnTo>
                    <a:pt x="173137" y="36109"/>
                  </a:lnTo>
                  <a:lnTo>
                    <a:pt x="174867" y="41302"/>
                  </a:lnTo>
                  <a:lnTo>
                    <a:pt x="176076" y="43687"/>
                  </a:lnTo>
                  <a:lnTo>
                    <a:pt x="176845" y="45511"/>
                  </a:lnTo>
                  <a:lnTo>
                    <a:pt x="176473" y="49200"/>
                  </a:lnTo>
                  <a:lnTo>
                    <a:pt x="176953" y="50776"/>
                  </a:lnTo>
                  <a:lnTo>
                    <a:pt x="175964" y="53652"/>
                  </a:lnTo>
                  <a:lnTo>
                    <a:pt x="174184" y="59435"/>
                  </a:lnTo>
                  <a:lnTo>
                    <a:pt x="173755" y="64024"/>
                  </a:lnTo>
                  <a:lnTo>
                    <a:pt x="174062" y="66495"/>
                  </a:lnTo>
                  <a:lnTo>
                    <a:pt x="174105" y="68081"/>
                  </a:lnTo>
                  <a:lnTo>
                    <a:pt x="174534" y="69091"/>
                  </a:lnTo>
                  <a:lnTo>
                    <a:pt x="175005" y="71179"/>
                  </a:lnTo>
                  <a:lnTo>
                    <a:pt x="175083" y="72995"/>
                  </a:lnTo>
                  <a:lnTo>
                    <a:pt x="174444" y="73513"/>
                  </a:lnTo>
                  <a:lnTo>
                    <a:pt x="173548" y="73940"/>
                  </a:lnTo>
                  <a:lnTo>
                    <a:pt x="173202" y="74319"/>
                  </a:lnTo>
                  <a:lnTo>
                    <a:pt x="174025" y="75139"/>
                  </a:lnTo>
                  <a:lnTo>
                    <a:pt x="175143" y="76661"/>
                  </a:lnTo>
                  <a:close/>
                </a:path>
              </a:pathLst>
            </a:custGeom>
            <a:solidFill>
              <a:srgbClr val="C7CDD0"/>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AT" sz="1600" err="1">
                <a:solidFill>
                  <a:schemeClr val="tx1"/>
                </a:solidFill>
                <a:latin typeface="Calibri" panose="020F0502020204030204" pitchFamily="34" charset="0"/>
                <a:cs typeface="Calibri" panose="020F0502020204030204" pitchFamily="34" charset="0"/>
              </a:endParaRPr>
            </a:p>
          </p:txBody>
        </p:sp>
        <p:sp>
          <p:nvSpPr>
            <p:cNvPr id="104" name="ee4p_IT_2_86241">
              <a:extLst>
                <a:ext uri="{FF2B5EF4-FFF2-40B4-BE49-F238E27FC236}">
                  <a16:creationId xmlns:a16="http://schemas.microsoft.com/office/drawing/2014/main" id="{43BFBB49-0C90-4325-B617-5C820728D172}"/>
                </a:ext>
              </a:extLst>
            </p:cNvPr>
            <p:cNvSpPr>
              <a:spLocks noChangeAspect="1"/>
            </p:cNvSpPr>
            <p:nvPr>
              <p:custDataLst>
                <p:tags r:id="rId42"/>
              </p:custDataLst>
            </p:nvPr>
          </p:nvSpPr>
          <p:spPr>
            <a:xfrm>
              <a:off x="6556112" y="3298197"/>
              <a:ext cx="794651" cy="759622"/>
            </a:xfrm>
            <a:custGeom>
              <a:avLst/>
              <a:gdLst/>
              <a:ahLst/>
              <a:cxnLst/>
              <a:rect l="l" t="t" r="r" b="b"/>
              <a:pathLst>
                <a:path w="262208" h="244205">
                  <a:moveTo>
                    <a:pt x="129930" y="85000"/>
                  </a:moveTo>
                  <a:lnTo>
                    <a:pt x="128546" y="85198"/>
                  </a:lnTo>
                  <a:lnTo>
                    <a:pt x="127568" y="86492"/>
                  </a:lnTo>
                  <a:lnTo>
                    <a:pt x="128220" y="87586"/>
                  </a:lnTo>
                  <a:lnTo>
                    <a:pt x="129522" y="87389"/>
                  </a:lnTo>
                  <a:lnTo>
                    <a:pt x="130172" y="85994"/>
                  </a:lnTo>
                  <a:close/>
                  <a:moveTo>
                    <a:pt x="122539" y="0"/>
                  </a:moveTo>
                  <a:lnTo>
                    <a:pt x="123152" y="199"/>
                  </a:lnTo>
                  <a:lnTo>
                    <a:pt x="123243" y="593"/>
                  </a:lnTo>
                  <a:lnTo>
                    <a:pt x="122452" y="1507"/>
                  </a:lnTo>
                  <a:lnTo>
                    <a:pt x="121684" y="2719"/>
                  </a:lnTo>
                  <a:lnTo>
                    <a:pt x="122200" y="4100"/>
                  </a:lnTo>
                  <a:lnTo>
                    <a:pt x="124718" y="6870"/>
                  </a:lnTo>
                  <a:lnTo>
                    <a:pt x="126091" y="8988"/>
                  </a:lnTo>
                  <a:lnTo>
                    <a:pt x="127378" y="10579"/>
                  </a:lnTo>
                  <a:lnTo>
                    <a:pt x="129388" y="11417"/>
                  </a:lnTo>
                  <a:lnTo>
                    <a:pt x="132029" y="11929"/>
                  </a:lnTo>
                  <a:lnTo>
                    <a:pt x="134266" y="12114"/>
                  </a:lnTo>
                  <a:lnTo>
                    <a:pt x="136605" y="12714"/>
                  </a:lnTo>
                  <a:lnTo>
                    <a:pt x="144636" y="14193"/>
                  </a:lnTo>
                  <a:lnTo>
                    <a:pt x="148678" y="14602"/>
                  </a:lnTo>
                  <a:lnTo>
                    <a:pt x="151740" y="14668"/>
                  </a:lnTo>
                  <a:lnTo>
                    <a:pt x="156383" y="15648"/>
                  </a:lnTo>
                  <a:lnTo>
                    <a:pt x="155934" y="17241"/>
                  </a:lnTo>
                  <a:lnTo>
                    <a:pt x="154992" y="17639"/>
                  </a:lnTo>
                  <a:lnTo>
                    <a:pt x="153360" y="18567"/>
                  </a:lnTo>
                  <a:lnTo>
                    <a:pt x="151486" y="19839"/>
                  </a:lnTo>
                  <a:lnTo>
                    <a:pt x="149738" y="21271"/>
                  </a:lnTo>
                  <a:lnTo>
                    <a:pt x="149268" y="22820"/>
                  </a:lnTo>
                  <a:lnTo>
                    <a:pt x="149741" y="23835"/>
                  </a:lnTo>
                  <a:lnTo>
                    <a:pt x="150214" y="24185"/>
                  </a:lnTo>
                  <a:lnTo>
                    <a:pt x="150851" y="23874"/>
                  </a:lnTo>
                  <a:lnTo>
                    <a:pt x="151779" y="24066"/>
                  </a:lnTo>
                  <a:lnTo>
                    <a:pt x="152949" y="24620"/>
                  </a:lnTo>
                  <a:lnTo>
                    <a:pt x="154891" y="25161"/>
                  </a:lnTo>
                  <a:lnTo>
                    <a:pt x="154945" y="25694"/>
                  </a:lnTo>
                  <a:lnTo>
                    <a:pt x="154539" y="26376"/>
                  </a:lnTo>
                  <a:lnTo>
                    <a:pt x="153023" y="27592"/>
                  </a:lnTo>
                  <a:lnTo>
                    <a:pt x="151660" y="28962"/>
                  </a:lnTo>
                  <a:lnTo>
                    <a:pt x="151524" y="29800"/>
                  </a:lnTo>
                  <a:lnTo>
                    <a:pt x="151688" y="30410"/>
                  </a:lnTo>
                  <a:lnTo>
                    <a:pt x="152163" y="30778"/>
                  </a:lnTo>
                  <a:lnTo>
                    <a:pt x="154185" y="30613"/>
                  </a:lnTo>
                  <a:lnTo>
                    <a:pt x="154480" y="31113"/>
                  </a:lnTo>
                  <a:lnTo>
                    <a:pt x="153500" y="34631"/>
                  </a:lnTo>
                  <a:lnTo>
                    <a:pt x="153804" y="35231"/>
                  </a:lnTo>
                  <a:lnTo>
                    <a:pt x="155575" y="35792"/>
                  </a:lnTo>
                  <a:lnTo>
                    <a:pt x="156862" y="36638"/>
                  </a:lnTo>
                  <a:lnTo>
                    <a:pt x="159283" y="38865"/>
                  </a:lnTo>
                  <a:lnTo>
                    <a:pt x="160246" y="40669"/>
                  </a:lnTo>
                  <a:lnTo>
                    <a:pt x="159583" y="41273"/>
                  </a:lnTo>
                  <a:lnTo>
                    <a:pt x="158063" y="41573"/>
                  </a:lnTo>
                  <a:lnTo>
                    <a:pt x="156821" y="41418"/>
                  </a:lnTo>
                  <a:lnTo>
                    <a:pt x="158225" y="40328"/>
                  </a:lnTo>
                  <a:lnTo>
                    <a:pt x="154798" y="36372"/>
                  </a:lnTo>
                  <a:lnTo>
                    <a:pt x="153247" y="36379"/>
                  </a:lnTo>
                  <a:lnTo>
                    <a:pt x="151189" y="38052"/>
                  </a:lnTo>
                  <a:lnTo>
                    <a:pt x="145467" y="36360"/>
                  </a:lnTo>
                  <a:lnTo>
                    <a:pt x="144370" y="37043"/>
                  </a:lnTo>
                  <a:lnTo>
                    <a:pt x="143560" y="38384"/>
                  </a:lnTo>
                  <a:lnTo>
                    <a:pt x="141574" y="40046"/>
                  </a:lnTo>
                  <a:lnTo>
                    <a:pt x="138760" y="40781"/>
                  </a:lnTo>
                  <a:lnTo>
                    <a:pt x="135625" y="42609"/>
                  </a:lnTo>
                  <a:lnTo>
                    <a:pt x="132319" y="43903"/>
                  </a:lnTo>
                  <a:lnTo>
                    <a:pt x="129794" y="44879"/>
                  </a:lnTo>
                  <a:lnTo>
                    <a:pt x="128347" y="44707"/>
                  </a:lnTo>
                  <a:lnTo>
                    <a:pt x="130647" y="42592"/>
                  </a:lnTo>
                  <a:lnTo>
                    <a:pt x="129667" y="42554"/>
                  </a:lnTo>
                  <a:lnTo>
                    <a:pt x="126616" y="44046"/>
                  </a:lnTo>
                  <a:lnTo>
                    <a:pt x="124858" y="45308"/>
                  </a:lnTo>
                  <a:lnTo>
                    <a:pt x="124295" y="47427"/>
                  </a:lnTo>
                  <a:lnTo>
                    <a:pt x="123783" y="50918"/>
                  </a:lnTo>
                  <a:lnTo>
                    <a:pt x="125124" y="51844"/>
                  </a:lnTo>
                  <a:lnTo>
                    <a:pt x="127471" y="56439"/>
                  </a:lnTo>
                  <a:lnTo>
                    <a:pt x="130367" y="58402"/>
                  </a:lnTo>
                  <a:lnTo>
                    <a:pt x="129803" y="60275"/>
                  </a:lnTo>
                  <a:lnTo>
                    <a:pt x="129043" y="61754"/>
                  </a:lnTo>
                  <a:lnTo>
                    <a:pt x="127294" y="63033"/>
                  </a:lnTo>
                  <a:lnTo>
                    <a:pt x="125847" y="62084"/>
                  </a:lnTo>
                  <a:lnTo>
                    <a:pt x="124960" y="62108"/>
                  </a:lnTo>
                  <a:lnTo>
                    <a:pt x="124284" y="65101"/>
                  </a:lnTo>
                  <a:lnTo>
                    <a:pt x="125536" y="73077"/>
                  </a:lnTo>
                  <a:lnTo>
                    <a:pt x="127555" y="78657"/>
                  </a:lnTo>
                  <a:lnTo>
                    <a:pt x="129557" y="81088"/>
                  </a:lnTo>
                  <a:lnTo>
                    <a:pt x="134074" y="84865"/>
                  </a:lnTo>
                  <a:lnTo>
                    <a:pt x="138849" y="86854"/>
                  </a:lnTo>
                  <a:lnTo>
                    <a:pt x="147434" y="93204"/>
                  </a:lnTo>
                  <a:lnTo>
                    <a:pt x="152142" y="95210"/>
                  </a:lnTo>
                  <a:lnTo>
                    <a:pt x="153379" y="96299"/>
                  </a:lnTo>
                  <a:lnTo>
                    <a:pt x="156234" y="101182"/>
                  </a:lnTo>
                  <a:lnTo>
                    <a:pt x="158698" y="106813"/>
                  </a:lnTo>
                  <a:lnTo>
                    <a:pt x="161356" y="115626"/>
                  </a:lnTo>
                  <a:lnTo>
                    <a:pt x="163248" y="119958"/>
                  </a:lnTo>
                  <a:lnTo>
                    <a:pt x="167057" y="124847"/>
                  </a:lnTo>
                  <a:lnTo>
                    <a:pt x="174973" y="131831"/>
                  </a:lnTo>
                  <a:lnTo>
                    <a:pt x="182168" y="136928"/>
                  </a:lnTo>
                  <a:lnTo>
                    <a:pt x="188860" y="140074"/>
                  </a:lnTo>
                  <a:lnTo>
                    <a:pt x="194084" y="140626"/>
                  </a:lnTo>
                  <a:lnTo>
                    <a:pt x="206446" y="139930"/>
                  </a:lnTo>
                  <a:lnTo>
                    <a:pt x="208601" y="140231"/>
                  </a:lnTo>
                  <a:lnTo>
                    <a:pt x="210882" y="141078"/>
                  </a:lnTo>
                  <a:lnTo>
                    <a:pt x="211423" y="143257"/>
                  </a:lnTo>
                  <a:lnTo>
                    <a:pt x="210586" y="144727"/>
                  </a:lnTo>
                  <a:lnTo>
                    <a:pt x="207986" y="146256"/>
                  </a:lnTo>
                  <a:lnTo>
                    <a:pt x="205334" y="148371"/>
                  </a:lnTo>
                  <a:lnTo>
                    <a:pt x="205040" y="151248"/>
                  </a:lnTo>
                  <a:lnTo>
                    <a:pt x="207519" y="153273"/>
                  </a:lnTo>
                  <a:lnTo>
                    <a:pt x="219443" y="158639"/>
                  </a:lnTo>
                  <a:lnTo>
                    <a:pt x="231640" y="163114"/>
                  </a:lnTo>
                  <a:lnTo>
                    <a:pt x="235438" y="165396"/>
                  </a:lnTo>
                  <a:lnTo>
                    <a:pt x="239839" y="168940"/>
                  </a:lnTo>
                  <a:lnTo>
                    <a:pt x="250469" y="173806"/>
                  </a:lnTo>
                  <a:lnTo>
                    <a:pt x="252264" y="176172"/>
                  </a:lnTo>
                  <a:lnTo>
                    <a:pt x="258723" y="181254"/>
                  </a:lnTo>
                  <a:lnTo>
                    <a:pt x="261651" y="185170"/>
                  </a:lnTo>
                  <a:lnTo>
                    <a:pt x="262208" y="188204"/>
                  </a:lnTo>
                  <a:lnTo>
                    <a:pt x="260809" y="191281"/>
                  </a:lnTo>
                  <a:lnTo>
                    <a:pt x="260165" y="193451"/>
                  </a:lnTo>
                  <a:lnTo>
                    <a:pt x="259066" y="195592"/>
                  </a:lnTo>
                  <a:lnTo>
                    <a:pt x="256315" y="194781"/>
                  </a:lnTo>
                  <a:lnTo>
                    <a:pt x="253188" y="192582"/>
                  </a:lnTo>
                  <a:lnTo>
                    <a:pt x="248481" y="183625"/>
                  </a:lnTo>
                  <a:lnTo>
                    <a:pt x="239882" y="182716"/>
                  </a:lnTo>
                  <a:lnTo>
                    <a:pt x="238105" y="182054"/>
                  </a:lnTo>
                  <a:lnTo>
                    <a:pt x="235051" y="180515"/>
                  </a:lnTo>
                  <a:lnTo>
                    <a:pt x="234868" y="179499"/>
                  </a:lnTo>
                  <a:lnTo>
                    <a:pt x="234114" y="178229"/>
                  </a:lnTo>
                  <a:lnTo>
                    <a:pt x="233333" y="177800"/>
                  </a:lnTo>
                  <a:lnTo>
                    <a:pt x="230044" y="177520"/>
                  </a:lnTo>
                  <a:lnTo>
                    <a:pt x="227766" y="178972"/>
                  </a:lnTo>
                  <a:lnTo>
                    <a:pt x="225086" y="182414"/>
                  </a:lnTo>
                  <a:lnTo>
                    <a:pt x="222048" y="187359"/>
                  </a:lnTo>
                  <a:lnTo>
                    <a:pt x="218960" y="194596"/>
                  </a:lnTo>
                  <a:lnTo>
                    <a:pt x="218781" y="197514"/>
                  </a:lnTo>
                  <a:lnTo>
                    <a:pt x="220459" y="200339"/>
                  </a:lnTo>
                  <a:lnTo>
                    <a:pt x="225468" y="201914"/>
                  </a:lnTo>
                  <a:lnTo>
                    <a:pt x="229335" y="204425"/>
                  </a:lnTo>
                  <a:lnTo>
                    <a:pt x="231886" y="207045"/>
                  </a:lnTo>
                  <a:lnTo>
                    <a:pt x="232071" y="213368"/>
                  </a:lnTo>
                  <a:lnTo>
                    <a:pt x="233214" y="216950"/>
                  </a:lnTo>
                  <a:lnTo>
                    <a:pt x="231532" y="218985"/>
                  </a:lnTo>
                  <a:lnTo>
                    <a:pt x="228280" y="218457"/>
                  </a:lnTo>
                  <a:lnTo>
                    <a:pt x="223946" y="219751"/>
                  </a:lnTo>
                  <a:lnTo>
                    <a:pt x="220877" y="222063"/>
                  </a:lnTo>
                  <a:lnTo>
                    <a:pt x="219601" y="224265"/>
                  </a:lnTo>
                  <a:lnTo>
                    <a:pt x="219938" y="229965"/>
                  </a:lnTo>
                  <a:lnTo>
                    <a:pt x="219305" y="232139"/>
                  </a:lnTo>
                  <a:lnTo>
                    <a:pt x="213486" y="236239"/>
                  </a:lnTo>
                  <a:lnTo>
                    <a:pt x="210428" y="240429"/>
                  </a:lnTo>
                  <a:lnTo>
                    <a:pt x="209668" y="242166"/>
                  </a:lnTo>
                  <a:lnTo>
                    <a:pt x="208498" y="244135"/>
                  </a:lnTo>
                  <a:lnTo>
                    <a:pt x="201149" y="244205"/>
                  </a:lnTo>
                  <a:lnTo>
                    <a:pt x="199409" y="241767"/>
                  </a:lnTo>
                  <a:lnTo>
                    <a:pt x="199348" y="238144"/>
                  </a:lnTo>
                  <a:lnTo>
                    <a:pt x="200611" y="235912"/>
                  </a:lnTo>
                  <a:lnTo>
                    <a:pt x="203313" y="234867"/>
                  </a:lnTo>
                  <a:lnTo>
                    <a:pt x="205135" y="230224"/>
                  </a:lnTo>
                  <a:lnTo>
                    <a:pt x="204563" y="226865"/>
                  </a:lnTo>
                  <a:lnTo>
                    <a:pt x="205626" y="225375"/>
                  </a:lnTo>
                  <a:lnTo>
                    <a:pt x="206630" y="224321"/>
                  </a:lnTo>
                  <a:lnTo>
                    <a:pt x="208690" y="223707"/>
                  </a:lnTo>
                  <a:lnTo>
                    <a:pt x="211592" y="223118"/>
                  </a:lnTo>
                  <a:lnTo>
                    <a:pt x="211883" y="218423"/>
                  </a:lnTo>
                  <a:lnTo>
                    <a:pt x="209616" y="216285"/>
                  </a:lnTo>
                  <a:lnTo>
                    <a:pt x="208821" y="213293"/>
                  </a:lnTo>
                  <a:lnTo>
                    <a:pt x="207763" y="207746"/>
                  </a:lnTo>
                  <a:lnTo>
                    <a:pt x="204021" y="200661"/>
                  </a:lnTo>
                  <a:lnTo>
                    <a:pt x="202015" y="194325"/>
                  </a:lnTo>
                  <a:lnTo>
                    <a:pt x="200447" y="191195"/>
                  </a:lnTo>
                  <a:lnTo>
                    <a:pt x="198068" y="189561"/>
                  </a:lnTo>
                  <a:lnTo>
                    <a:pt x="193773" y="189579"/>
                  </a:lnTo>
                  <a:lnTo>
                    <a:pt x="191641" y="189113"/>
                  </a:lnTo>
                  <a:lnTo>
                    <a:pt x="184043" y="184700"/>
                  </a:lnTo>
                  <a:lnTo>
                    <a:pt x="183513" y="184028"/>
                  </a:lnTo>
                  <a:lnTo>
                    <a:pt x="183561" y="182856"/>
                  </a:lnTo>
                  <a:lnTo>
                    <a:pt x="184822" y="181080"/>
                  </a:lnTo>
                  <a:lnTo>
                    <a:pt x="183971" y="178676"/>
                  </a:lnTo>
                  <a:lnTo>
                    <a:pt x="183071" y="176405"/>
                  </a:lnTo>
                  <a:lnTo>
                    <a:pt x="181581" y="174467"/>
                  </a:lnTo>
                  <a:lnTo>
                    <a:pt x="179948" y="173459"/>
                  </a:lnTo>
                  <a:lnTo>
                    <a:pt x="176532" y="174079"/>
                  </a:lnTo>
                  <a:lnTo>
                    <a:pt x="175331" y="174561"/>
                  </a:lnTo>
                  <a:lnTo>
                    <a:pt x="173174" y="174395"/>
                  </a:lnTo>
                  <a:lnTo>
                    <a:pt x="171479" y="175257"/>
                  </a:lnTo>
                  <a:lnTo>
                    <a:pt x="170533" y="175284"/>
                  </a:lnTo>
                  <a:lnTo>
                    <a:pt x="173200" y="171877"/>
                  </a:lnTo>
                  <a:lnTo>
                    <a:pt x="172483" y="171074"/>
                  </a:lnTo>
                  <a:lnTo>
                    <a:pt x="169847" y="169674"/>
                  </a:lnTo>
                  <a:lnTo>
                    <a:pt x="166271" y="169462"/>
                  </a:lnTo>
                  <a:lnTo>
                    <a:pt x="165280" y="169293"/>
                  </a:lnTo>
                  <a:lnTo>
                    <a:pt x="164694" y="170165"/>
                  </a:lnTo>
                  <a:lnTo>
                    <a:pt x="163997" y="169684"/>
                  </a:lnTo>
                  <a:lnTo>
                    <a:pt x="164070" y="168159"/>
                  </a:lnTo>
                  <a:lnTo>
                    <a:pt x="159916" y="161328"/>
                  </a:lnTo>
                  <a:lnTo>
                    <a:pt x="157121" y="158544"/>
                  </a:lnTo>
                  <a:lnTo>
                    <a:pt x="155714" y="158047"/>
                  </a:lnTo>
                  <a:lnTo>
                    <a:pt x="153172" y="158635"/>
                  </a:lnTo>
                  <a:lnTo>
                    <a:pt x="148907" y="157414"/>
                  </a:lnTo>
                  <a:lnTo>
                    <a:pt x="146363" y="157141"/>
                  </a:lnTo>
                  <a:lnTo>
                    <a:pt x="144960" y="157435"/>
                  </a:lnTo>
                  <a:lnTo>
                    <a:pt x="142865" y="158328"/>
                  </a:lnTo>
                  <a:lnTo>
                    <a:pt x="141811" y="157738"/>
                  </a:lnTo>
                  <a:lnTo>
                    <a:pt x="141440" y="156822"/>
                  </a:lnTo>
                  <a:lnTo>
                    <a:pt x="137570" y="153977"/>
                  </a:lnTo>
                  <a:lnTo>
                    <a:pt x="132742" y="152368"/>
                  </a:lnTo>
                  <a:lnTo>
                    <a:pt x="123340" y="143293"/>
                  </a:lnTo>
                  <a:lnTo>
                    <a:pt x="120457" y="139892"/>
                  </a:lnTo>
                  <a:lnTo>
                    <a:pt x="114525" y="136145"/>
                  </a:lnTo>
                  <a:lnTo>
                    <a:pt x="110772" y="130679"/>
                  </a:lnTo>
                  <a:lnTo>
                    <a:pt x="107702" y="128672"/>
                  </a:lnTo>
                  <a:lnTo>
                    <a:pt x="103232" y="127064"/>
                  </a:lnTo>
                  <a:lnTo>
                    <a:pt x="102202" y="127265"/>
                  </a:lnTo>
                  <a:lnTo>
                    <a:pt x="100857" y="127868"/>
                  </a:lnTo>
                  <a:lnTo>
                    <a:pt x="99803" y="127954"/>
                  </a:lnTo>
                  <a:lnTo>
                    <a:pt x="98963" y="127242"/>
                  </a:lnTo>
                  <a:lnTo>
                    <a:pt x="99815" y="126509"/>
                  </a:lnTo>
                  <a:lnTo>
                    <a:pt x="100766" y="126176"/>
                  </a:lnTo>
                  <a:lnTo>
                    <a:pt x="100390" y="124081"/>
                  </a:lnTo>
                  <a:lnTo>
                    <a:pt x="95305" y="118644"/>
                  </a:lnTo>
                  <a:lnTo>
                    <a:pt x="92327" y="116890"/>
                  </a:lnTo>
                  <a:lnTo>
                    <a:pt x="91487" y="115810"/>
                  </a:lnTo>
                  <a:lnTo>
                    <a:pt x="90867" y="114331"/>
                  </a:lnTo>
                  <a:lnTo>
                    <a:pt x="90232" y="113357"/>
                  </a:lnTo>
                  <a:lnTo>
                    <a:pt x="88822" y="112798"/>
                  </a:lnTo>
                  <a:lnTo>
                    <a:pt x="87619" y="112894"/>
                  </a:lnTo>
                  <a:lnTo>
                    <a:pt x="85952" y="112521"/>
                  </a:lnTo>
                  <a:lnTo>
                    <a:pt x="86006" y="109905"/>
                  </a:lnTo>
                  <a:lnTo>
                    <a:pt x="86339" y="107893"/>
                  </a:lnTo>
                  <a:lnTo>
                    <a:pt x="86084" y="106184"/>
                  </a:lnTo>
                  <a:lnTo>
                    <a:pt x="84464" y="101686"/>
                  </a:lnTo>
                  <a:lnTo>
                    <a:pt x="81655" y="97867"/>
                  </a:lnTo>
                  <a:lnTo>
                    <a:pt x="80003" y="88722"/>
                  </a:lnTo>
                  <a:lnTo>
                    <a:pt x="78727" y="86142"/>
                  </a:lnTo>
                  <a:lnTo>
                    <a:pt x="75622" y="84182"/>
                  </a:lnTo>
                  <a:lnTo>
                    <a:pt x="68617" y="81983"/>
                  </a:lnTo>
                  <a:lnTo>
                    <a:pt x="58854" y="76070"/>
                  </a:lnTo>
                  <a:lnTo>
                    <a:pt x="56790" y="75968"/>
                  </a:lnTo>
                  <a:lnTo>
                    <a:pt x="50917" y="73666"/>
                  </a:lnTo>
                  <a:lnTo>
                    <a:pt x="47278" y="73271"/>
                  </a:lnTo>
                  <a:lnTo>
                    <a:pt x="42549" y="75339"/>
                  </a:lnTo>
                  <a:lnTo>
                    <a:pt x="36809" y="81026"/>
                  </a:lnTo>
                  <a:lnTo>
                    <a:pt x="32149" y="86915"/>
                  </a:lnTo>
                  <a:lnTo>
                    <a:pt x="30454" y="88055"/>
                  </a:lnTo>
                  <a:lnTo>
                    <a:pt x="24446" y="90059"/>
                  </a:lnTo>
                  <a:lnTo>
                    <a:pt x="19137" y="91016"/>
                  </a:lnTo>
                  <a:lnTo>
                    <a:pt x="19078" y="89509"/>
                  </a:lnTo>
                  <a:lnTo>
                    <a:pt x="18891" y="88376"/>
                  </a:lnTo>
                  <a:lnTo>
                    <a:pt x="19789" y="87127"/>
                  </a:lnTo>
                  <a:lnTo>
                    <a:pt x="21270" y="85657"/>
                  </a:lnTo>
                  <a:lnTo>
                    <a:pt x="22637" y="83812"/>
                  </a:lnTo>
                  <a:lnTo>
                    <a:pt x="23205" y="82471"/>
                  </a:lnTo>
                  <a:lnTo>
                    <a:pt x="22937" y="81581"/>
                  </a:lnTo>
                  <a:lnTo>
                    <a:pt x="22322" y="80258"/>
                  </a:lnTo>
                  <a:lnTo>
                    <a:pt x="21486" y="80162"/>
                  </a:lnTo>
                  <a:lnTo>
                    <a:pt x="16433" y="81273"/>
                  </a:lnTo>
                  <a:lnTo>
                    <a:pt x="15276" y="80986"/>
                  </a:lnTo>
                  <a:lnTo>
                    <a:pt x="11536" y="79259"/>
                  </a:lnTo>
                  <a:lnTo>
                    <a:pt x="7508" y="77134"/>
                  </a:lnTo>
                  <a:lnTo>
                    <a:pt x="6025" y="75622"/>
                  </a:lnTo>
                  <a:lnTo>
                    <a:pt x="5463" y="74093"/>
                  </a:lnTo>
                  <a:lnTo>
                    <a:pt x="5884" y="73111"/>
                  </a:lnTo>
                  <a:lnTo>
                    <a:pt x="5548" y="72157"/>
                  </a:lnTo>
                  <a:lnTo>
                    <a:pt x="4760" y="70868"/>
                  </a:lnTo>
                  <a:lnTo>
                    <a:pt x="5472" y="69403"/>
                  </a:lnTo>
                  <a:lnTo>
                    <a:pt x="6727" y="67576"/>
                  </a:lnTo>
                  <a:lnTo>
                    <a:pt x="7355" y="66337"/>
                  </a:lnTo>
                  <a:lnTo>
                    <a:pt x="8407" y="66015"/>
                  </a:lnTo>
                  <a:lnTo>
                    <a:pt x="8910" y="65259"/>
                  </a:lnTo>
                  <a:lnTo>
                    <a:pt x="8070" y="62243"/>
                  </a:lnTo>
                  <a:lnTo>
                    <a:pt x="7632" y="61760"/>
                  </a:lnTo>
                  <a:lnTo>
                    <a:pt x="6902" y="61385"/>
                  </a:lnTo>
                  <a:lnTo>
                    <a:pt x="5785" y="61343"/>
                  </a:lnTo>
                  <a:lnTo>
                    <a:pt x="3833" y="60719"/>
                  </a:lnTo>
                  <a:lnTo>
                    <a:pt x="2442" y="59675"/>
                  </a:lnTo>
                  <a:lnTo>
                    <a:pt x="2144" y="58265"/>
                  </a:lnTo>
                  <a:lnTo>
                    <a:pt x="1408" y="56909"/>
                  </a:lnTo>
                  <a:lnTo>
                    <a:pt x="156" y="55663"/>
                  </a:lnTo>
                  <a:lnTo>
                    <a:pt x="0" y="54301"/>
                  </a:lnTo>
                  <a:lnTo>
                    <a:pt x="1428" y="53580"/>
                  </a:lnTo>
                  <a:lnTo>
                    <a:pt x="3375" y="53552"/>
                  </a:lnTo>
                  <a:lnTo>
                    <a:pt x="4745" y="53817"/>
                  </a:lnTo>
                  <a:lnTo>
                    <a:pt x="7817" y="51629"/>
                  </a:lnTo>
                  <a:lnTo>
                    <a:pt x="8949" y="51436"/>
                  </a:lnTo>
                  <a:lnTo>
                    <a:pt x="9964" y="50961"/>
                  </a:lnTo>
                  <a:lnTo>
                    <a:pt x="10814" y="47971"/>
                  </a:lnTo>
                  <a:lnTo>
                    <a:pt x="11469" y="47073"/>
                  </a:lnTo>
                  <a:lnTo>
                    <a:pt x="11624" y="46546"/>
                  </a:lnTo>
                  <a:lnTo>
                    <a:pt x="11019" y="45922"/>
                  </a:lnTo>
                  <a:lnTo>
                    <a:pt x="8534" y="43813"/>
                  </a:lnTo>
                  <a:lnTo>
                    <a:pt x="7401" y="41612"/>
                  </a:lnTo>
                  <a:lnTo>
                    <a:pt x="5610" y="39142"/>
                  </a:lnTo>
                  <a:lnTo>
                    <a:pt x="3948" y="38050"/>
                  </a:lnTo>
                  <a:lnTo>
                    <a:pt x="3609" y="37201"/>
                  </a:lnTo>
                  <a:lnTo>
                    <a:pt x="3570" y="36121"/>
                  </a:lnTo>
                  <a:lnTo>
                    <a:pt x="3909" y="35171"/>
                  </a:lnTo>
                  <a:lnTo>
                    <a:pt x="6923" y="33687"/>
                  </a:lnTo>
                  <a:lnTo>
                    <a:pt x="8698" y="32103"/>
                  </a:lnTo>
                  <a:lnTo>
                    <a:pt x="9465" y="32710"/>
                  </a:lnTo>
                  <a:lnTo>
                    <a:pt x="11084" y="33354"/>
                  </a:lnTo>
                  <a:lnTo>
                    <a:pt x="15483" y="32473"/>
                  </a:lnTo>
                  <a:lnTo>
                    <a:pt x="18217" y="31588"/>
                  </a:lnTo>
                  <a:lnTo>
                    <a:pt x="20141" y="30657"/>
                  </a:lnTo>
                  <a:lnTo>
                    <a:pt x="21335" y="30822"/>
                  </a:lnTo>
                  <a:lnTo>
                    <a:pt x="25654" y="32212"/>
                  </a:lnTo>
                  <a:lnTo>
                    <a:pt x="27079" y="31505"/>
                  </a:lnTo>
                  <a:lnTo>
                    <a:pt x="30193" y="29615"/>
                  </a:lnTo>
                  <a:lnTo>
                    <a:pt x="30659" y="28621"/>
                  </a:lnTo>
                  <a:lnTo>
                    <a:pt x="33112" y="25606"/>
                  </a:lnTo>
                  <a:lnTo>
                    <a:pt x="33158" y="24869"/>
                  </a:lnTo>
                  <a:lnTo>
                    <a:pt x="32147" y="22975"/>
                  </a:lnTo>
                  <a:lnTo>
                    <a:pt x="32460" y="22559"/>
                  </a:lnTo>
                  <a:lnTo>
                    <a:pt x="35473" y="20615"/>
                  </a:lnTo>
                  <a:lnTo>
                    <a:pt x="36945" y="18890"/>
                  </a:lnTo>
                  <a:lnTo>
                    <a:pt x="38541" y="17734"/>
                  </a:lnTo>
                  <a:lnTo>
                    <a:pt x="39687" y="17708"/>
                  </a:lnTo>
                  <a:lnTo>
                    <a:pt x="40003" y="18101"/>
                  </a:lnTo>
                  <a:lnTo>
                    <a:pt x="40139" y="18908"/>
                  </a:lnTo>
                  <a:lnTo>
                    <a:pt x="40040" y="22232"/>
                  </a:lnTo>
                  <a:lnTo>
                    <a:pt x="40480" y="23255"/>
                  </a:lnTo>
                  <a:lnTo>
                    <a:pt x="42847" y="25637"/>
                  </a:lnTo>
                  <a:lnTo>
                    <a:pt x="44533" y="26993"/>
                  </a:lnTo>
                  <a:lnTo>
                    <a:pt x="48444" y="27923"/>
                  </a:lnTo>
                  <a:lnTo>
                    <a:pt x="48625" y="28368"/>
                  </a:lnTo>
                  <a:lnTo>
                    <a:pt x="47548" y="30160"/>
                  </a:lnTo>
                  <a:lnTo>
                    <a:pt x="49917" y="32299"/>
                  </a:lnTo>
                  <a:lnTo>
                    <a:pt x="50340" y="33864"/>
                  </a:lnTo>
                  <a:lnTo>
                    <a:pt x="51432" y="34744"/>
                  </a:lnTo>
                  <a:lnTo>
                    <a:pt x="52981" y="34312"/>
                  </a:lnTo>
                  <a:lnTo>
                    <a:pt x="53488" y="33488"/>
                  </a:lnTo>
                  <a:lnTo>
                    <a:pt x="52879" y="32039"/>
                  </a:lnTo>
                  <a:lnTo>
                    <a:pt x="52432" y="30521"/>
                  </a:lnTo>
                  <a:lnTo>
                    <a:pt x="52523" y="29643"/>
                  </a:lnTo>
                  <a:lnTo>
                    <a:pt x="52951" y="28633"/>
                  </a:lnTo>
                  <a:lnTo>
                    <a:pt x="54026" y="27224"/>
                  </a:lnTo>
                  <a:lnTo>
                    <a:pt x="56954" y="23993"/>
                  </a:lnTo>
                  <a:lnTo>
                    <a:pt x="58008" y="22123"/>
                  </a:lnTo>
                  <a:lnTo>
                    <a:pt x="58200" y="19228"/>
                  </a:lnTo>
                  <a:lnTo>
                    <a:pt x="58209" y="16899"/>
                  </a:lnTo>
                  <a:lnTo>
                    <a:pt x="59187" y="16334"/>
                  </a:lnTo>
                  <a:lnTo>
                    <a:pt x="61286" y="16747"/>
                  </a:lnTo>
                  <a:lnTo>
                    <a:pt x="61912" y="16701"/>
                  </a:lnTo>
                  <a:lnTo>
                    <a:pt x="62199" y="18131"/>
                  </a:lnTo>
                  <a:lnTo>
                    <a:pt x="63093" y="20405"/>
                  </a:lnTo>
                  <a:lnTo>
                    <a:pt x="64147" y="21585"/>
                  </a:lnTo>
                  <a:lnTo>
                    <a:pt x="65272" y="21865"/>
                  </a:lnTo>
                  <a:lnTo>
                    <a:pt x="66596" y="21871"/>
                  </a:lnTo>
                  <a:lnTo>
                    <a:pt x="69876" y="20481"/>
                  </a:lnTo>
                  <a:lnTo>
                    <a:pt x="72014" y="19879"/>
                  </a:lnTo>
                  <a:lnTo>
                    <a:pt x="73225" y="20044"/>
                  </a:lnTo>
                  <a:lnTo>
                    <a:pt x="73942" y="20990"/>
                  </a:lnTo>
                  <a:lnTo>
                    <a:pt x="75475" y="23471"/>
                  </a:lnTo>
                  <a:lnTo>
                    <a:pt x="76349" y="23751"/>
                  </a:lnTo>
                  <a:lnTo>
                    <a:pt x="77406" y="23467"/>
                  </a:lnTo>
                  <a:lnTo>
                    <a:pt x="77779" y="23044"/>
                  </a:lnTo>
                  <a:lnTo>
                    <a:pt x="77440" y="22090"/>
                  </a:lnTo>
                  <a:lnTo>
                    <a:pt x="76993" y="20015"/>
                  </a:lnTo>
                  <a:lnTo>
                    <a:pt x="76380" y="18410"/>
                  </a:lnTo>
                  <a:lnTo>
                    <a:pt x="75577" y="17657"/>
                  </a:lnTo>
                  <a:lnTo>
                    <a:pt x="75415" y="16677"/>
                  </a:lnTo>
                  <a:lnTo>
                    <a:pt x="75922" y="14912"/>
                  </a:lnTo>
                  <a:lnTo>
                    <a:pt x="76492" y="13436"/>
                  </a:lnTo>
                  <a:lnTo>
                    <a:pt x="77609" y="13034"/>
                  </a:lnTo>
                  <a:lnTo>
                    <a:pt x="78891" y="12847"/>
                  </a:lnTo>
                  <a:lnTo>
                    <a:pt x="80588" y="14410"/>
                  </a:lnTo>
                  <a:lnTo>
                    <a:pt x="82597" y="14904"/>
                  </a:lnTo>
                  <a:lnTo>
                    <a:pt x="84091" y="14821"/>
                  </a:lnTo>
                  <a:lnTo>
                    <a:pt x="84352" y="13909"/>
                  </a:lnTo>
                  <a:lnTo>
                    <a:pt x="84259" y="12909"/>
                  </a:lnTo>
                  <a:lnTo>
                    <a:pt x="83368" y="11625"/>
                  </a:lnTo>
                  <a:lnTo>
                    <a:pt x="83547" y="9683"/>
                  </a:lnTo>
                  <a:lnTo>
                    <a:pt x="84581" y="6060"/>
                  </a:lnTo>
                  <a:lnTo>
                    <a:pt x="85169" y="6334"/>
                  </a:lnTo>
                  <a:lnTo>
                    <a:pt x="87388" y="6373"/>
                  </a:lnTo>
                  <a:lnTo>
                    <a:pt x="89809" y="6577"/>
                  </a:lnTo>
                  <a:lnTo>
                    <a:pt x="91368" y="8056"/>
                  </a:lnTo>
                  <a:lnTo>
                    <a:pt x="92897" y="8559"/>
                  </a:lnTo>
                  <a:lnTo>
                    <a:pt x="95074" y="8719"/>
                  </a:lnTo>
                  <a:lnTo>
                    <a:pt x="96531" y="8510"/>
                  </a:lnTo>
                  <a:lnTo>
                    <a:pt x="97235" y="7954"/>
                  </a:lnTo>
                  <a:lnTo>
                    <a:pt x="98084" y="6222"/>
                  </a:lnTo>
                  <a:lnTo>
                    <a:pt x="99641" y="4074"/>
                  </a:lnTo>
                  <a:lnTo>
                    <a:pt x="102085" y="2972"/>
                  </a:lnTo>
                  <a:lnTo>
                    <a:pt x="106259" y="2766"/>
                  </a:lnTo>
                  <a:lnTo>
                    <a:pt x="108345" y="2366"/>
                  </a:lnTo>
                  <a:lnTo>
                    <a:pt x="110511" y="2389"/>
                  </a:lnTo>
                  <a:lnTo>
                    <a:pt x="112146" y="2721"/>
                  </a:lnTo>
                  <a:lnTo>
                    <a:pt x="113832" y="2682"/>
                  </a:lnTo>
                  <a:lnTo>
                    <a:pt x="118119" y="1185"/>
                  </a:lnTo>
                  <a:close/>
                </a:path>
              </a:pathLst>
            </a:custGeom>
            <a:solidFill>
              <a:srgbClr val="C7CDD0"/>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AT" sz="1600" err="1">
                <a:solidFill>
                  <a:schemeClr val="tx1"/>
                </a:solidFill>
                <a:latin typeface="Calibri" panose="020F0502020204030204" pitchFamily="34" charset="0"/>
                <a:cs typeface="Calibri" panose="020F0502020204030204" pitchFamily="34" charset="0"/>
              </a:endParaRPr>
            </a:p>
          </p:txBody>
        </p:sp>
        <p:sp>
          <p:nvSpPr>
            <p:cNvPr id="105" name="ee4p_RS_1_86241">
              <a:extLst>
                <a:ext uri="{FF2B5EF4-FFF2-40B4-BE49-F238E27FC236}">
                  <a16:creationId xmlns:a16="http://schemas.microsoft.com/office/drawing/2014/main" id="{496B0C03-2DEF-4937-BA49-C790380598CC}"/>
                </a:ext>
              </a:extLst>
            </p:cNvPr>
            <p:cNvSpPr>
              <a:spLocks noChangeAspect="1"/>
            </p:cNvSpPr>
            <p:nvPr>
              <p:custDataLst>
                <p:tags r:id="rId43"/>
              </p:custDataLst>
            </p:nvPr>
          </p:nvSpPr>
          <p:spPr>
            <a:xfrm>
              <a:off x="7374435" y="3377137"/>
              <a:ext cx="277292" cy="331312"/>
            </a:xfrm>
            <a:custGeom>
              <a:avLst/>
              <a:gdLst/>
              <a:ahLst/>
              <a:cxnLst/>
              <a:rect l="0" t="0" r="0" b="0"/>
              <a:pathLst>
                <a:path w="91497" h="106511">
                  <a:moveTo>
                    <a:pt x="19580" y="478"/>
                  </a:moveTo>
                  <a:lnTo>
                    <a:pt x="22231" y="644"/>
                  </a:lnTo>
                  <a:lnTo>
                    <a:pt x="24214" y="213"/>
                  </a:lnTo>
                  <a:lnTo>
                    <a:pt x="29241" y="755"/>
                  </a:lnTo>
                  <a:lnTo>
                    <a:pt x="30318" y="1194"/>
                  </a:lnTo>
                  <a:lnTo>
                    <a:pt x="31018" y="1676"/>
                  </a:lnTo>
                  <a:lnTo>
                    <a:pt x="32335" y="3276"/>
                  </a:lnTo>
                  <a:lnTo>
                    <a:pt x="33601" y="5353"/>
                  </a:lnTo>
                  <a:lnTo>
                    <a:pt x="35356" y="6311"/>
                  </a:lnTo>
                  <a:lnTo>
                    <a:pt x="37448" y="7450"/>
                  </a:lnTo>
                  <a:lnTo>
                    <a:pt x="38522" y="8278"/>
                  </a:lnTo>
                  <a:lnTo>
                    <a:pt x="40104" y="10762"/>
                  </a:lnTo>
                  <a:lnTo>
                    <a:pt x="41355" y="11977"/>
                  </a:lnTo>
                  <a:lnTo>
                    <a:pt x="41765" y="11918"/>
                  </a:lnTo>
                  <a:lnTo>
                    <a:pt x="42186" y="11599"/>
                  </a:lnTo>
                  <a:lnTo>
                    <a:pt x="42480" y="11348"/>
                  </a:lnTo>
                  <a:lnTo>
                    <a:pt x="42808" y="11577"/>
                  </a:lnTo>
                  <a:lnTo>
                    <a:pt x="42825" y="12328"/>
                  </a:lnTo>
                  <a:lnTo>
                    <a:pt x="42903" y="13994"/>
                  </a:lnTo>
                  <a:lnTo>
                    <a:pt x="42605" y="15769"/>
                  </a:lnTo>
                  <a:lnTo>
                    <a:pt x="43052" y="17446"/>
                  </a:lnTo>
                  <a:lnTo>
                    <a:pt x="43063" y="17968"/>
                  </a:lnTo>
                  <a:lnTo>
                    <a:pt x="42752" y="18445"/>
                  </a:lnTo>
                  <a:lnTo>
                    <a:pt x="42791" y="18876"/>
                  </a:lnTo>
                  <a:lnTo>
                    <a:pt x="43229" y="19330"/>
                  </a:lnTo>
                  <a:lnTo>
                    <a:pt x="44927" y="20438"/>
                  </a:lnTo>
                  <a:lnTo>
                    <a:pt x="46496" y="22145"/>
                  </a:lnTo>
                  <a:lnTo>
                    <a:pt x="48310" y="23346"/>
                  </a:lnTo>
                  <a:lnTo>
                    <a:pt x="49992" y="24113"/>
                  </a:lnTo>
                  <a:lnTo>
                    <a:pt x="51053" y="24163"/>
                  </a:lnTo>
                  <a:lnTo>
                    <a:pt x="52791" y="25546"/>
                  </a:lnTo>
                  <a:lnTo>
                    <a:pt x="56224" y="26538"/>
                  </a:lnTo>
                  <a:lnTo>
                    <a:pt x="57324" y="26881"/>
                  </a:lnTo>
                  <a:lnTo>
                    <a:pt x="58075" y="27447"/>
                  </a:lnTo>
                  <a:lnTo>
                    <a:pt x="58623" y="28103"/>
                  </a:lnTo>
                  <a:lnTo>
                    <a:pt x="58658" y="28805"/>
                  </a:lnTo>
                  <a:lnTo>
                    <a:pt x="58129" y="29145"/>
                  </a:lnTo>
                  <a:lnTo>
                    <a:pt x="57391" y="30094"/>
                  </a:lnTo>
                  <a:lnTo>
                    <a:pt x="57086" y="31248"/>
                  </a:lnTo>
                  <a:lnTo>
                    <a:pt x="56538" y="31542"/>
                  </a:lnTo>
                  <a:lnTo>
                    <a:pt x="55989" y="31565"/>
                  </a:lnTo>
                  <a:lnTo>
                    <a:pt x="55587" y="31903"/>
                  </a:lnTo>
                  <a:lnTo>
                    <a:pt x="55678" y="32401"/>
                  </a:lnTo>
                  <a:lnTo>
                    <a:pt x="56136" y="32875"/>
                  </a:lnTo>
                  <a:lnTo>
                    <a:pt x="56848" y="33304"/>
                  </a:lnTo>
                  <a:lnTo>
                    <a:pt x="58220" y="33734"/>
                  </a:lnTo>
                  <a:lnTo>
                    <a:pt x="59573" y="34366"/>
                  </a:lnTo>
                  <a:lnTo>
                    <a:pt x="59554" y="34862"/>
                  </a:lnTo>
                  <a:lnTo>
                    <a:pt x="59280" y="35405"/>
                  </a:lnTo>
                  <a:lnTo>
                    <a:pt x="57561" y="35607"/>
                  </a:lnTo>
                  <a:lnTo>
                    <a:pt x="56282" y="35698"/>
                  </a:lnTo>
                  <a:lnTo>
                    <a:pt x="55697" y="35923"/>
                  </a:lnTo>
                  <a:lnTo>
                    <a:pt x="55745" y="36882"/>
                  </a:lnTo>
                  <a:lnTo>
                    <a:pt x="59351" y="37880"/>
                  </a:lnTo>
                  <a:lnTo>
                    <a:pt x="60986" y="38826"/>
                  </a:lnTo>
                  <a:lnTo>
                    <a:pt x="61850" y="40052"/>
                  </a:lnTo>
                  <a:lnTo>
                    <a:pt x="64151" y="40863"/>
                  </a:lnTo>
                  <a:lnTo>
                    <a:pt x="67889" y="41259"/>
                  </a:lnTo>
                  <a:lnTo>
                    <a:pt x="70491" y="42519"/>
                  </a:lnTo>
                  <a:lnTo>
                    <a:pt x="71953" y="44640"/>
                  </a:lnTo>
                  <a:lnTo>
                    <a:pt x="74340" y="44130"/>
                  </a:lnTo>
                  <a:lnTo>
                    <a:pt x="77650" y="40987"/>
                  </a:lnTo>
                  <a:lnTo>
                    <a:pt x="80900" y="40166"/>
                  </a:lnTo>
                  <a:lnTo>
                    <a:pt x="84093" y="41672"/>
                  </a:lnTo>
                  <a:lnTo>
                    <a:pt x="85836" y="42910"/>
                  </a:lnTo>
                  <a:lnTo>
                    <a:pt x="86134" y="43878"/>
                  </a:lnTo>
                  <a:lnTo>
                    <a:pt x="85391" y="44270"/>
                  </a:lnTo>
                  <a:lnTo>
                    <a:pt x="83608" y="44084"/>
                  </a:lnTo>
                  <a:lnTo>
                    <a:pt x="82146" y="44683"/>
                  </a:lnTo>
                  <a:lnTo>
                    <a:pt x="81003" y="46063"/>
                  </a:lnTo>
                  <a:lnTo>
                    <a:pt x="80831" y="47536"/>
                  </a:lnTo>
                  <a:lnTo>
                    <a:pt x="81629" y="49097"/>
                  </a:lnTo>
                  <a:lnTo>
                    <a:pt x="82761" y="50173"/>
                  </a:lnTo>
                  <a:lnTo>
                    <a:pt x="84223" y="50768"/>
                  </a:lnTo>
                  <a:lnTo>
                    <a:pt x="85005" y="51581"/>
                  </a:lnTo>
                  <a:lnTo>
                    <a:pt x="85106" y="52617"/>
                  </a:lnTo>
                  <a:lnTo>
                    <a:pt x="85486" y="52902"/>
                  </a:lnTo>
                  <a:lnTo>
                    <a:pt x="84655" y="53379"/>
                  </a:lnTo>
                  <a:lnTo>
                    <a:pt x="83750" y="54087"/>
                  </a:lnTo>
                  <a:lnTo>
                    <a:pt x="83238" y="55320"/>
                  </a:lnTo>
                  <a:lnTo>
                    <a:pt x="83106" y="57306"/>
                  </a:lnTo>
                  <a:lnTo>
                    <a:pt x="80267" y="58857"/>
                  </a:lnTo>
                  <a:lnTo>
                    <a:pt x="79200" y="59143"/>
                  </a:lnTo>
                  <a:lnTo>
                    <a:pt x="78719" y="60169"/>
                  </a:lnTo>
                  <a:lnTo>
                    <a:pt x="77976" y="63073"/>
                  </a:lnTo>
                  <a:lnTo>
                    <a:pt x="78069" y="65256"/>
                  </a:lnTo>
                  <a:lnTo>
                    <a:pt x="78451" y="66367"/>
                  </a:lnTo>
                  <a:lnTo>
                    <a:pt x="78626" y="67271"/>
                  </a:lnTo>
                  <a:lnTo>
                    <a:pt x="79543" y="68382"/>
                  </a:lnTo>
                  <a:lnTo>
                    <a:pt x="80379" y="70087"/>
                  </a:lnTo>
                  <a:lnTo>
                    <a:pt x="80932" y="72334"/>
                  </a:lnTo>
                  <a:lnTo>
                    <a:pt x="82158" y="74067"/>
                  </a:lnTo>
                  <a:lnTo>
                    <a:pt x="85307" y="75773"/>
                  </a:lnTo>
                  <a:lnTo>
                    <a:pt x="86868" y="76766"/>
                  </a:lnTo>
                  <a:lnTo>
                    <a:pt x="88021" y="78202"/>
                  </a:lnTo>
                  <a:lnTo>
                    <a:pt x="88902" y="79502"/>
                  </a:lnTo>
                  <a:lnTo>
                    <a:pt x="91496" y="81230"/>
                  </a:lnTo>
                  <a:lnTo>
                    <a:pt x="91299" y="82464"/>
                  </a:lnTo>
                  <a:lnTo>
                    <a:pt x="90732" y="83670"/>
                  </a:lnTo>
                  <a:lnTo>
                    <a:pt x="90133" y="84236"/>
                  </a:lnTo>
                  <a:lnTo>
                    <a:pt x="88842" y="85783"/>
                  </a:lnTo>
                  <a:lnTo>
                    <a:pt x="87583" y="86655"/>
                  </a:lnTo>
                  <a:lnTo>
                    <a:pt x="85510" y="89382"/>
                  </a:lnTo>
                  <a:lnTo>
                    <a:pt x="82236" y="89528"/>
                  </a:lnTo>
                  <a:lnTo>
                    <a:pt x="81455" y="89746"/>
                  </a:lnTo>
                  <a:lnTo>
                    <a:pt x="80217" y="90491"/>
                  </a:lnTo>
                  <a:lnTo>
                    <a:pt x="79608" y="91851"/>
                  </a:lnTo>
                  <a:lnTo>
                    <a:pt x="80191" y="92944"/>
                  </a:lnTo>
                  <a:lnTo>
                    <a:pt x="80140" y="94048"/>
                  </a:lnTo>
                  <a:lnTo>
                    <a:pt x="79542" y="96195"/>
                  </a:lnTo>
                  <a:lnTo>
                    <a:pt x="80334" y="98485"/>
                  </a:lnTo>
                  <a:lnTo>
                    <a:pt x="81487" y="99536"/>
                  </a:lnTo>
                  <a:lnTo>
                    <a:pt x="81669" y="100142"/>
                  </a:lnTo>
                  <a:lnTo>
                    <a:pt x="81472" y="101215"/>
                  </a:lnTo>
                  <a:lnTo>
                    <a:pt x="79751" y="103395"/>
                  </a:lnTo>
                  <a:lnTo>
                    <a:pt x="79228" y="104202"/>
                  </a:lnTo>
                  <a:lnTo>
                    <a:pt x="77503" y="104598"/>
                  </a:lnTo>
                  <a:lnTo>
                    <a:pt x="76913" y="104391"/>
                  </a:lnTo>
                  <a:lnTo>
                    <a:pt x="76022" y="103642"/>
                  </a:lnTo>
                  <a:lnTo>
                    <a:pt x="75197" y="103421"/>
                  </a:lnTo>
                  <a:lnTo>
                    <a:pt x="73139" y="104304"/>
                  </a:lnTo>
                  <a:lnTo>
                    <a:pt x="71046" y="104846"/>
                  </a:lnTo>
                  <a:lnTo>
                    <a:pt x="69399" y="104436"/>
                  </a:lnTo>
                  <a:lnTo>
                    <a:pt x="67775" y="104382"/>
                  </a:lnTo>
                  <a:lnTo>
                    <a:pt x="66645" y="104746"/>
                  </a:lnTo>
                  <a:lnTo>
                    <a:pt x="65797" y="104887"/>
                  </a:lnTo>
                  <a:lnTo>
                    <a:pt x="64130" y="105829"/>
                  </a:lnTo>
                  <a:lnTo>
                    <a:pt x="61454" y="106510"/>
                  </a:lnTo>
                  <a:lnTo>
                    <a:pt x="60221" y="106367"/>
                  </a:lnTo>
                  <a:lnTo>
                    <a:pt x="59759" y="105481"/>
                  </a:lnTo>
                  <a:lnTo>
                    <a:pt x="59258" y="104213"/>
                  </a:lnTo>
                  <a:lnTo>
                    <a:pt x="59502" y="103638"/>
                  </a:lnTo>
                  <a:lnTo>
                    <a:pt x="61269" y="102641"/>
                  </a:lnTo>
                  <a:lnTo>
                    <a:pt x="61472" y="101687"/>
                  </a:lnTo>
                  <a:lnTo>
                    <a:pt x="63940" y="97093"/>
                  </a:lnTo>
                  <a:lnTo>
                    <a:pt x="64415" y="95596"/>
                  </a:lnTo>
                  <a:lnTo>
                    <a:pt x="64432" y="95107"/>
                  </a:lnTo>
                  <a:lnTo>
                    <a:pt x="63789" y="94782"/>
                  </a:lnTo>
                  <a:lnTo>
                    <a:pt x="62433" y="94796"/>
                  </a:lnTo>
                  <a:lnTo>
                    <a:pt x="56421" y="92927"/>
                  </a:lnTo>
                  <a:lnTo>
                    <a:pt x="56695" y="90784"/>
                  </a:lnTo>
                  <a:lnTo>
                    <a:pt x="54929" y="89628"/>
                  </a:lnTo>
                  <a:lnTo>
                    <a:pt x="53026" y="88597"/>
                  </a:lnTo>
                  <a:lnTo>
                    <a:pt x="52707" y="87446"/>
                  </a:lnTo>
                  <a:lnTo>
                    <a:pt x="50593" y="85120"/>
                  </a:lnTo>
                  <a:lnTo>
                    <a:pt x="49045" y="83814"/>
                  </a:lnTo>
                  <a:lnTo>
                    <a:pt x="47069" y="83162"/>
                  </a:lnTo>
                  <a:lnTo>
                    <a:pt x="45367" y="82206"/>
                  </a:lnTo>
                  <a:lnTo>
                    <a:pt x="44343" y="81621"/>
                  </a:lnTo>
                  <a:lnTo>
                    <a:pt x="43888" y="80533"/>
                  </a:lnTo>
                  <a:lnTo>
                    <a:pt x="43888" y="79889"/>
                  </a:lnTo>
                  <a:lnTo>
                    <a:pt x="43374" y="79267"/>
                  </a:lnTo>
                  <a:lnTo>
                    <a:pt x="42551" y="79334"/>
                  </a:lnTo>
                  <a:lnTo>
                    <a:pt x="41162" y="80200"/>
                  </a:lnTo>
                  <a:lnTo>
                    <a:pt x="39450" y="80945"/>
                  </a:lnTo>
                  <a:lnTo>
                    <a:pt x="39152" y="81487"/>
                  </a:lnTo>
                  <a:lnTo>
                    <a:pt x="39770" y="82777"/>
                  </a:lnTo>
                  <a:lnTo>
                    <a:pt x="40213" y="83595"/>
                  </a:lnTo>
                  <a:lnTo>
                    <a:pt x="40012" y="84371"/>
                  </a:lnTo>
                  <a:lnTo>
                    <a:pt x="39470" y="85357"/>
                  </a:lnTo>
                  <a:lnTo>
                    <a:pt x="36177" y="87531"/>
                  </a:lnTo>
                  <a:lnTo>
                    <a:pt x="35807" y="88294"/>
                  </a:lnTo>
                  <a:lnTo>
                    <a:pt x="36436" y="89512"/>
                  </a:lnTo>
                  <a:lnTo>
                    <a:pt x="36038" y="90078"/>
                  </a:lnTo>
                  <a:lnTo>
                    <a:pt x="33285" y="90880"/>
                  </a:lnTo>
                  <a:lnTo>
                    <a:pt x="33359" y="90215"/>
                  </a:lnTo>
                  <a:lnTo>
                    <a:pt x="33188" y="89142"/>
                  </a:lnTo>
                  <a:lnTo>
                    <a:pt x="31607" y="88002"/>
                  </a:lnTo>
                  <a:lnTo>
                    <a:pt x="29383" y="87117"/>
                  </a:lnTo>
                  <a:lnTo>
                    <a:pt x="24434" y="84084"/>
                  </a:lnTo>
                  <a:lnTo>
                    <a:pt x="22531" y="83685"/>
                  </a:lnTo>
                  <a:lnTo>
                    <a:pt x="20832" y="83330"/>
                  </a:lnTo>
                  <a:lnTo>
                    <a:pt x="18396" y="81875"/>
                  </a:lnTo>
                  <a:lnTo>
                    <a:pt x="17146" y="81621"/>
                  </a:lnTo>
                  <a:lnTo>
                    <a:pt x="15756" y="80579"/>
                  </a:lnTo>
                  <a:lnTo>
                    <a:pt x="12728" y="77071"/>
                  </a:lnTo>
                  <a:lnTo>
                    <a:pt x="10154" y="75157"/>
                  </a:lnTo>
                  <a:lnTo>
                    <a:pt x="8396" y="74189"/>
                  </a:lnTo>
                  <a:lnTo>
                    <a:pt x="7904" y="73245"/>
                  </a:lnTo>
                  <a:lnTo>
                    <a:pt x="7796" y="72274"/>
                  </a:lnTo>
                  <a:lnTo>
                    <a:pt x="7856" y="71944"/>
                  </a:lnTo>
                  <a:lnTo>
                    <a:pt x="9187" y="70568"/>
                  </a:lnTo>
                  <a:lnTo>
                    <a:pt x="10210" y="70368"/>
                  </a:lnTo>
                  <a:lnTo>
                    <a:pt x="11527" y="70323"/>
                  </a:lnTo>
                  <a:lnTo>
                    <a:pt x="12395" y="71021"/>
                  </a:lnTo>
                  <a:lnTo>
                    <a:pt x="13537" y="71169"/>
                  </a:lnTo>
                  <a:lnTo>
                    <a:pt x="14173" y="70277"/>
                  </a:lnTo>
                  <a:lnTo>
                    <a:pt x="14507" y="68991"/>
                  </a:lnTo>
                  <a:lnTo>
                    <a:pt x="14354" y="67354"/>
                  </a:lnTo>
                  <a:lnTo>
                    <a:pt x="11609" y="63541"/>
                  </a:lnTo>
                  <a:lnTo>
                    <a:pt x="9247" y="60878"/>
                  </a:lnTo>
                  <a:lnTo>
                    <a:pt x="8977" y="60290"/>
                  </a:lnTo>
                  <a:lnTo>
                    <a:pt x="9487" y="59792"/>
                  </a:lnTo>
                  <a:lnTo>
                    <a:pt x="10309" y="59524"/>
                  </a:lnTo>
                  <a:lnTo>
                    <a:pt x="11193" y="59747"/>
                  </a:lnTo>
                  <a:lnTo>
                    <a:pt x="13497" y="59939"/>
                  </a:lnTo>
                  <a:lnTo>
                    <a:pt x="15710" y="59693"/>
                  </a:lnTo>
                  <a:lnTo>
                    <a:pt x="16466" y="59044"/>
                  </a:lnTo>
                  <a:lnTo>
                    <a:pt x="16468" y="58168"/>
                  </a:lnTo>
                  <a:lnTo>
                    <a:pt x="15658" y="57355"/>
                  </a:lnTo>
                  <a:lnTo>
                    <a:pt x="13071" y="55160"/>
                  </a:lnTo>
                  <a:lnTo>
                    <a:pt x="11052" y="53226"/>
                  </a:lnTo>
                  <a:lnTo>
                    <a:pt x="8679" y="51742"/>
                  </a:lnTo>
                  <a:lnTo>
                    <a:pt x="6917" y="51145"/>
                  </a:lnTo>
                  <a:lnTo>
                    <a:pt x="6396" y="50392"/>
                  </a:lnTo>
                  <a:lnTo>
                    <a:pt x="6179" y="49586"/>
                  </a:lnTo>
                  <a:lnTo>
                    <a:pt x="6375" y="48103"/>
                  </a:lnTo>
                  <a:lnTo>
                    <a:pt x="6487" y="46221"/>
                  </a:lnTo>
                  <a:lnTo>
                    <a:pt x="6906" y="45037"/>
                  </a:lnTo>
                  <a:lnTo>
                    <a:pt x="8493" y="42799"/>
                  </a:lnTo>
                  <a:lnTo>
                    <a:pt x="10014" y="40424"/>
                  </a:lnTo>
                  <a:lnTo>
                    <a:pt x="10955" y="38137"/>
                  </a:lnTo>
                  <a:lnTo>
                    <a:pt x="11450" y="36012"/>
                  </a:lnTo>
                  <a:lnTo>
                    <a:pt x="11268" y="35402"/>
                  </a:lnTo>
                  <a:lnTo>
                    <a:pt x="10473" y="34950"/>
                  </a:lnTo>
                  <a:lnTo>
                    <a:pt x="8795" y="34491"/>
                  </a:lnTo>
                  <a:lnTo>
                    <a:pt x="6468" y="34891"/>
                  </a:lnTo>
                  <a:lnTo>
                    <a:pt x="4490" y="35663"/>
                  </a:lnTo>
                  <a:lnTo>
                    <a:pt x="3717" y="35722"/>
                  </a:lnTo>
                  <a:lnTo>
                    <a:pt x="3460" y="34771"/>
                  </a:lnTo>
                  <a:lnTo>
                    <a:pt x="3771" y="34352"/>
                  </a:lnTo>
                  <a:lnTo>
                    <a:pt x="4390" y="34402"/>
                  </a:lnTo>
                  <a:lnTo>
                    <a:pt x="4898" y="34581"/>
                  </a:lnTo>
                  <a:lnTo>
                    <a:pt x="5444" y="34150"/>
                  </a:lnTo>
                  <a:lnTo>
                    <a:pt x="5770" y="32866"/>
                  </a:lnTo>
                  <a:lnTo>
                    <a:pt x="4950" y="28396"/>
                  </a:lnTo>
                  <a:lnTo>
                    <a:pt x="6427" y="27999"/>
                  </a:lnTo>
                  <a:lnTo>
                    <a:pt x="6451" y="27348"/>
                  </a:lnTo>
                  <a:lnTo>
                    <a:pt x="6587" y="26780"/>
                  </a:lnTo>
                  <a:lnTo>
                    <a:pt x="8113" y="27559"/>
                  </a:lnTo>
                  <a:lnTo>
                    <a:pt x="10260" y="27573"/>
                  </a:lnTo>
                  <a:lnTo>
                    <a:pt x="12141" y="27416"/>
                  </a:lnTo>
                  <a:lnTo>
                    <a:pt x="12425" y="26976"/>
                  </a:lnTo>
                  <a:lnTo>
                    <a:pt x="12404" y="26335"/>
                  </a:lnTo>
                  <a:lnTo>
                    <a:pt x="12013" y="25839"/>
                  </a:lnTo>
                  <a:lnTo>
                    <a:pt x="11348" y="25433"/>
                  </a:lnTo>
                  <a:lnTo>
                    <a:pt x="10862" y="24812"/>
                  </a:lnTo>
                  <a:lnTo>
                    <a:pt x="9592" y="24541"/>
                  </a:lnTo>
                  <a:lnTo>
                    <a:pt x="5617" y="22925"/>
                  </a:lnTo>
                  <a:lnTo>
                    <a:pt x="3663" y="21207"/>
                  </a:lnTo>
                  <a:lnTo>
                    <a:pt x="3728" y="19387"/>
                  </a:lnTo>
                  <a:lnTo>
                    <a:pt x="4295" y="18388"/>
                  </a:lnTo>
                  <a:lnTo>
                    <a:pt x="4980" y="18036"/>
                  </a:lnTo>
                  <a:lnTo>
                    <a:pt x="4777" y="17699"/>
                  </a:lnTo>
                  <a:lnTo>
                    <a:pt x="2535" y="16854"/>
                  </a:lnTo>
                  <a:lnTo>
                    <a:pt x="1743" y="15677"/>
                  </a:lnTo>
                  <a:lnTo>
                    <a:pt x="2393" y="14164"/>
                  </a:lnTo>
                  <a:lnTo>
                    <a:pt x="1227" y="11100"/>
                  </a:lnTo>
                  <a:lnTo>
                    <a:pt x="0" y="9209"/>
                  </a:lnTo>
                  <a:lnTo>
                    <a:pt x="1205" y="8387"/>
                  </a:lnTo>
                  <a:lnTo>
                    <a:pt x="1372" y="7226"/>
                  </a:lnTo>
                  <a:lnTo>
                    <a:pt x="1467" y="6561"/>
                  </a:lnTo>
                  <a:lnTo>
                    <a:pt x="1963" y="6570"/>
                  </a:lnTo>
                  <a:lnTo>
                    <a:pt x="3907" y="5789"/>
                  </a:lnTo>
                  <a:lnTo>
                    <a:pt x="4613" y="5155"/>
                  </a:lnTo>
                  <a:lnTo>
                    <a:pt x="5023" y="4413"/>
                  </a:lnTo>
                  <a:lnTo>
                    <a:pt x="5489" y="4230"/>
                  </a:lnTo>
                  <a:lnTo>
                    <a:pt x="6794" y="5035"/>
                  </a:lnTo>
                  <a:lnTo>
                    <a:pt x="8167" y="5106"/>
                  </a:lnTo>
                  <a:lnTo>
                    <a:pt x="9709" y="4597"/>
                  </a:lnTo>
                  <a:lnTo>
                    <a:pt x="10862" y="3889"/>
                  </a:lnTo>
                  <a:lnTo>
                    <a:pt x="12246" y="3301"/>
                  </a:lnTo>
                  <a:lnTo>
                    <a:pt x="12875" y="2896"/>
                  </a:lnTo>
                  <a:lnTo>
                    <a:pt x="13676" y="2263"/>
                  </a:lnTo>
                  <a:lnTo>
                    <a:pt x="15295" y="388"/>
                  </a:lnTo>
                  <a:lnTo>
                    <a:pt x="17124" y="0"/>
                  </a:lnTo>
                  <a:close/>
                </a:path>
              </a:pathLst>
            </a:custGeom>
            <a:solidFill>
              <a:srgbClr val="C7CDD0"/>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AT" sz="1600" err="1">
                <a:solidFill>
                  <a:schemeClr val="tx1"/>
                </a:solidFill>
                <a:latin typeface="Calibri" panose="020F0502020204030204" pitchFamily="34" charset="0"/>
                <a:cs typeface="Calibri" panose="020F0502020204030204" pitchFamily="34" charset="0"/>
              </a:endParaRPr>
            </a:p>
          </p:txBody>
        </p:sp>
        <p:sp>
          <p:nvSpPr>
            <p:cNvPr id="106" name="ee4p_SK_1_86241">
              <a:extLst>
                <a:ext uri="{FF2B5EF4-FFF2-40B4-BE49-F238E27FC236}">
                  <a16:creationId xmlns:a16="http://schemas.microsoft.com/office/drawing/2014/main" id="{D600A109-AE00-4C3F-8BB3-14B4DB0CA887}"/>
                </a:ext>
              </a:extLst>
            </p:cNvPr>
            <p:cNvSpPr>
              <a:spLocks noChangeAspect="1"/>
            </p:cNvSpPr>
            <p:nvPr>
              <p:custDataLst>
                <p:tags r:id="rId44"/>
              </p:custDataLst>
            </p:nvPr>
          </p:nvSpPr>
          <p:spPr>
            <a:xfrm>
              <a:off x="7241994" y="3076552"/>
              <a:ext cx="380370" cy="162229"/>
            </a:xfrm>
            <a:custGeom>
              <a:avLst/>
              <a:gdLst/>
              <a:ahLst/>
              <a:cxnLst/>
              <a:rect l="0" t="0" r="0" b="0"/>
              <a:pathLst>
                <a:path w="125509" h="52154">
                  <a:moveTo>
                    <a:pt x="125508" y="15038"/>
                  </a:moveTo>
                  <a:lnTo>
                    <a:pt x="125186" y="16218"/>
                  </a:lnTo>
                  <a:lnTo>
                    <a:pt x="124281" y="17591"/>
                  </a:lnTo>
                  <a:lnTo>
                    <a:pt x="123150" y="19009"/>
                  </a:lnTo>
                  <a:lnTo>
                    <a:pt x="122208" y="20721"/>
                  </a:lnTo>
                  <a:lnTo>
                    <a:pt x="120951" y="24378"/>
                  </a:lnTo>
                  <a:lnTo>
                    <a:pt x="120124" y="26062"/>
                  </a:lnTo>
                  <a:lnTo>
                    <a:pt x="116756" y="29396"/>
                  </a:lnTo>
                  <a:lnTo>
                    <a:pt x="116512" y="34025"/>
                  </a:lnTo>
                  <a:lnTo>
                    <a:pt x="116058" y="34364"/>
                  </a:lnTo>
                  <a:lnTo>
                    <a:pt x="108444" y="35930"/>
                  </a:lnTo>
                  <a:lnTo>
                    <a:pt x="107438" y="35690"/>
                  </a:lnTo>
                  <a:lnTo>
                    <a:pt x="106401" y="34789"/>
                  </a:lnTo>
                  <a:lnTo>
                    <a:pt x="105827" y="34134"/>
                  </a:lnTo>
                  <a:lnTo>
                    <a:pt x="105471" y="33651"/>
                  </a:lnTo>
                  <a:lnTo>
                    <a:pt x="104810" y="32371"/>
                  </a:lnTo>
                  <a:lnTo>
                    <a:pt x="103938" y="31462"/>
                  </a:lnTo>
                  <a:lnTo>
                    <a:pt x="102644" y="30720"/>
                  </a:lnTo>
                  <a:lnTo>
                    <a:pt x="101465" y="29857"/>
                  </a:lnTo>
                  <a:lnTo>
                    <a:pt x="99940" y="29823"/>
                  </a:lnTo>
                  <a:lnTo>
                    <a:pt x="95827" y="31039"/>
                  </a:lnTo>
                  <a:lnTo>
                    <a:pt x="92972" y="31172"/>
                  </a:lnTo>
                  <a:lnTo>
                    <a:pt x="91067" y="30782"/>
                  </a:lnTo>
                  <a:lnTo>
                    <a:pt x="88535" y="30045"/>
                  </a:lnTo>
                  <a:lnTo>
                    <a:pt x="83594" y="29929"/>
                  </a:lnTo>
                  <a:lnTo>
                    <a:pt x="80208" y="30577"/>
                  </a:lnTo>
                  <a:lnTo>
                    <a:pt x="79875" y="31479"/>
                  </a:lnTo>
                  <a:lnTo>
                    <a:pt x="76753" y="37134"/>
                  </a:lnTo>
                  <a:lnTo>
                    <a:pt x="72216" y="39215"/>
                  </a:lnTo>
                  <a:lnTo>
                    <a:pt x="68275" y="41347"/>
                  </a:lnTo>
                  <a:lnTo>
                    <a:pt x="67131" y="41778"/>
                  </a:lnTo>
                  <a:lnTo>
                    <a:pt x="65172" y="41109"/>
                  </a:lnTo>
                  <a:lnTo>
                    <a:pt x="62942" y="39843"/>
                  </a:lnTo>
                  <a:lnTo>
                    <a:pt x="61089" y="39185"/>
                  </a:lnTo>
                  <a:lnTo>
                    <a:pt x="59737" y="39475"/>
                  </a:lnTo>
                  <a:lnTo>
                    <a:pt x="58260" y="40909"/>
                  </a:lnTo>
                  <a:lnTo>
                    <a:pt x="57586" y="42362"/>
                  </a:lnTo>
                  <a:lnTo>
                    <a:pt x="53123" y="43425"/>
                  </a:lnTo>
                  <a:lnTo>
                    <a:pt x="45362" y="44053"/>
                  </a:lnTo>
                  <a:lnTo>
                    <a:pt x="42658" y="45479"/>
                  </a:lnTo>
                  <a:lnTo>
                    <a:pt x="41734" y="47195"/>
                  </a:lnTo>
                  <a:lnTo>
                    <a:pt x="41695" y="48514"/>
                  </a:lnTo>
                  <a:lnTo>
                    <a:pt x="42352" y="49635"/>
                  </a:lnTo>
                  <a:lnTo>
                    <a:pt x="41525" y="50941"/>
                  </a:lnTo>
                  <a:lnTo>
                    <a:pt x="41162" y="51486"/>
                  </a:lnTo>
                  <a:lnTo>
                    <a:pt x="35679" y="51772"/>
                  </a:lnTo>
                  <a:lnTo>
                    <a:pt x="28368" y="52153"/>
                  </a:lnTo>
                  <a:lnTo>
                    <a:pt x="23997" y="52056"/>
                  </a:lnTo>
                  <a:lnTo>
                    <a:pt x="19883" y="51964"/>
                  </a:lnTo>
                  <a:lnTo>
                    <a:pt x="17083" y="50845"/>
                  </a:lnTo>
                  <a:lnTo>
                    <a:pt x="13664" y="48657"/>
                  </a:lnTo>
                  <a:lnTo>
                    <a:pt x="10052" y="45743"/>
                  </a:lnTo>
                  <a:lnTo>
                    <a:pt x="9704" y="45675"/>
                  </a:lnTo>
                  <a:lnTo>
                    <a:pt x="9167" y="45365"/>
                  </a:lnTo>
                  <a:lnTo>
                    <a:pt x="6897" y="45147"/>
                  </a:lnTo>
                  <a:lnTo>
                    <a:pt x="6294" y="45319"/>
                  </a:lnTo>
                  <a:lnTo>
                    <a:pt x="4936" y="44371"/>
                  </a:lnTo>
                  <a:lnTo>
                    <a:pt x="4537" y="43137"/>
                  </a:lnTo>
                  <a:lnTo>
                    <a:pt x="2431" y="39892"/>
                  </a:lnTo>
                  <a:lnTo>
                    <a:pt x="60" y="34547"/>
                  </a:lnTo>
                  <a:lnTo>
                    <a:pt x="0" y="33002"/>
                  </a:lnTo>
                  <a:lnTo>
                    <a:pt x="924" y="31241"/>
                  </a:lnTo>
                  <a:lnTo>
                    <a:pt x="1783" y="29895"/>
                  </a:lnTo>
                  <a:lnTo>
                    <a:pt x="1904" y="28826"/>
                  </a:lnTo>
                  <a:lnTo>
                    <a:pt x="2000" y="28535"/>
                  </a:lnTo>
                  <a:lnTo>
                    <a:pt x="2710" y="26316"/>
                  </a:lnTo>
                  <a:lnTo>
                    <a:pt x="4435" y="23362"/>
                  </a:lnTo>
                  <a:lnTo>
                    <a:pt x="6035" y="21645"/>
                  </a:lnTo>
                  <a:lnTo>
                    <a:pt x="7203" y="21078"/>
                  </a:lnTo>
                  <a:lnTo>
                    <a:pt x="9600" y="21595"/>
                  </a:lnTo>
                  <a:lnTo>
                    <a:pt x="13708" y="22023"/>
                  </a:lnTo>
                  <a:lnTo>
                    <a:pt x="16865" y="21622"/>
                  </a:lnTo>
                  <a:lnTo>
                    <a:pt x="19808" y="20304"/>
                  </a:lnTo>
                  <a:lnTo>
                    <a:pt x="21408" y="19150"/>
                  </a:lnTo>
                  <a:lnTo>
                    <a:pt x="22775" y="17937"/>
                  </a:lnTo>
                  <a:lnTo>
                    <a:pt x="23230" y="17150"/>
                  </a:lnTo>
                  <a:lnTo>
                    <a:pt x="23837" y="16772"/>
                  </a:lnTo>
                  <a:lnTo>
                    <a:pt x="26273" y="16071"/>
                  </a:lnTo>
                  <a:lnTo>
                    <a:pt x="27048" y="15254"/>
                  </a:lnTo>
                  <a:lnTo>
                    <a:pt x="27368" y="13706"/>
                  </a:lnTo>
                  <a:lnTo>
                    <a:pt x="27579" y="11978"/>
                  </a:lnTo>
                  <a:lnTo>
                    <a:pt x="28081" y="10698"/>
                  </a:lnTo>
                  <a:lnTo>
                    <a:pt x="28707" y="9759"/>
                  </a:lnTo>
                  <a:lnTo>
                    <a:pt x="33215" y="7501"/>
                  </a:lnTo>
                  <a:lnTo>
                    <a:pt x="33619" y="6708"/>
                  </a:lnTo>
                  <a:lnTo>
                    <a:pt x="34343" y="5934"/>
                  </a:lnTo>
                  <a:lnTo>
                    <a:pt x="35675" y="5069"/>
                  </a:lnTo>
                  <a:lnTo>
                    <a:pt x="36968" y="3819"/>
                  </a:lnTo>
                  <a:lnTo>
                    <a:pt x="38338" y="3051"/>
                  </a:lnTo>
                  <a:lnTo>
                    <a:pt x="40100" y="3137"/>
                  </a:lnTo>
                  <a:lnTo>
                    <a:pt x="41725" y="2978"/>
                  </a:lnTo>
                  <a:lnTo>
                    <a:pt x="42993" y="2541"/>
                  </a:lnTo>
                  <a:lnTo>
                    <a:pt x="43550" y="2496"/>
                  </a:lnTo>
                  <a:lnTo>
                    <a:pt x="45893" y="2855"/>
                  </a:lnTo>
                  <a:lnTo>
                    <a:pt x="46314" y="4290"/>
                  </a:lnTo>
                  <a:lnTo>
                    <a:pt x="46560" y="5782"/>
                  </a:lnTo>
                  <a:lnTo>
                    <a:pt x="50564" y="5674"/>
                  </a:lnTo>
                  <a:lnTo>
                    <a:pt x="52793" y="2478"/>
                  </a:lnTo>
                  <a:lnTo>
                    <a:pt x="53946" y="2092"/>
                  </a:lnTo>
                  <a:lnTo>
                    <a:pt x="55801" y="979"/>
                  </a:lnTo>
                  <a:lnTo>
                    <a:pt x="57025" y="0"/>
                  </a:lnTo>
                  <a:lnTo>
                    <a:pt x="57867" y="613"/>
                  </a:lnTo>
                  <a:lnTo>
                    <a:pt x="59085" y="2669"/>
                  </a:lnTo>
                  <a:lnTo>
                    <a:pt x="60374" y="4323"/>
                  </a:lnTo>
                  <a:lnTo>
                    <a:pt x="61117" y="4976"/>
                  </a:lnTo>
                  <a:lnTo>
                    <a:pt x="61197" y="5484"/>
                  </a:lnTo>
                  <a:lnTo>
                    <a:pt x="61946" y="5788"/>
                  </a:lnTo>
                  <a:lnTo>
                    <a:pt x="63404" y="5972"/>
                  </a:lnTo>
                  <a:lnTo>
                    <a:pt x="64373" y="6472"/>
                  </a:lnTo>
                  <a:lnTo>
                    <a:pt x="64663" y="8008"/>
                  </a:lnTo>
                  <a:lnTo>
                    <a:pt x="64684" y="9399"/>
                  </a:lnTo>
                  <a:lnTo>
                    <a:pt x="64229" y="10393"/>
                  </a:lnTo>
                  <a:lnTo>
                    <a:pt x="63991" y="11275"/>
                  </a:lnTo>
                  <a:lnTo>
                    <a:pt x="65000" y="11620"/>
                  </a:lnTo>
                  <a:lnTo>
                    <a:pt x="66474" y="11286"/>
                  </a:lnTo>
                  <a:lnTo>
                    <a:pt x="67517" y="10789"/>
                  </a:lnTo>
                  <a:lnTo>
                    <a:pt x="70646" y="11935"/>
                  </a:lnTo>
                  <a:lnTo>
                    <a:pt x="71752" y="9376"/>
                  </a:lnTo>
                  <a:lnTo>
                    <a:pt x="72991" y="8069"/>
                  </a:lnTo>
                  <a:lnTo>
                    <a:pt x="74602" y="7461"/>
                  </a:lnTo>
                  <a:lnTo>
                    <a:pt x="76062" y="6662"/>
                  </a:lnTo>
                  <a:lnTo>
                    <a:pt x="77399" y="6097"/>
                  </a:lnTo>
                  <a:lnTo>
                    <a:pt x="78321" y="6130"/>
                  </a:lnTo>
                  <a:lnTo>
                    <a:pt x="78718" y="5894"/>
                  </a:lnTo>
                  <a:lnTo>
                    <a:pt x="79865" y="5955"/>
                  </a:lnTo>
                  <a:lnTo>
                    <a:pt x="81193" y="6213"/>
                  </a:lnTo>
                  <a:lnTo>
                    <a:pt x="82996" y="5912"/>
                  </a:lnTo>
                  <a:lnTo>
                    <a:pt x="85492" y="6536"/>
                  </a:lnTo>
                  <a:lnTo>
                    <a:pt x="87051" y="7718"/>
                  </a:lnTo>
                  <a:lnTo>
                    <a:pt x="88576" y="8118"/>
                  </a:lnTo>
                  <a:lnTo>
                    <a:pt x="90318" y="8049"/>
                  </a:lnTo>
                  <a:lnTo>
                    <a:pt x="91510" y="7398"/>
                  </a:lnTo>
                  <a:lnTo>
                    <a:pt x="93240" y="5150"/>
                  </a:lnTo>
                  <a:lnTo>
                    <a:pt x="94495" y="5186"/>
                  </a:lnTo>
                  <a:lnTo>
                    <a:pt x="96460" y="4830"/>
                  </a:lnTo>
                  <a:lnTo>
                    <a:pt x="99234" y="4850"/>
                  </a:lnTo>
                  <a:lnTo>
                    <a:pt x="105628" y="5331"/>
                  </a:lnTo>
                  <a:lnTo>
                    <a:pt x="107231" y="6192"/>
                  </a:lnTo>
                  <a:lnTo>
                    <a:pt x="111167" y="7294"/>
                  </a:lnTo>
                  <a:lnTo>
                    <a:pt x="112882" y="8565"/>
                  </a:lnTo>
                  <a:lnTo>
                    <a:pt x="113644" y="10082"/>
                  </a:lnTo>
                  <a:lnTo>
                    <a:pt x="114041" y="11128"/>
                  </a:lnTo>
                  <a:lnTo>
                    <a:pt x="118075" y="12738"/>
                  </a:lnTo>
                  <a:lnTo>
                    <a:pt x="124056" y="14793"/>
                  </a:lnTo>
                  <a:close/>
                </a:path>
              </a:pathLst>
            </a:custGeom>
            <a:solidFill>
              <a:srgbClr val="C7CDD0"/>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AT" sz="1600" err="1">
                <a:solidFill>
                  <a:schemeClr val="tx1"/>
                </a:solidFill>
                <a:latin typeface="Calibri" panose="020F0502020204030204" pitchFamily="34" charset="0"/>
                <a:cs typeface="Calibri" panose="020F0502020204030204" pitchFamily="34" charset="0"/>
              </a:endParaRPr>
            </a:p>
          </p:txBody>
        </p:sp>
        <p:sp>
          <p:nvSpPr>
            <p:cNvPr id="107" name="ee4p_SI_1_86241">
              <a:extLst>
                <a:ext uri="{FF2B5EF4-FFF2-40B4-BE49-F238E27FC236}">
                  <a16:creationId xmlns:a16="http://schemas.microsoft.com/office/drawing/2014/main" id="{DDA1C25A-D059-43BB-929C-6086BB9640EA}"/>
                </a:ext>
              </a:extLst>
            </p:cNvPr>
            <p:cNvSpPr>
              <a:spLocks noChangeAspect="1"/>
            </p:cNvSpPr>
            <p:nvPr>
              <p:custDataLst>
                <p:tags r:id="rId45"/>
              </p:custDataLst>
            </p:nvPr>
          </p:nvSpPr>
          <p:spPr>
            <a:xfrm>
              <a:off x="7008489" y="3317190"/>
              <a:ext cx="210288" cy="123453"/>
            </a:xfrm>
            <a:custGeom>
              <a:avLst/>
              <a:gdLst/>
              <a:ahLst/>
              <a:cxnLst/>
              <a:rect l="0" t="0" r="0" b="0"/>
              <a:pathLst>
                <a:path w="69388" h="39688">
                  <a:moveTo>
                    <a:pt x="69387" y="10107"/>
                  </a:moveTo>
                  <a:lnTo>
                    <a:pt x="67429" y="9427"/>
                  </a:lnTo>
                  <a:lnTo>
                    <a:pt x="65075" y="9143"/>
                  </a:lnTo>
                  <a:lnTo>
                    <a:pt x="64632" y="9511"/>
                  </a:lnTo>
                  <a:lnTo>
                    <a:pt x="63686" y="9885"/>
                  </a:lnTo>
                  <a:lnTo>
                    <a:pt x="63207" y="10553"/>
                  </a:lnTo>
                  <a:lnTo>
                    <a:pt x="63574" y="13181"/>
                  </a:lnTo>
                  <a:lnTo>
                    <a:pt x="63002" y="13632"/>
                  </a:lnTo>
                  <a:lnTo>
                    <a:pt x="60326" y="13372"/>
                  </a:lnTo>
                  <a:lnTo>
                    <a:pt x="59443" y="13674"/>
                  </a:lnTo>
                  <a:lnTo>
                    <a:pt x="57988" y="15502"/>
                  </a:lnTo>
                  <a:lnTo>
                    <a:pt x="56498" y="16270"/>
                  </a:lnTo>
                  <a:lnTo>
                    <a:pt x="54602" y="16818"/>
                  </a:lnTo>
                  <a:lnTo>
                    <a:pt x="53203" y="17479"/>
                  </a:lnTo>
                  <a:lnTo>
                    <a:pt x="51432" y="18053"/>
                  </a:lnTo>
                  <a:lnTo>
                    <a:pt x="49922" y="18399"/>
                  </a:lnTo>
                  <a:lnTo>
                    <a:pt x="49327" y="19197"/>
                  </a:lnTo>
                  <a:lnTo>
                    <a:pt x="48964" y="20080"/>
                  </a:lnTo>
                  <a:lnTo>
                    <a:pt x="49059" y="20930"/>
                  </a:lnTo>
                  <a:lnTo>
                    <a:pt x="50592" y="22609"/>
                  </a:lnTo>
                  <a:lnTo>
                    <a:pt x="50799" y="24399"/>
                  </a:lnTo>
                  <a:lnTo>
                    <a:pt x="50633" y="26586"/>
                  </a:lnTo>
                  <a:lnTo>
                    <a:pt x="50281" y="27752"/>
                  </a:lnTo>
                  <a:lnTo>
                    <a:pt x="49676" y="28527"/>
                  </a:lnTo>
                  <a:lnTo>
                    <a:pt x="45902" y="29532"/>
                  </a:lnTo>
                  <a:lnTo>
                    <a:pt x="41987" y="31322"/>
                  </a:lnTo>
                  <a:lnTo>
                    <a:pt x="41896" y="31732"/>
                  </a:lnTo>
                  <a:lnTo>
                    <a:pt x="43682" y="33323"/>
                  </a:lnTo>
                  <a:lnTo>
                    <a:pt x="43753" y="33720"/>
                  </a:lnTo>
                  <a:lnTo>
                    <a:pt x="42276" y="34624"/>
                  </a:lnTo>
                  <a:lnTo>
                    <a:pt x="42131" y="35530"/>
                  </a:lnTo>
                  <a:lnTo>
                    <a:pt x="42300" y="36578"/>
                  </a:lnTo>
                  <a:lnTo>
                    <a:pt x="43084" y="37657"/>
                  </a:lnTo>
                  <a:lnTo>
                    <a:pt x="43367" y="38625"/>
                  </a:lnTo>
                  <a:lnTo>
                    <a:pt x="41214" y="39329"/>
                  </a:lnTo>
                  <a:lnTo>
                    <a:pt x="38303" y="39072"/>
                  </a:lnTo>
                  <a:lnTo>
                    <a:pt x="34857" y="37723"/>
                  </a:lnTo>
                  <a:lnTo>
                    <a:pt x="33649" y="37921"/>
                  </a:lnTo>
                  <a:lnTo>
                    <a:pt x="32479" y="38617"/>
                  </a:lnTo>
                  <a:lnTo>
                    <a:pt x="31285" y="38318"/>
                  </a:lnTo>
                  <a:lnTo>
                    <a:pt x="29970" y="37487"/>
                  </a:lnTo>
                  <a:lnTo>
                    <a:pt x="28111" y="35756"/>
                  </a:lnTo>
                  <a:lnTo>
                    <a:pt x="27206" y="34693"/>
                  </a:lnTo>
                  <a:lnTo>
                    <a:pt x="26834" y="33561"/>
                  </a:lnTo>
                  <a:lnTo>
                    <a:pt x="26327" y="33397"/>
                  </a:lnTo>
                  <a:lnTo>
                    <a:pt x="25556" y="33726"/>
                  </a:lnTo>
                  <a:lnTo>
                    <a:pt x="24919" y="35103"/>
                  </a:lnTo>
                  <a:lnTo>
                    <a:pt x="23198" y="37562"/>
                  </a:lnTo>
                  <a:lnTo>
                    <a:pt x="21928" y="38230"/>
                  </a:lnTo>
                  <a:lnTo>
                    <a:pt x="20006" y="38088"/>
                  </a:lnTo>
                  <a:lnTo>
                    <a:pt x="17314" y="38128"/>
                  </a:lnTo>
                  <a:lnTo>
                    <a:pt x="15640" y="38329"/>
                  </a:lnTo>
                  <a:lnTo>
                    <a:pt x="13589" y="37461"/>
                  </a:lnTo>
                  <a:lnTo>
                    <a:pt x="13092" y="37628"/>
                  </a:lnTo>
                  <a:lnTo>
                    <a:pt x="13088" y="38198"/>
                  </a:lnTo>
                  <a:lnTo>
                    <a:pt x="12325" y="39098"/>
                  </a:lnTo>
                  <a:lnTo>
                    <a:pt x="11067" y="39687"/>
                  </a:lnTo>
                  <a:lnTo>
                    <a:pt x="5241" y="38359"/>
                  </a:lnTo>
                  <a:lnTo>
                    <a:pt x="4416" y="37256"/>
                  </a:lnTo>
                  <a:lnTo>
                    <a:pt x="5729" y="36732"/>
                  </a:lnTo>
                  <a:lnTo>
                    <a:pt x="7553" y="35312"/>
                  </a:lnTo>
                  <a:lnTo>
                    <a:pt x="8795" y="35467"/>
                  </a:lnTo>
                  <a:lnTo>
                    <a:pt x="10315" y="35167"/>
                  </a:lnTo>
                  <a:lnTo>
                    <a:pt x="10978" y="34563"/>
                  </a:lnTo>
                  <a:lnTo>
                    <a:pt x="10015" y="32759"/>
                  </a:lnTo>
                  <a:lnTo>
                    <a:pt x="7594" y="30532"/>
                  </a:lnTo>
                  <a:lnTo>
                    <a:pt x="6307" y="29686"/>
                  </a:lnTo>
                  <a:lnTo>
                    <a:pt x="4536" y="29125"/>
                  </a:lnTo>
                  <a:lnTo>
                    <a:pt x="4232" y="28525"/>
                  </a:lnTo>
                  <a:lnTo>
                    <a:pt x="5212" y="25007"/>
                  </a:lnTo>
                  <a:lnTo>
                    <a:pt x="4917" y="24507"/>
                  </a:lnTo>
                  <a:lnTo>
                    <a:pt x="2895" y="24672"/>
                  </a:lnTo>
                  <a:lnTo>
                    <a:pt x="2420" y="24304"/>
                  </a:lnTo>
                  <a:lnTo>
                    <a:pt x="2256" y="23694"/>
                  </a:lnTo>
                  <a:lnTo>
                    <a:pt x="2392" y="22856"/>
                  </a:lnTo>
                  <a:lnTo>
                    <a:pt x="3755" y="21486"/>
                  </a:lnTo>
                  <a:lnTo>
                    <a:pt x="5271" y="20270"/>
                  </a:lnTo>
                  <a:lnTo>
                    <a:pt x="5677" y="19588"/>
                  </a:lnTo>
                  <a:lnTo>
                    <a:pt x="5623" y="19055"/>
                  </a:lnTo>
                  <a:lnTo>
                    <a:pt x="3681" y="18514"/>
                  </a:lnTo>
                  <a:lnTo>
                    <a:pt x="2511" y="17960"/>
                  </a:lnTo>
                  <a:lnTo>
                    <a:pt x="1583" y="17768"/>
                  </a:lnTo>
                  <a:lnTo>
                    <a:pt x="946" y="18079"/>
                  </a:lnTo>
                  <a:lnTo>
                    <a:pt x="473" y="17729"/>
                  </a:lnTo>
                  <a:lnTo>
                    <a:pt x="0" y="16714"/>
                  </a:lnTo>
                  <a:lnTo>
                    <a:pt x="470" y="15165"/>
                  </a:lnTo>
                  <a:lnTo>
                    <a:pt x="2218" y="13733"/>
                  </a:lnTo>
                  <a:lnTo>
                    <a:pt x="4092" y="12461"/>
                  </a:lnTo>
                  <a:lnTo>
                    <a:pt x="5724" y="11533"/>
                  </a:lnTo>
                  <a:lnTo>
                    <a:pt x="6666" y="11135"/>
                  </a:lnTo>
                  <a:lnTo>
                    <a:pt x="7115" y="9542"/>
                  </a:lnTo>
                  <a:lnTo>
                    <a:pt x="8087" y="9708"/>
                  </a:lnTo>
                  <a:lnTo>
                    <a:pt x="10019" y="9793"/>
                  </a:lnTo>
                  <a:lnTo>
                    <a:pt x="12174" y="10155"/>
                  </a:lnTo>
                  <a:lnTo>
                    <a:pt x="14183" y="10599"/>
                  </a:lnTo>
                  <a:lnTo>
                    <a:pt x="15949" y="11162"/>
                  </a:lnTo>
                  <a:lnTo>
                    <a:pt x="19659" y="11750"/>
                  </a:lnTo>
                  <a:lnTo>
                    <a:pt x="23034" y="12105"/>
                  </a:lnTo>
                  <a:lnTo>
                    <a:pt x="24051" y="12432"/>
                  </a:lnTo>
                  <a:lnTo>
                    <a:pt x="24882" y="12407"/>
                  </a:lnTo>
                  <a:lnTo>
                    <a:pt x="25906" y="12887"/>
                  </a:lnTo>
                  <a:lnTo>
                    <a:pt x="26511" y="12520"/>
                  </a:lnTo>
                  <a:lnTo>
                    <a:pt x="26949" y="11878"/>
                  </a:lnTo>
                  <a:lnTo>
                    <a:pt x="28789" y="11120"/>
                  </a:lnTo>
                  <a:lnTo>
                    <a:pt x="30482" y="10129"/>
                  </a:lnTo>
                  <a:lnTo>
                    <a:pt x="31672" y="8867"/>
                  </a:lnTo>
                  <a:lnTo>
                    <a:pt x="32337" y="7870"/>
                  </a:lnTo>
                  <a:lnTo>
                    <a:pt x="33501" y="7163"/>
                  </a:lnTo>
                  <a:lnTo>
                    <a:pt x="34742" y="6959"/>
                  </a:lnTo>
                  <a:lnTo>
                    <a:pt x="35876" y="6605"/>
                  </a:lnTo>
                  <a:lnTo>
                    <a:pt x="40659" y="6133"/>
                  </a:lnTo>
                  <a:lnTo>
                    <a:pt x="45573" y="6503"/>
                  </a:lnTo>
                  <a:lnTo>
                    <a:pt x="47919" y="5808"/>
                  </a:lnTo>
                  <a:lnTo>
                    <a:pt x="49849" y="4590"/>
                  </a:lnTo>
                  <a:lnTo>
                    <a:pt x="52671" y="4248"/>
                  </a:lnTo>
                  <a:lnTo>
                    <a:pt x="52818" y="4233"/>
                  </a:lnTo>
                  <a:lnTo>
                    <a:pt x="57036" y="5169"/>
                  </a:lnTo>
                  <a:lnTo>
                    <a:pt x="57360" y="4624"/>
                  </a:lnTo>
                  <a:lnTo>
                    <a:pt x="57541" y="4384"/>
                  </a:lnTo>
                  <a:lnTo>
                    <a:pt x="57461" y="1725"/>
                  </a:lnTo>
                  <a:lnTo>
                    <a:pt x="58796" y="514"/>
                  </a:lnTo>
                  <a:lnTo>
                    <a:pt x="60031" y="0"/>
                  </a:lnTo>
                  <a:lnTo>
                    <a:pt x="64244" y="168"/>
                  </a:lnTo>
                  <a:lnTo>
                    <a:pt x="64794" y="984"/>
                  </a:lnTo>
                  <a:lnTo>
                    <a:pt x="65015" y="2250"/>
                  </a:lnTo>
                  <a:lnTo>
                    <a:pt x="65390" y="3945"/>
                  </a:lnTo>
                  <a:lnTo>
                    <a:pt x="66092" y="4413"/>
                  </a:lnTo>
                  <a:lnTo>
                    <a:pt x="66476" y="5080"/>
                  </a:lnTo>
                  <a:lnTo>
                    <a:pt x="66403" y="6252"/>
                  </a:lnTo>
                  <a:lnTo>
                    <a:pt x="67226" y="7126"/>
                  </a:lnTo>
                  <a:lnTo>
                    <a:pt x="69154" y="9492"/>
                  </a:lnTo>
                  <a:close/>
                </a:path>
              </a:pathLst>
            </a:custGeom>
            <a:solidFill>
              <a:srgbClr val="C7CDD0"/>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AT" sz="1600" err="1">
                <a:solidFill>
                  <a:schemeClr val="tx1"/>
                </a:solidFill>
                <a:latin typeface="Calibri" panose="020F0502020204030204" pitchFamily="34" charset="0"/>
                <a:cs typeface="Calibri" panose="020F0502020204030204" pitchFamily="34" charset="0"/>
              </a:endParaRPr>
            </a:p>
          </p:txBody>
        </p:sp>
        <p:sp>
          <p:nvSpPr>
            <p:cNvPr id="108" name="ee4p_SE_1_86241">
              <a:extLst>
                <a:ext uri="{FF2B5EF4-FFF2-40B4-BE49-F238E27FC236}">
                  <a16:creationId xmlns:a16="http://schemas.microsoft.com/office/drawing/2014/main" id="{908BC367-0657-4DBF-BF8E-E759904F5DBE}"/>
                </a:ext>
              </a:extLst>
            </p:cNvPr>
            <p:cNvSpPr>
              <a:spLocks noChangeAspect="1"/>
            </p:cNvSpPr>
            <p:nvPr>
              <p:custDataLst>
                <p:tags r:id="rId46"/>
              </p:custDataLst>
            </p:nvPr>
          </p:nvSpPr>
          <p:spPr>
            <a:xfrm>
              <a:off x="6858979" y="1078305"/>
              <a:ext cx="871729" cy="1465993"/>
            </a:xfrm>
            <a:custGeom>
              <a:avLst/>
              <a:gdLst>
                <a:gd name="connsiteX0" fmla="*/ 129980 w 287641"/>
                <a:gd name="connsiteY0" fmla="*/ 408700 h 471291"/>
                <a:gd name="connsiteX1" fmla="*/ 131392 w 287641"/>
                <a:gd name="connsiteY1" fmla="*/ 409106 h 471291"/>
                <a:gd name="connsiteX2" fmla="*/ 132021 w 287641"/>
                <a:gd name="connsiteY2" fmla="*/ 409502 h 471291"/>
                <a:gd name="connsiteX3" fmla="*/ 130533 w 287641"/>
                <a:gd name="connsiteY3" fmla="*/ 410751 h 471291"/>
                <a:gd name="connsiteX4" fmla="*/ 130706 w 287641"/>
                <a:gd name="connsiteY4" fmla="*/ 412376 h 471291"/>
                <a:gd name="connsiteX5" fmla="*/ 130602 w 287641"/>
                <a:gd name="connsiteY5" fmla="*/ 413049 h 471291"/>
                <a:gd name="connsiteX6" fmla="*/ 126847 w 287641"/>
                <a:gd name="connsiteY6" fmla="*/ 420100 h 471291"/>
                <a:gd name="connsiteX7" fmla="*/ 125843 w 287641"/>
                <a:gd name="connsiteY7" fmla="*/ 424667 h 471291"/>
                <a:gd name="connsiteX8" fmla="*/ 124511 w 287641"/>
                <a:gd name="connsiteY8" fmla="*/ 425780 h 471291"/>
                <a:gd name="connsiteX9" fmla="*/ 118993 w 287641"/>
                <a:gd name="connsiteY9" fmla="*/ 441942 h 471291"/>
                <a:gd name="connsiteX10" fmla="*/ 117858 w 287641"/>
                <a:gd name="connsiteY10" fmla="*/ 443517 h 471291"/>
                <a:gd name="connsiteX11" fmla="*/ 116851 w 287641"/>
                <a:gd name="connsiteY11" fmla="*/ 443406 h 471291"/>
                <a:gd name="connsiteX12" fmla="*/ 116180 w 287641"/>
                <a:gd name="connsiteY12" fmla="*/ 441305 h 471291"/>
                <a:gd name="connsiteX13" fmla="*/ 116022 w 287641"/>
                <a:gd name="connsiteY13" fmla="*/ 435892 h 471291"/>
                <a:gd name="connsiteX14" fmla="*/ 116424 w 287641"/>
                <a:gd name="connsiteY14" fmla="*/ 433213 h 471291"/>
                <a:gd name="connsiteX15" fmla="*/ 121246 w 287641"/>
                <a:gd name="connsiteY15" fmla="*/ 423521 h 471291"/>
                <a:gd name="connsiteX16" fmla="*/ 123398 w 287641"/>
                <a:gd name="connsiteY16" fmla="*/ 422728 h 471291"/>
                <a:gd name="connsiteX17" fmla="*/ 126426 w 287641"/>
                <a:gd name="connsiteY17" fmla="*/ 416765 h 471291"/>
                <a:gd name="connsiteX18" fmla="*/ 127242 w 287641"/>
                <a:gd name="connsiteY18" fmla="*/ 414108 h 471291"/>
                <a:gd name="connsiteX19" fmla="*/ 128555 w 287641"/>
                <a:gd name="connsiteY19" fmla="*/ 411712 h 471291"/>
                <a:gd name="connsiteX20" fmla="*/ 129330 w 287641"/>
                <a:gd name="connsiteY20" fmla="*/ 409567 h 471291"/>
                <a:gd name="connsiteX21" fmla="*/ 171445 w 287641"/>
                <a:gd name="connsiteY21" fmla="*/ 390509 h 471291"/>
                <a:gd name="connsiteX22" fmla="*/ 172680 w 287641"/>
                <a:gd name="connsiteY22" fmla="*/ 391004 h 471291"/>
                <a:gd name="connsiteX23" fmla="*/ 175334 w 287641"/>
                <a:gd name="connsiteY23" fmla="*/ 393055 h 471291"/>
                <a:gd name="connsiteX24" fmla="*/ 173505 w 287641"/>
                <a:gd name="connsiteY24" fmla="*/ 393817 h 471291"/>
                <a:gd name="connsiteX25" fmla="*/ 172429 w 287641"/>
                <a:gd name="connsiteY25" fmla="*/ 396070 h 471291"/>
                <a:gd name="connsiteX26" fmla="*/ 170948 w 287641"/>
                <a:gd name="connsiteY26" fmla="*/ 396450 h 471291"/>
                <a:gd name="connsiteX27" fmla="*/ 169527 w 287641"/>
                <a:gd name="connsiteY27" fmla="*/ 397201 h 471291"/>
                <a:gd name="connsiteX28" fmla="*/ 169020 w 287641"/>
                <a:gd name="connsiteY28" fmla="*/ 404312 h 471291"/>
                <a:gd name="connsiteX29" fmla="*/ 171607 w 287641"/>
                <a:gd name="connsiteY29" fmla="*/ 407008 h 471291"/>
                <a:gd name="connsiteX30" fmla="*/ 170186 w 287641"/>
                <a:gd name="connsiteY30" fmla="*/ 407385 h 471291"/>
                <a:gd name="connsiteX31" fmla="*/ 168886 w 287641"/>
                <a:gd name="connsiteY31" fmla="*/ 408192 h 471291"/>
                <a:gd name="connsiteX32" fmla="*/ 167957 w 287641"/>
                <a:gd name="connsiteY32" fmla="*/ 409384 h 471291"/>
                <a:gd name="connsiteX33" fmla="*/ 167007 w 287641"/>
                <a:gd name="connsiteY33" fmla="*/ 411948 h 471291"/>
                <a:gd name="connsiteX34" fmla="*/ 163438 w 287641"/>
                <a:gd name="connsiteY34" fmla="*/ 413400 h 471291"/>
                <a:gd name="connsiteX35" fmla="*/ 162086 w 287641"/>
                <a:gd name="connsiteY35" fmla="*/ 414474 h 471291"/>
                <a:gd name="connsiteX36" fmla="*/ 160093 w 287641"/>
                <a:gd name="connsiteY36" fmla="*/ 416861 h 471291"/>
                <a:gd name="connsiteX37" fmla="*/ 159054 w 287641"/>
                <a:gd name="connsiteY37" fmla="*/ 420321 h 471291"/>
                <a:gd name="connsiteX38" fmla="*/ 157035 w 287641"/>
                <a:gd name="connsiteY38" fmla="*/ 421795 h 471291"/>
                <a:gd name="connsiteX39" fmla="*/ 154768 w 287641"/>
                <a:gd name="connsiteY39" fmla="*/ 422144 h 471291"/>
                <a:gd name="connsiteX40" fmla="*/ 156098 w 287641"/>
                <a:gd name="connsiteY40" fmla="*/ 419312 h 471291"/>
                <a:gd name="connsiteX41" fmla="*/ 157841 w 287641"/>
                <a:gd name="connsiteY41" fmla="*/ 417002 h 471291"/>
                <a:gd name="connsiteX42" fmla="*/ 156165 w 287641"/>
                <a:gd name="connsiteY42" fmla="*/ 415416 h 471291"/>
                <a:gd name="connsiteX43" fmla="*/ 155156 w 287641"/>
                <a:gd name="connsiteY43" fmla="*/ 412931 h 471291"/>
                <a:gd name="connsiteX44" fmla="*/ 153855 w 287641"/>
                <a:gd name="connsiteY44" fmla="*/ 411024 h 471291"/>
                <a:gd name="connsiteX45" fmla="*/ 154891 w 287641"/>
                <a:gd name="connsiteY45" fmla="*/ 408891 h 471291"/>
                <a:gd name="connsiteX46" fmla="*/ 154381 w 287641"/>
                <a:gd name="connsiteY46" fmla="*/ 405391 h 471291"/>
                <a:gd name="connsiteX47" fmla="*/ 154550 w 287641"/>
                <a:gd name="connsiteY47" fmla="*/ 401970 h 471291"/>
                <a:gd name="connsiteX48" fmla="*/ 156061 w 287641"/>
                <a:gd name="connsiteY48" fmla="*/ 400241 h 471291"/>
                <a:gd name="connsiteX49" fmla="*/ 157793 w 287641"/>
                <a:gd name="connsiteY49" fmla="*/ 398831 h 471291"/>
                <a:gd name="connsiteX50" fmla="*/ 160490 w 287641"/>
                <a:gd name="connsiteY50" fmla="*/ 395583 h 471291"/>
                <a:gd name="connsiteX51" fmla="*/ 163414 w 287641"/>
                <a:gd name="connsiteY51" fmla="*/ 393226 h 471291"/>
                <a:gd name="connsiteX52" fmla="*/ 167493 w 287641"/>
                <a:gd name="connsiteY52" fmla="*/ 392166 h 471291"/>
                <a:gd name="connsiteX53" fmla="*/ 169335 w 287641"/>
                <a:gd name="connsiteY53" fmla="*/ 393143 h 471291"/>
                <a:gd name="connsiteX54" fmla="*/ 170130 w 287641"/>
                <a:gd name="connsiteY54" fmla="*/ 390998 h 471291"/>
                <a:gd name="connsiteX55" fmla="*/ 176625 w 287641"/>
                <a:gd name="connsiteY55" fmla="*/ 388398 h 471291"/>
                <a:gd name="connsiteX56" fmla="*/ 179860 w 287641"/>
                <a:gd name="connsiteY56" fmla="*/ 388520 h 471291"/>
                <a:gd name="connsiteX57" fmla="*/ 180972 w 287641"/>
                <a:gd name="connsiteY57" fmla="*/ 388990 h 471291"/>
                <a:gd name="connsiteX58" fmla="*/ 177100 w 287641"/>
                <a:gd name="connsiteY58" fmla="*/ 390280 h 471291"/>
                <a:gd name="connsiteX59" fmla="*/ 176703 w 287641"/>
                <a:gd name="connsiteY59" fmla="*/ 392277 h 471291"/>
                <a:gd name="connsiteX60" fmla="*/ 175556 w 287641"/>
                <a:gd name="connsiteY60" fmla="*/ 392125 h 471291"/>
                <a:gd name="connsiteX61" fmla="*/ 174511 w 287641"/>
                <a:gd name="connsiteY61" fmla="*/ 390651 h 471291"/>
                <a:gd name="connsiteX62" fmla="*/ 161812 w 287641"/>
                <a:gd name="connsiteY62" fmla="*/ 351984 h 471291"/>
                <a:gd name="connsiteX63" fmla="*/ 162267 w 287641"/>
                <a:gd name="connsiteY63" fmla="*/ 352091 h 471291"/>
                <a:gd name="connsiteX64" fmla="*/ 160734 w 287641"/>
                <a:gd name="connsiteY64" fmla="*/ 354550 h 471291"/>
                <a:gd name="connsiteX65" fmla="*/ 159754 w 287641"/>
                <a:gd name="connsiteY65" fmla="*/ 354860 h 471291"/>
                <a:gd name="connsiteX66" fmla="*/ 159268 w 287641"/>
                <a:gd name="connsiteY66" fmla="*/ 354762 h 471291"/>
                <a:gd name="connsiteX67" fmla="*/ 159873 w 287641"/>
                <a:gd name="connsiteY67" fmla="*/ 353249 h 471291"/>
                <a:gd name="connsiteX68" fmla="*/ 160322 w 287641"/>
                <a:gd name="connsiteY68" fmla="*/ 352596 h 471291"/>
                <a:gd name="connsiteX69" fmla="*/ 165261 w 287641"/>
                <a:gd name="connsiteY69" fmla="*/ 337596 h 471291"/>
                <a:gd name="connsiteX70" fmla="*/ 166975 w 287641"/>
                <a:gd name="connsiteY70" fmla="*/ 338028 h 471291"/>
                <a:gd name="connsiteX71" fmla="*/ 166964 w 287641"/>
                <a:gd name="connsiteY71" fmla="*/ 338356 h 471291"/>
                <a:gd name="connsiteX72" fmla="*/ 165325 w 287641"/>
                <a:gd name="connsiteY72" fmla="*/ 339420 h 471291"/>
                <a:gd name="connsiteX73" fmla="*/ 164697 w 287641"/>
                <a:gd name="connsiteY73" fmla="*/ 340135 h 471291"/>
                <a:gd name="connsiteX74" fmla="*/ 164142 w 287641"/>
                <a:gd name="connsiteY74" fmla="*/ 341220 h 471291"/>
                <a:gd name="connsiteX75" fmla="*/ 163585 w 287641"/>
                <a:gd name="connsiteY75" fmla="*/ 339890 h 471291"/>
                <a:gd name="connsiteX76" fmla="*/ 163807 w 287641"/>
                <a:gd name="connsiteY76" fmla="*/ 339630 h 471291"/>
                <a:gd name="connsiteX77" fmla="*/ 164187 w 287641"/>
                <a:gd name="connsiteY77" fmla="*/ 338316 h 471291"/>
                <a:gd name="connsiteX78" fmla="*/ 209512 w 287641"/>
                <a:gd name="connsiteY78" fmla="*/ 0 h 471291"/>
                <a:gd name="connsiteX79" fmla="*/ 215548 w 287641"/>
                <a:gd name="connsiteY79" fmla="*/ 2210 h 471291"/>
                <a:gd name="connsiteX80" fmla="*/ 215812 w 287641"/>
                <a:gd name="connsiteY80" fmla="*/ 2688 h 471291"/>
                <a:gd name="connsiteX81" fmla="*/ 215855 w 287641"/>
                <a:gd name="connsiteY81" fmla="*/ 3839 h 471291"/>
                <a:gd name="connsiteX82" fmla="*/ 216066 w 287641"/>
                <a:gd name="connsiteY82" fmla="*/ 5031 h 471291"/>
                <a:gd name="connsiteX83" fmla="*/ 221923 w 287641"/>
                <a:gd name="connsiteY83" fmla="*/ 8050 h 471291"/>
                <a:gd name="connsiteX84" fmla="*/ 223611 w 287641"/>
                <a:gd name="connsiteY84" fmla="*/ 9646 h 471291"/>
                <a:gd name="connsiteX85" fmla="*/ 227207 w 287641"/>
                <a:gd name="connsiteY85" fmla="*/ 12069 h 471291"/>
                <a:gd name="connsiteX86" fmla="*/ 228159 w 287641"/>
                <a:gd name="connsiteY86" fmla="*/ 13376 h 471291"/>
                <a:gd name="connsiteX87" fmla="*/ 231489 w 287641"/>
                <a:gd name="connsiteY87" fmla="*/ 14904 h 471291"/>
                <a:gd name="connsiteX88" fmla="*/ 233877 w 287641"/>
                <a:gd name="connsiteY88" fmla="*/ 16536 h 471291"/>
                <a:gd name="connsiteX89" fmla="*/ 236667 w 287641"/>
                <a:gd name="connsiteY89" fmla="*/ 17859 h 471291"/>
                <a:gd name="connsiteX90" fmla="*/ 239923 w 287641"/>
                <a:gd name="connsiteY90" fmla="*/ 19914 h 471291"/>
                <a:gd name="connsiteX91" fmla="*/ 244294 w 287641"/>
                <a:gd name="connsiteY91" fmla="*/ 21549 h 471291"/>
                <a:gd name="connsiteX92" fmla="*/ 247986 w 287641"/>
                <a:gd name="connsiteY92" fmla="*/ 22082 h 471291"/>
                <a:gd name="connsiteX93" fmla="*/ 257280 w 287641"/>
                <a:gd name="connsiteY93" fmla="*/ 24881 h 471291"/>
                <a:gd name="connsiteX94" fmla="*/ 258865 w 287641"/>
                <a:gd name="connsiteY94" fmla="*/ 25787 h 471291"/>
                <a:gd name="connsiteX95" fmla="*/ 261547 w 287641"/>
                <a:gd name="connsiteY95" fmla="*/ 27732 h 471291"/>
                <a:gd name="connsiteX96" fmla="*/ 264255 w 287641"/>
                <a:gd name="connsiteY96" fmla="*/ 29982 h 471291"/>
                <a:gd name="connsiteX97" fmla="*/ 266127 w 287641"/>
                <a:gd name="connsiteY97" fmla="*/ 34594 h 471291"/>
                <a:gd name="connsiteX98" fmla="*/ 269136 w 287641"/>
                <a:gd name="connsiteY98" fmla="*/ 34834 h 471291"/>
                <a:gd name="connsiteX99" fmla="*/ 269952 w 287641"/>
                <a:gd name="connsiteY99" fmla="*/ 36419 h 471291"/>
                <a:gd name="connsiteX100" fmla="*/ 272578 w 287641"/>
                <a:gd name="connsiteY100" fmla="*/ 39132 h 471291"/>
                <a:gd name="connsiteX101" fmla="*/ 276218 w 287641"/>
                <a:gd name="connsiteY101" fmla="*/ 41522 h 471291"/>
                <a:gd name="connsiteX102" fmla="*/ 276087 w 287641"/>
                <a:gd name="connsiteY102" fmla="*/ 42326 h 471291"/>
                <a:gd name="connsiteX103" fmla="*/ 273189 w 287641"/>
                <a:gd name="connsiteY103" fmla="*/ 44525 h 471291"/>
                <a:gd name="connsiteX104" fmla="*/ 272878 w 287641"/>
                <a:gd name="connsiteY104" fmla="*/ 47502 h 471291"/>
                <a:gd name="connsiteX105" fmla="*/ 273152 w 287641"/>
                <a:gd name="connsiteY105" fmla="*/ 51297 h 471291"/>
                <a:gd name="connsiteX106" fmla="*/ 274061 w 287641"/>
                <a:gd name="connsiteY106" fmla="*/ 54386 h 471291"/>
                <a:gd name="connsiteX107" fmla="*/ 273966 w 287641"/>
                <a:gd name="connsiteY107" fmla="*/ 55288 h 471291"/>
                <a:gd name="connsiteX108" fmla="*/ 273247 w 287641"/>
                <a:gd name="connsiteY108" fmla="*/ 56351 h 471291"/>
                <a:gd name="connsiteX109" fmla="*/ 272383 w 287641"/>
                <a:gd name="connsiteY109" fmla="*/ 58019 h 471291"/>
                <a:gd name="connsiteX110" fmla="*/ 272075 w 287641"/>
                <a:gd name="connsiteY110" fmla="*/ 59473 h 471291"/>
                <a:gd name="connsiteX111" fmla="*/ 272150 w 287641"/>
                <a:gd name="connsiteY111" fmla="*/ 60186 h 471291"/>
                <a:gd name="connsiteX112" fmla="*/ 272442 w 287641"/>
                <a:gd name="connsiteY112" fmla="*/ 60573 h 471291"/>
                <a:gd name="connsiteX113" fmla="*/ 273968 w 287641"/>
                <a:gd name="connsiteY113" fmla="*/ 60602 h 471291"/>
                <a:gd name="connsiteX114" fmla="*/ 276704 w 287641"/>
                <a:gd name="connsiteY114" fmla="*/ 60945 h 471291"/>
                <a:gd name="connsiteX115" fmla="*/ 278313 w 287641"/>
                <a:gd name="connsiteY115" fmla="*/ 61590 h 471291"/>
                <a:gd name="connsiteX116" fmla="*/ 279226 w 287641"/>
                <a:gd name="connsiteY116" fmla="*/ 65128 h 471291"/>
                <a:gd name="connsiteX117" fmla="*/ 278918 w 287641"/>
                <a:gd name="connsiteY117" fmla="*/ 65807 h 471291"/>
                <a:gd name="connsiteX118" fmla="*/ 276611 w 287641"/>
                <a:gd name="connsiteY118" fmla="*/ 67406 h 471291"/>
                <a:gd name="connsiteX119" fmla="*/ 275935 w 287641"/>
                <a:gd name="connsiteY119" fmla="*/ 68675 h 471291"/>
                <a:gd name="connsiteX120" fmla="*/ 275869 w 287641"/>
                <a:gd name="connsiteY120" fmla="*/ 70538 h 471291"/>
                <a:gd name="connsiteX121" fmla="*/ 276277 w 287641"/>
                <a:gd name="connsiteY121" fmla="*/ 72584 h 471291"/>
                <a:gd name="connsiteX122" fmla="*/ 277069 w 287641"/>
                <a:gd name="connsiteY122" fmla="*/ 74871 h 471291"/>
                <a:gd name="connsiteX123" fmla="*/ 278874 w 287641"/>
                <a:gd name="connsiteY123" fmla="*/ 77315 h 471291"/>
                <a:gd name="connsiteX124" fmla="*/ 281314 w 287641"/>
                <a:gd name="connsiteY124" fmla="*/ 79867 h 471291"/>
                <a:gd name="connsiteX125" fmla="*/ 282917 w 287641"/>
                <a:gd name="connsiteY125" fmla="*/ 81958 h 471291"/>
                <a:gd name="connsiteX126" fmla="*/ 283675 w 287641"/>
                <a:gd name="connsiteY126" fmla="*/ 83430 h 471291"/>
                <a:gd name="connsiteX127" fmla="*/ 283951 w 287641"/>
                <a:gd name="connsiteY127" fmla="*/ 84458 h 471291"/>
                <a:gd name="connsiteX128" fmla="*/ 282852 w 287641"/>
                <a:gd name="connsiteY128" fmla="*/ 85750 h 471291"/>
                <a:gd name="connsiteX129" fmla="*/ 281863 w 287641"/>
                <a:gd name="connsiteY129" fmla="*/ 88303 h 471291"/>
                <a:gd name="connsiteX130" fmla="*/ 281679 w 287641"/>
                <a:gd name="connsiteY130" fmla="*/ 91223 h 471291"/>
                <a:gd name="connsiteX131" fmla="*/ 281230 w 287641"/>
                <a:gd name="connsiteY131" fmla="*/ 93125 h 471291"/>
                <a:gd name="connsiteX132" fmla="*/ 279081 w 287641"/>
                <a:gd name="connsiteY132" fmla="*/ 95739 h 471291"/>
                <a:gd name="connsiteX133" fmla="*/ 277596 w 287641"/>
                <a:gd name="connsiteY133" fmla="*/ 96665 h 471291"/>
                <a:gd name="connsiteX134" fmla="*/ 277173 w 287641"/>
                <a:gd name="connsiteY134" fmla="*/ 98043 h 471291"/>
                <a:gd name="connsiteX135" fmla="*/ 276991 w 287641"/>
                <a:gd name="connsiteY135" fmla="*/ 100353 h 471291"/>
                <a:gd name="connsiteX136" fmla="*/ 277427 w 287641"/>
                <a:gd name="connsiteY136" fmla="*/ 103166 h 471291"/>
                <a:gd name="connsiteX137" fmla="*/ 277577 w 287641"/>
                <a:gd name="connsiteY137" fmla="*/ 105065 h 471291"/>
                <a:gd name="connsiteX138" fmla="*/ 278034 w 287641"/>
                <a:gd name="connsiteY138" fmla="*/ 106431 h 471291"/>
                <a:gd name="connsiteX139" fmla="*/ 278708 w 287641"/>
                <a:gd name="connsiteY139" fmla="*/ 107322 h 471291"/>
                <a:gd name="connsiteX140" fmla="*/ 282155 w 287641"/>
                <a:gd name="connsiteY140" fmla="*/ 108897 h 471291"/>
                <a:gd name="connsiteX141" fmla="*/ 284085 w 287641"/>
                <a:gd name="connsiteY141" fmla="*/ 112118 h 471291"/>
                <a:gd name="connsiteX142" fmla="*/ 285288 w 287641"/>
                <a:gd name="connsiteY142" fmla="*/ 114698 h 471291"/>
                <a:gd name="connsiteX143" fmla="*/ 287641 w 287641"/>
                <a:gd name="connsiteY143" fmla="*/ 121435 h 471291"/>
                <a:gd name="connsiteX144" fmla="*/ 281783 w 287641"/>
                <a:gd name="connsiteY144" fmla="*/ 122275 h 471291"/>
                <a:gd name="connsiteX145" fmla="*/ 277380 w 287641"/>
                <a:gd name="connsiteY145" fmla="*/ 120588 h 471291"/>
                <a:gd name="connsiteX146" fmla="*/ 275184 w 287641"/>
                <a:gd name="connsiteY146" fmla="*/ 121433 h 471291"/>
                <a:gd name="connsiteX147" fmla="*/ 271342 w 287641"/>
                <a:gd name="connsiteY147" fmla="*/ 121469 h 471291"/>
                <a:gd name="connsiteX148" fmla="*/ 266980 w 287641"/>
                <a:gd name="connsiteY148" fmla="*/ 122133 h 471291"/>
                <a:gd name="connsiteX149" fmla="*/ 265510 w 287641"/>
                <a:gd name="connsiteY149" fmla="*/ 123452 h 471291"/>
                <a:gd name="connsiteX150" fmla="*/ 264354 w 287641"/>
                <a:gd name="connsiteY150" fmla="*/ 123982 h 471291"/>
                <a:gd name="connsiteX151" fmla="*/ 260308 w 287641"/>
                <a:gd name="connsiteY151" fmla="*/ 122120 h 471291"/>
                <a:gd name="connsiteX152" fmla="*/ 256488 w 287641"/>
                <a:gd name="connsiteY152" fmla="*/ 119040 h 471291"/>
                <a:gd name="connsiteX153" fmla="*/ 253696 w 287641"/>
                <a:gd name="connsiteY153" fmla="*/ 121389 h 471291"/>
                <a:gd name="connsiteX154" fmla="*/ 251889 w 287641"/>
                <a:gd name="connsiteY154" fmla="*/ 121834 h 471291"/>
                <a:gd name="connsiteX155" fmla="*/ 250265 w 287641"/>
                <a:gd name="connsiteY155" fmla="*/ 119708 h 471291"/>
                <a:gd name="connsiteX156" fmla="*/ 248846 w 287641"/>
                <a:gd name="connsiteY156" fmla="*/ 119363 h 471291"/>
                <a:gd name="connsiteX157" fmla="*/ 248079 w 287641"/>
                <a:gd name="connsiteY157" fmla="*/ 120072 h 471291"/>
                <a:gd name="connsiteX158" fmla="*/ 247408 w 287641"/>
                <a:gd name="connsiteY158" fmla="*/ 121949 h 471291"/>
                <a:gd name="connsiteX159" fmla="*/ 246339 w 287641"/>
                <a:gd name="connsiteY159" fmla="*/ 123425 h 471291"/>
                <a:gd name="connsiteX160" fmla="*/ 246060 w 287641"/>
                <a:gd name="connsiteY160" fmla="*/ 124359 h 471291"/>
                <a:gd name="connsiteX161" fmla="*/ 245875 w 287641"/>
                <a:gd name="connsiteY161" fmla="*/ 128120 h 471291"/>
                <a:gd name="connsiteX162" fmla="*/ 245596 w 287641"/>
                <a:gd name="connsiteY162" fmla="*/ 128991 h 471291"/>
                <a:gd name="connsiteX163" fmla="*/ 241886 w 287641"/>
                <a:gd name="connsiteY163" fmla="*/ 128505 h 471291"/>
                <a:gd name="connsiteX164" fmla="*/ 242109 w 287641"/>
                <a:gd name="connsiteY164" fmla="*/ 129491 h 471291"/>
                <a:gd name="connsiteX165" fmla="*/ 242916 w 287641"/>
                <a:gd name="connsiteY165" fmla="*/ 129987 h 471291"/>
                <a:gd name="connsiteX166" fmla="*/ 243242 w 287641"/>
                <a:gd name="connsiteY166" fmla="*/ 130612 h 471291"/>
                <a:gd name="connsiteX167" fmla="*/ 241897 w 287641"/>
                <a:gd name="connsiteY167" fmla="*/ 131433 h 471291"/>
                <a:gd name="connsiteX168" fmla="*/ 238213 w 287641"/>
                <a:gd name="connsiteY168" fmla="*/ 131356 h 471291"/>
                <a:gd name="connsiteX169" fmla="*/ 237837 w 287641"/>
                <a:gd name="connsiteY169" fmla="*/ 132227 h 471291"/>
                <a:gd name="connsiteX170" fmla="*/ 238874 w 287641"/>
                <a:gd name="connsiteY170" fmla="*/ 133603 h 471291"/>
                <a:gd name="connsiteX171" fmla="*/ 238066 w 287641"/>
                <a:gd name="connsiteY171" fmla="*/ 134807 h 471291"/>
                <a:gd name="connsiteX172" fmla="*/ 237317 w 287641"/>
                <a:gd name="connsiteY172" fmla="*/ 135281 h 471291"/>
                <a:gd name="connsiteX173" fmla="*/ 232918 w 287641"/>
                <a:gd name="connsiteY173" fmla="*/ 136028 h 471291"/>
                <a:gd name="connsiteX174" fmla="*/ 230372 w 287641"/>
                <a:gd name="connsiteY174" fmla="*/ 135857 h 471291"/>
                <a:gd name="connsiteX175" fmla="*/ 229645 w 287641"/>
                <a:gd name="connsiteY175" fmla="*/ 136636 h 471291"/>
                <a:gd name="connsiteX176" fmla="*/ 229441 w 287641"/>
                <a:gd name="connsiteY176" fmla="*/ 137647 h 471291"/>
                <a:gd name="connsiteX177" fmla="*/ 229923 w 287641"/>
                <a:gd name="connsiteY177" fmla="*/ 138639 h 471291"/>
                <a:gd name="connsiteX178" fmla="*/ 231046 w 287641"/>
                <a:gd name="connsiteY178" fmla="*/ 139167 h 471291"/>
                <a:gd name="connsiteX179" fmla="*/ 231415 w 287641"/>
                <a:gd name="connsiteY179" fmla="*/ 139796 h 471291"/>
                <a:gd name="connsiteX180" fmla="*/ 231338 w 287641"/>
                <a:gd name="connsiteY180" fmla="*/ 141158 h 471291"/>
                <a:gd name="connsiteX181" fmla="*/ 230403 w 287641"/>
                <a:gd name="connsiteY181" fmla="*/ 141405 h 471291"/>
                <a:gd name="connsiteX182" fmla="*/ 227749 w 287641"/>
                <a:gd name="connsiteY182" fmla="*/ 139012 h 471291"/>
                <a:gd name="connsiteX183" fmla="*/ 226941 w 287641"/>
                <a:gd name="connsiteY183" fmla="*/ 139135 h 471291"/>
                <a:gd name="connsiteX184" fmla="*/ 227548 w 287641"/>
                <a:gd name="connsiteY184" fmla="*/ 140380 h 471291"/>
                <a:gd name="connsiteX185" fmla="*/ 229064 w 287641"/>
                <a:gd name="connsiteY185" fmla="*/ 141736 h 471291"/>
                <a:gd name="connsiteX186" fmla="*/ 229940 w 287641"/>
                <a:gd name="connsiteY186" fmla="*/ 143120 h 471291"/>
                <a:gd name="connsiteX187" fmla="*/ 230707 w 287641"/>
                <a:gd name="connsiteY187" fmla="*/ 144785 h 471291"/>
                <a:gd name="connsiteX188" fmla="*/ 230558 w 287641"/>
                <a:gd name="connsiteY188" fmla="*/ 146046 h 471291"/>
                <a:gd name="connsiteX189" fmla="*/ 227263 w 287641"/>
                <a:gd name="connsiteY189" fmla="*/ 150112 h 471291"/>
                <a:gd name="connsiteX190" fmla="*/ 224363 w 287641"/>
                <a:gd name="connsiteY190" fmla="*/ 152677 h 471291"/>
                <a:gd name="connsiteX191" fmla="*/ 222199 w 287641"/>
                <a:gd name="connsiteY191" fmla="*/ 154984 h 471291"/>
                <a:gd name="connsiteX192" fmla="*/ 220923 w 287641"/>
                <a:gd name="connsiteY192" fmla="*/ 157427 h 471291"/>
                <a:gd name="connsiteX193" fmla="*/ 222400 w 287641"/>
                <a:gd name="connsiteY193" fmla="*/ 158658 h 471291"/>
                <a:gd name="connsiteX194" fmla="*/ 224043 w 287641"/>
                <a:gd name="connsiteY194" fmla="*/ 160431 h 471291"/>
                <a:gd name="connsiteX195" fmla="*/ 225198 w 287641"/>
                <a:gd name="connsiteY195" fmla="*/ 163837 h 471291"/>
                <a:gd name="connsiteX196" fmla="*/ 226576 w 287641"/>
                <a:gd name="connsiteY196" fmla="*/ 166868 h 471291"/>
                <a:gd name="connsiteX197" fmla="*/ 229357 w 287641"/>
                <a:gd name="connsiteY197" fmla="*/ 169760 h 471291"/>
                <a:gd name="connsiteX198" fmla="*/ 228798 w 287641"/>
                <a:gd name="connsiteY198" fmla="*/ 171430 h 471291"/>
                <a:gd name="connsiteX199" fmla="*/ 228150 w 287641"/>
                <a:gd name="connsiteY199" fmla="*/ 172728 h 471291"/>
                <a:gd name="connsiteX200" fmla="*/ 223523 w 287641"/>
                <a:gd name="connsiteY200" fmla="*/ 175583 h 471291"/>
                <a:gd name="connsiteX201" fmla="*/ 218276 w 287641"/>
                <a:gd name="connsiteY201" fmla="*/ 179878 h 471291"/>
                <a:gd name="connsiteX202" fmla="*/ 212620 w 287641"/>
                <a:gd name="connsiteY202" fmla="*/ 190827 h 471291"/>
                <a:gd name="connsiteX203" fmla="*/ 210739 w 287641"/>
                <a:gd name="connsiteY203" fmla="*/ 192290 h 471291"/>
                <a:gd name="connsiteX204" fmla="*/ 205788 w 287641"/>
                <a:gd name="connsiteY204" fmla="*/ 194137 h 471291"/>
                <a:gd name="connsiteX205" fmla="*/ 203967 w 287641"/>
                <a:gd name="connsiteY205" fmla="*/ 195923 h 471291"/>
                <a:gd name="connsiteX206" fmla="*/ 200281 w 287641"/>
                <a:gd name="connsiteY206" fmla="*/ 198045 h 471291"/>
                <a:gd name="connsiteX207" fmla="*/ 193846 w 287641"/>
                <a:gd name="connsiteY207" fmla="*/ 199865 h 471291"/>
                <a:gd name="connsiteX208" fmla="*/ 190927 w 287641"/>
                <a:gd name="connsiteY208" fmla="*/ 202400 h 471291"/>
                <a:gd name="connsiteX209" fmla="*/ 189609 w 287641"/>
                <a:gd name="connsiteY209" fmla="*/ 205019 h 471291"/>
                <a:gd name="connsiteX210" fmla="*/ 188143 w 287641"/>
                <a:gd name="connsiteY210" fmla="*/ 205205 h 471291"/>
                <a:gd name="connsiteX211" fmla="*/ 186690 w 287641"/>
                <a:gd name="connsiteY211" fmla="*/ 204182 h 471291"/>
                <a:gd name="connsiteX212" fmla="*/ 184751 w 287641"/>
                <a:gd name="connsiteY212" fmla="*/ 203420 h 471291"/>
                <a:gd name="connsiteX213" fmla="*/ 184498 w 287641"/>
                <a:gd name="connsiteY213" fmla="*/ 205128 h 471291"/>
                <a:gd name="connsiteX214" fmla="*/ 184580 w 287641"/>
                <a:gd name="connsiteY214" fmla="*/ 206381 h 471291"/>
                <a:gd name="connsiteX215" fmla="*/ 181477 w 287641"/>
                <a:gd name="connsiteY215" fmla="*/ 204524 h 471291"/>
                <a:gd name="connsiteX216" fmla="*/ 180013 w 287641"/>
                <a:gd name="connsiteY216" fmla="*/ 206227 h 471291"/>
                <a:gd name="connsiteX217" fmla="*/ 178869 w 287641"/>
                <a:gd name="connsiteY217" fmla="*/ 209070 h 471291"/>
                <a:gd name="connsiteX218" fmla="*/ 174403 w 287641"/>
                <a:gd name="connsiteY218" fmla="*/ 212891 h 471291"/>
                <a:gd name="connsiteX219" fmla="*/ 169590 w 287641"/>
                <a:gd name="connsiteY219" fmla="*/ 212204 h 471291"/>
                <a:gd name="connsiteX220" fmla="*/ 169050 w 287641"/>
                <a:gd name="connsiteY220" fmla="*/ 212878 h 471291"/>
                <a:gd name="connsiteX221" fmla="*/ 170331 w 287641"/>
                <a:gd name="connsiteY221" fmla="*/ 213366 h 471291"/>
                <a:gd name="connsiteX222" fmla="*/ 170525 w 287641"/>
                <a:gd name="connsiteY222" fmla="*/ 213976 h 471291"/>
                <a:gd name="connsiteX223" fmla="*/ 169651 w 287641"/>
                <a:gd name="connsiteY223" fmla="*/ 214301 h 471291"/>
                <a:gd name="connsiteX224" fmla="*/ 168327 w 287641"/>
                <a:gd name="connsiteY224" fmla="*/ 214267 h 471291"/>
                <a:gd name="connsiteX225" fmla="*/ 166284 w 287641"/>
                <a:gd name="connsiteY225" fmla="*/ 215021 h 471291"/>
                <a:gd name="connsiteX226" fmla="*/ 164941 w 287641"/>
                <a:gd name="connsiteY226" fmla="*/ 214962 h 471291"/>
                <a:gd name="connsiteX227" fmla="*/ 164304 w 287641"/>
                <a:gd name="connsiteY227" fmla="*/ 216765 h 471291"/>
                <a:gd name="connsiteX228" fmla="*/ 163265 w 287641"/>
                <a:gd name="connsiteY228" fmla="*/ 218950 h 471291"/>
                <a:gd name="connsiteX229" fmla="*/ 160546 w 287641"/>
                <a:gd name="connsiteY229" fmla="*/ 219854 h 471291"/>
                <a:gd name="connsiteX230" fmla="*/ 159143 w 287641"/>
                <a:gd name="connsiteY230" fmla="*/ 220040 h 471291"/>
                <a:gd name="connsiteX231" fmla="*/ 158450 w 287641"/>
                <a:gd name="connsiteY231" fmla="*/ 221281 h 471291"/>
                <a:gd name="connsiteX232" fmla="*/ 162632 w 287641"/>
                <a:gd name="connsiteY232" fmla="*/ 221541 h 471291"/>
                <a:gd name="connsiteX233" fmla="*/ 162298 w 287641"/>
                <a:gd name="connsiteY233" fmla="*/ 222591 h 471291"/>
                <a:gd name="connsiteX234" fmla="*/ 162203 w 287641"/>
                <a:gd name="connsiteY234" fmla="*/ 223640 h 471291"/>
                <a:gd name="connsiteX235" fmla="*/ 161771 w 287641"/>
                <a:gd name="connsiteY235" fmla="*/ 224765 h 471291"/>
                <a:gd name="connsiteX236" fmla="*/ 157016 w 287641"/>
                <a:gd name="connsiteY236" fmla="*/ 226384 h 471291"/>
                <a:gd name="connsiteX237" fmla="*/ 156284 w 287641"/>
                <a:gd name="connsiteY237" fmla="*/ 227659 h 471291"/>
                <a:gd name="connsiteX238" fmla="*/ 155291 w 287641"/>
                <a:gd name="connsiteY238" fmla="*/ 228449 h 471291"/>
                <a:gd name="connsiteX239" fmla="*/ 153176 w 287641"/>
                <a:gd name="connsiteY239" fmla="*/ 228404 h 471291"/>
                <a:gd name="connsiteX240" fmla="*/ 153254 w 287641"/>
                <a:gd name="connsiteY240" fmla="*/ 227668 h 471291"/>
                <a:gd name="connsiteX241" fmla="*/ 153600 w 287641"/>
                <a:gd name="connsiteY241" fmla="*/ 226835 h 471291"/>
                <a:gd name="connsiteX242" fmla="*/ 150449 w 287641"/>
                <a:gd name="connsiteY242" fmla="*/ 226910 h 471291"/>
                <a:gd name="connsiteX243" fmla="*/ 149467 w 287641"/>
                <a:gd name="connsiteY243" fmla="*/ 225080 h 471291"/>
                <a:gd name="connsiteX244" fmla="*/ 148869 w 287641"/>
                <a:gd name="connsiteY244" fmla="*/ 225549 h 471291"/>
                <a:gd name="connsiteX245" fmla="*/ 149223 w 287641"/>
                <a:gd name="connsiteY245" fmla="*/ 227026 h 471291"/>
                <a:gd name="connsiteX246" fmla="*/ 150048 w 287641"/>
                <a:gd name="connsiteY246" fmla="*/ 228561 h 471291"/>
                <a:gd name="connsiteX247" fmla="*/ 150965 w 287641"/>
                <a:gd name="connsiteY247" fmla="*/ 230809 h 471291"/>
                <a:gd name="connsiteX248" fmla="*/ 150220 w 287641"/>
                <a:gd name="connsiteY248" fmla="*/ 232230 h 471291"/>
                <a:gd name="connsiteX249" fmla="*/ 149387 w 287641"/>
                <a:gd name="connsiteY249" fmla="*/ 232934 h 471291"/>
                <a:gd name="connsiteX250" fmla="*/ 149994 w 287641"/>
                <a:gd name="connsiteY250" fmla="*/ 233584 h 471291"/>
                <a:gd name="connsiteX251" fmla="*/ 151676 w 287641"/>
                <a:gd name="connsiteY251" fmla="*/ 234079 h 471291"/>
                <a:gd name="connsiteX252" fmla="*/ 152356 w 287641"/>
                <a:gd name="connsiteY252" fmla="*/ 234966 h 471291"/>
                <a:gd name="connsiteX253" fmla="*/ 150361 w 287641"/>
                <a:gd name="connsiteY253" fmla="*/ 235726 h 471291"/>
                <a:gd name="connsiteX254" fmla="*/ 147871 w 287641"/>
                <a:gd name="connsiteY254" fmla="*/ 238333 h 471291"/>
                <a:gd name="connsiteX255" fmla="*/ 145290 w 287641"/>
                <a:gd name="connsiteY255" fmla="*/ 238397 h 471291"/>
                <a:gd name="connsiteX256" fmla="*/ 143712 w 287641"/>
                <a:gd name="connsiteY256" fmla="*/ 240117 h 471291"/>
                <a:gd name="connsiteX257" fmla="*/ 142036 w 287641"/>
                <a:gd name="connsiteY257" fmla="*/ 240111 h 471291"/>
                <a:gd name="connsiteX258" fmla="*/ 140674 w 287641"/>
                <a:gd name="connsiteY258" fmla="*/ 239028 h 471291"/>
                <a:gd name="connsiteX259" fmla="*/ 138490 w 287641"/>
                <a:gd name="connsiteY259" fmla="*/ 238138 h 471291"/>
                <a:gd name="connsiteX260" fmla="*/ 137787 w 287641"/>
                <a:gd name="connsiteY260" fmla="*/ 239707 h 471291"/>
                <a:gd name="connsiteX261" fmla="*/ 137674 w 287641"/>
                <a:gd name="connsiteY261" fmla="*/ 240954 h 471291"/>
                <a:gd name="connsiteX262" fmla="*/ 138905 w 287641"/>
                <a:gd name="connsiteY262" fmla="*/ 244105 h 471291"/>
                <a:gd name="connsiteX263" fmla="*/ 141255 w 287641"/>
                <a:gd name="connsiteY263" fmla="*/ 246541 h 471291"/>
                <a:gd name="connsiteX264" fmla="*/ 143431 w 287641"/>
                <a:gd name="connsiteY264" fmla="*/ 247592 h 471291"/>
                <a:gd name="connsiteX265" fmla="*/ 141865 w 287641"/>
                <a:gd name="connsiteY265" fmla="*/ 248301 h 471291"/>
                <a:gd name="connsiteX266" fmla="*/ 140700 w 287641"/>
                <a:gd name="connsiteY266" fmla="*/ 249875 h 471291"/>
                <a:gd name="connsiteX267" fmla="*/ 139294 w 287641"/>
                <a:gd name="connsiteY267" fmla="*/ 254783 h 471291"/>
                <a:gd name="connsiteX268" fmla="*/ 138529 w 287641"/>
                <a:gd name="connsiteY268" fmla="*/ 256712 h 471291"/>
                <a:gd name="connsiteX269" fmla="*/ 137700 w 287641"/>
                <a:gd name="connsiteY269" fmla="*/ 260113 h 471291"/>
                <a:gd name="connsiteX270" fmla="*/ 138225 w 287641"/>
                <a:gd name="connsiteY270" fmla="*/ 262978 h 471291"/>
                <a:gd name="connsiteX271" fmla="*/ 138646 w 287641"/>
                <a:gd name="connsiteY271" fmla="*/ 264385 h 471291"/>
                <a:gd name="connsiteX272" fmla="*/ 139711 w 287641"/>
                <a:gd name="connsiteY272" fmla="*/ 266294 h 471291"/>
                <a:gd name="connsiteX273" fmla="*/ 136817 w 287641"/>
                <a:gd name="connsiteY273" fmla="*/ 266048 h 471291"/>
                <a:gd name="connsiteX274" fmla="*/ 133761 w 287641"/>
                <a:gd name="connsiteY274" fmla="*/ 264933 h 471291"/>
                <a:gd name="connsiteX275" fmla="*/ 134187 w 287641"/>
                <a:gd name="connsiteY275" fmla="*/ 267248 h 471291"/>
                <a:gd name="connsiteX276" fmla="*/ 132310 w 287641"/>
                <a:gd name="connsiteY276" fmla="*/ 269981 h 471291"/>
                <a:gd name="connsiteX277" fmla="*/ 132660 w 287641"/>
                <a:gd name="connsiteY277" fmla="*/ 272389 h 471291"/>
                <a:gd name="connsiteX278" fmla="*/ 133051 w 287641"/>
                <a:gd name="connsiteY278" fmla="*/ 273956 h 471291"/>
                <a:gd name="connsiteX279" fmla="*/ 132470 w 287641"/>
                <a:gd name="connsiteY279" fmla="*/ 276546 h 471291"/>
                <a:gd name="connsiteX280" fmla="*/ 133353 w 287641"/>
                <a:gd name="connsiteY280" fmla="*/ 277359 h 471291"/>
                <a:gd name="connsiteX281" fmla="*/ 133833 w 287641"/>
                <a:gd name="connsiteY281" fmla="*/ 278899 h 471291"/>
                <a:gd name="connsiteX282" fmla="*/ 133042 w 287641"/>
                <a:gd name="connsiteY282" fmla="*/ 280036 h 471291"/>
                <a:gd name="connsiteX283" fmla="*/ 133394 w 287641"/>
                <a:gd name="connsiteY283" fmla="*/ 281014 h 471291"/>
                <a:gd name="connsiteX284" fmla="*/ 133526 w 287641"/>
                <a:gd name="connsiteY284" fmla="*/ 284473 h 471291"/>
                <a:gd name="connsiteX285" fmla="*/ 134126 w 287641"/>
                <a:gd name="connsiteY285" fmla="*/ 289873 h 471291"/>
                <a:gd name="connsiteX286" fmla="*/ 133906 w 287641"/>
                <a:gd name="connsiteY286" fmla="*/ 291014 h 471291"/>
                <a:gd name="connsiteX287" fmla="*/ 135586 w 287641"/>
                <a:gd name="connsiteY287" fmla="*/ 295695 h 471291"/>
                <a:gd name="connsiteX288" fmla="*/ 135195 w 287641"/>
                <a:gd name="connsiteY288" fmla="*/ 297333 h 471291"/>
                <a:gd name="connsiteX289" fmla="*/ 134969 w 287641"/>
                <a:gd name="connsiteY289" fmla="*/ 299419 h 471291"/>
                <a:gd name="connsiteX290" fmla="*/ 137376 w 287641"/>
                <a:gd name="connsiteY290" fmla="*/ 301421 h 471291"/>
                <a:gd name="connsiteX291" fmla="*/ 139525 w 287641"/>
                <a:gd name="connsiteY291" fmla="*/ 301389 h 471291"/>
                <a:gd name="connsiteX292" fmla="*/ 141702 w 287641"/>
                <a:gd name="connsiteY292" fmla="*/ 301358 h 471291"/>
                <a:gd name="connsiteX293" fmla="*/ 142533 w 287641"/>
                <a:gd name="connsiteY293" fmla="*/ 301860 h 471291"/>
                <a:gd name="connsiteX294" fmla="*/ 143367 w 287641"/>
                <a:gd name="connsiteY294" fmla="*/ 303275 h 471291"/>
                <a:gd name="connsiteX295" fmla="*/ 144038 w 287641"/>
                <a:gd name="connsiteY295" fmla="*/ 304945 h 471291"/>
                <a:gd name="connsiteX296" fmla="*/ 145830 w 287641"/>
                <a:gd name="connsiteY296" fmla="*/ 304807 h 471291"/>
                <a:gd name="connsiteX297" fmla="*/ 148691 w 287641"/>
                <a:gd name="connsiteY297" fmla="*/ 303448 h 471291"/>
                <a:gd name="connsiteX298" fmla="*/ 150553 w 287641"/>
                <a:gd name="connsiteY298" fmla="*/ 303124 h 471291"/>
                <a:gd name="connsiteX299" fmla="*/ 151782 w 287641"/>
                <a:gd name="connsiteY299" fmla="*/ 305736 h 471291"/>
                <a:gd name="connsiteX300" fmla="*/ 155124 w 287641"/>
                <a:gd name="connsiteY300" fmla="*/ 309182 h 471291"/>
                <a:gd name="connsiteX301" fmla="*/ 157070 w 287641"/>
                <a:gd name="connsiteY301" fmla="*/ 310724 h 471291"/>
                <a:gd name="connsiteX302" fmla="*/ 160376 w 287641"/>
                <a:gd name="connsiteY302" fmla="*/ 311535 h 471291"/>
                <a:gd name="connsiteX303" fmla="*/ 163859 w 287641"/>
                <a:gd name="connsiteY303" fmla="*/ 314308 h 471291"/>
                <a:gd name="connsiteX304" fmla="*/ 163371 w 287641"/>
                <a:gd name="connsiteY304" fmla="*/ 317646 h 471291"/>
                <a:gd name="connsiteX305" fmla="*/ 164824 w 287641"/>
                <a:gd name="connsiteY305" fmla="*/ 318760 h 471291"/>
                <a:gd name="connsiteX306" fmla="*/ 168934 w 287641"/>
                <a:gd name="connsiteY306" fmla="*/ 320076 h 471291"/>
                <a:gd name="connsiteX307" fmla="*/ 170387 w 287641"/>
                <a:gd name="connsiteY307" fmla="*/ 321849 h 471291"/>
                <a:gd name="connsiteX308" fmla="*/ 171084 w 287641"/>
                <a:gd name="connsiteY308" fmla="*/ 323359 h 471291"/>
                <a:gd name="connsiteX309" fmla="*/ 172166 w 287641"/>
                <a:gd name="connsiteY309" fmla="*/ 324611 h 471291"/>
                <a:gd name="connsiteX310" fmla="*/ 173431 w 287641"/>
                <a:gd name="connsiteY310" fmla="*/ 328388 h 471291"/>
                <a:gd name="connsiteX311" fmla="*/ 172991 w 287641"/>
                <a:gd name="connsiteY311" fmla="*/ 330712 h 471291"/>
                <a:gd name="connsiteX312" fmla="*/ 171335 w 287641"/>
                <a:gd name="connsiteY312" fmla="*/ 331510 h 471291"/>
                <a:gd name="connsiteX313" fmla="*/ 167424 w 287641"/>
                <a:gd name="connsiteY313" fmla="*/ 333997 h 471291"/>
                <a:gd name="connsiteX314" fmla="*/ 165681 w 287641"/>
                <a:gd name="connsiteY314" fmla="*/ 335851 h 471291"/>
                <a:gd name="connsiteX315" fmla="*/ 164314 w 287641"/>
                <a:gd name="connsiteY315" fmla="*/ 337006 h 471291"/>
                <a:gd name="connsiteX316" fmla="*/ 160430 w 287641"/>
                <a:gd name="connsiteY316" fmla="*/ 339479 h 471291"/>
                <a:gd name="connsiteX317" fmla="*/ 159007 w 287641"/>
                <a:gd name="connsiteY317" fmla="*/ 339923 h 471291"/>
                <a:gd name="connsiteX318" fmla="*/ 157644 w 287641"/>
                <a:gd name="connsiteY318" fmla="*/ 341207 h 471291"/>
                <a:gd name="connsiteX319" fmla="*/ 156327 w 287641"/>
                <a:gd name="connsiteY319" fmla="*/ 341769 h 471291"/>
                <a:gd name="connsiteX320" fmla="*/ 155148 w 287641"/>
                <a:gd name="connsiteY320" fmla="*/ 341446 h 471291"/>
                <a:gd name="connsiteX321" fmla="*/ 150740 w 287641"/>
                <a:gd name="connsiteY321" fmla="*/ 343770 h 471291"/>
                <a:gd name="connsiteX322" fmla="*/ 151084 w 287641"/>
                <a:gd name="connsiteY322" fmla="*/ 344762 h 471291"/>
                <a:gd name="connsiteX323" fmla="*/ 154464 w 287641"/>
                <a:gd name="connsiteY323" fmla="*/ 345182 h 471291"/>
                <a:gd name="connsiteX324" fmla="*/ 156187 w 287641"/>
                <a:gd name="connsiteY324" fmla="*/ 344684 h 471291"/>
                <a:gd name="connsiteX325" fmla="*/ 157513 w 287641"/>
                <a:gd name="connsiteY325" fmla="*/ 343516 h 471291"/>
                <a:gd name="connsiteX326" fmla="*/ 158961 w 287641"/>
                <a:gd name="connsiteY326" fmla="*/ 343248 h 471291"/>
                <a:gd name="connsiteX327" fmla="*/ 160283 w 287641"/>
                <a:gd name="connsiteY327" fmla="*/ 343468 h 471291"/>
                <a:gd name="connsiteX328" fmla="*/ 161684 w 287641"/>
                <a:gd name="connsiteY328" fmla="*/ 342548 h 471291"/>
                <a:gd name="connsiteX329" fmla="*/ 162784 w 287641"/>
                <a:gd name="connsiteY329" fmla="*/ 342180 h 471291"/>
                <a:gd name="connsiteX330" fmla="*/ 163920 w 287641"/>
                <a:gd name="connsiteY330" fmla="*/ 342621 h 471291"/>
                <a:gd name="connsiteX331" fmla="*/ 165187 w 287641"/>
                <a:gd name="connsiteY331" fmla="*/ 344828 h 471291"/>
                <a:gd name="connsiteX332" fmla="*/ 162557 w 287641"/>
                <a:gd name="connsiteY332" fmla="*/ 345976 h 471291"/>
                <a:gd name="connsiteX333" fmla="*/ 160691 w 287641"/>
                <a:gd name="connsiteY333" fmla="*/ 346028 h 471291"/>
                <a:gd name="connsiteX334" fmla="*/ 159780 w 287641"/>
                <a:gd name="connsiteY334" fmla="*/ 349640 h 471291"/>
                <a:gd name="connsiteX335" fmla="*/ 158650 w 287641"/>
                <a:gd name="connsiteY335" fmla="*/ 351190 h 471291"/>
                <a:gd name="connsiteX336" fmla="*/ 157841 w 287641"/>
                <a:gd name="connsiteY336" fmla="*/ 351935 h 471291"/>
                <a:gd name="connsiteX337" fmla="*/ 153701 w 287641"/>
                <a:gd name="connsiteY337" fmla="*/ 353469 h 471291"/>
                <a:gd name="connsiteX338" fmla="*/ 150970 w 287641"/>
                <a:gd name="connsiteY338" fmla="*/ 355412 h 471291"/>
                <a:gd name="connsiteX339" fmla="*/ 147750 w 287641"/>
                <a:gd name="connsiteY339" fmla="*/ 356975 h 471291"/>
                <a:gd name="connsiteX340" fmla="*/ 146344 w 287641"/>
                <a:gd name="connsiteY340" fmla="*/ 356635 h 471291"/>
                <a:gd name="connsiteX341" fmla="*/ 144226 w 287641"/>
                <a:gd name="connsiteY341" fmla="*/ 358223 h 471291"/>
                <a:gd name="connsiteX342" fmla="*/ 139518 w 287641"/>
                <a:gd name="connsiteY342" fmla="*/ 360101 h 471291"/>
                <a:gd name="connsiteX343" fmla="*/ 137106 w 287641"/>
                <a:gd name="connsiteY343" fmla="*/ 362629 h 471291"/>
                <a:gd name="connsiteX344" fmla="*/ 131693 w 287641"/>
                <a:gd name="connsiteY344" fmla="*/ 364888 h 471291"/>
                <a:gd name="connsiteX345" fmla="*/ 128935 w 287641"/>
                <a:gd name="connsiteY345" fmla="*/ 366724 h 471291"/>
                <a:gd name="connsiteX346" fmla="*/ 121444 w 287641"/>
                <a:gd name="connsiteY346" fmla="*/ 366820 h 471291"/>
                <a:gd name="connsiteX347" fmla="*/ 114290 w 287641"/>
                <a:gd name="connsiteY347" fmla="*/ 366417 h 471291"/>
                <a:gd name="connsiteX348" fmla="*/ 112044 w 287641"/>
                <a:gd name="connsiteY348" fmla="*/ 367290 h 471291"/>
                <a:gd name="connsiteX349" fmla="*/ 114340 w 287641"/>
                <a:gd name="connsiteY349" fmla="*/ 367560 h 471291"/>
                <a:gd name="connsiteX350" fmla="*/ 115948 w 287641"/>
                <a:gd name="connsiteY350" fmla="*/ 368416 h 471291"/>
                <a:gd name="connsiteX351" fmla="*/ 117877 w 287641"/>
                <a:gd name="connsiteY351" fmla="*/ 368059 h 471291"/>
                <a:gd name="connsiteX352" fmla="*/ 122410 w 287641"/>
                <a:gd name="connsiteY352" fmla="*/ 368487 h 471291"/>
                <a:gd name="connsiteX353" fmla="*/ 124742 w 287641"/>
                <a:gd name="connsiteY353" fmla="*/ 368953 h 471291"/>
                <a:gd name="connsiteX354" fmla="*/ 127735 w 287641"/>
                <a:gd name="connsiteY354" fmla="*/ 371949 h 471291"/>
                <a:gd name="connsiteX355" fmla="*/ 125534 w 287641"/>
                <a:gd name="connsiteY355" fmla="*/ 373013 h 471291"/>
                <a:gd name="connsiteX356" fmla="*/ 121723 w 287641"/>
                <a:gd name="connsiteY356" fmla="*/ 373829 h 471291"/>
                <a:gd name="connsiteX357" fmla="*/ 123152 w 287641"/>
                <a:gd name="connsiteY357" fmla="*/ 378067 h 471291"/>
                <a:gd name="connsiteX358" fmla="*/ 124331 w 287641"/>
                <a:gd name="connsiteY358" fmla="*/ 380919 h 471291"/>
                <a:gd name="connsiteX359" fmla="*/ 122788 w 287641"/>
                <a:gd name="connsiteY359" fmla="*/ 382639 h 471291"/>
                <a:gd name="connsiteX360" fmla="*/ 122673 w 287641"/>
                <a:gd name="connsiteY360" fmla="*/ 390443 h 471291"/>
                <a:gd name="connsiteX361" fmla="*/ 120507 w 287641"/>
                <a:gd name="connsiteY361" fmla="*/ 390592 h 471291"/>
                <a:gd name="connsiteX362" fmla="*/ 119587 w 287641"/>
                <a:gd name="connsiteY362" fmla="*/ 393812 h 471291"/>
                <a:gd name="connsiteX363" fmla="*/ 120269 w 287641"/>
                <a:gd name="connsiteY363" fmla="*/ 395452 h 471291"/>
                <a:gd name="connsiteX364" fmla="*/ 120216 w 287641"/>
                <a:gd name="connsiteY364" fmla="*/ 399257 h 471291"/>
                <a:gd name="connsiteX365" fmla="*/ 120667 w 287641"/>
                <a:gd name="connsiteY365" fmla="*/ 401599 h 471291"/>
                <a:gd name="connsiteX366" fmla="*/ 121729 w 287641"/>
                <a:gd name="connsiteY366" fmla="*/ 403752 h 471291"/>
                <a:gd name="connsiteX367" fmla="*/ 121256 w 287641"/>
                <a:gd name="connsiteY367" fmla="*/ 405996 h 471291"/>
                <a:gd name="connsiteX368" fmla="*/ 117832 w 287641"/>
                <a:gd name="connsiteY368" fmla="*/ 411238 h 471291"/>
                <a:gd name="connsiteX369" fmla="*/ 117910 w 287641"/>
                <a:gd name="connsiteY369" fmla="*/ 413693 h 471291"/>
                <a:gd name="connsiteX370" fmla="*/ 118525 w 287641"/>
                <a:gd name="connsiteY370" fmla="*/ 415150 h 471291"/>
                <a:gd name="connsiteX371" fmla="*/ 118980 w 287641"/>
                <a:gd name="connsiteY371" fmla="*/ 417477 h 471291"/>
                <a:gd name="connsiteX372" fmla="*/ 117424 w 287641"/>
                <a:gd name="connsiteY372" fmla="*/ 421945 h 471291"/>
                <a:gd name="connsiteX373" fmla="*/ 116324 w 287641"/>
                <a:gd name="connsiteY373" fmla="*/ 425671 h 471291"/>
                <a:gd name="connsiteX374" fmla="*/ 115018 w 287641"/>
                <a:gd name="connsiteY374" fmla="*/ 428802 h 471291"/>
                <a:gd name="connsiteX375" fmla="*/ 112094 w 287641"/>
                <a:gd name="connsiteY375" fmla="*/ 432553 h 471291"/>
                <a:gd name="connsiteX376" fmla="*/ 110639 w 287641"/>
                <a:gd name="connsiteY376" fmla="*/ 435353 h 471291"/>
                <a:gd name="connsiteX377" fmla="*/ 107233 w 287641"/>
                <a:gd name="connsiteY377" fmla="*/ 444067 h 471291"/>
                <a:gd name="connsiteX378" fmla="*/ 105545 w 287641"/>
                <a:gd name="connsiteY378" fmla="*/ 445792 h 471291"/>
                <a:gd name="connsiteX379" fmla="*/ 103474 w 287641"/>
                <a:gd name="connsiteY379" fmla="*/ 447117 h 471291"/>
                <a:gd name="connsiteX380" fmla="*/ 101166 w 287641"/>
                <a:gd name="connsiteY380" fmla="*/ 445891 h 471291"/>
                <a:gd name="connsiteX381" fmla="*/ 99049 w 287641"/>
                <a:gd name="connsiteY381" fmla="*/ 445223 h 471291"/>
                <a:gd name="connsiteX382" fmla="*/ 96464 w 287641"/>
                <a:gd name="connsiteY382" fmla="*/ 445304 h 471291"/>
                <a:gd name="connsiteX383" fmla="*/ 92416 w 287641"/>
                <a:gd name="connsiteY383" fmla="*/ 446309 h 471291"/>
                <a:gd name="connsiteX384" fmla="*/ 86326 w 287641"/>
                <a:gd name="connsiteY384" fmla="*/ 445641 h 471291"/>
                <a:gd name="connsiteX385" fmla="*/ 80375 w 287641"/>
                <a:gd name="connsiteY385" fmla="*/ 445963 h 471291"/>
                <a:gd name="connsiteX386" fmla="*/ 78870 w 287641"/>
                <a:gd name="connsiteY386" fmla="*/ 446831 h 471291"/>
                <a:gd name="connsiteX387" fmla="*/ 79772 w 287641"/>
                <a:gd name="connsiteY387" fmla="*/ 449981 h 471291"/>
                <a:gd name="connsiteX388" fmla="*/ 77579 w 287641"/>
                <a:gd name="connsiteY388" fmla="*/ 450394 h 471291"/>
                <a:gd name="connsiteX389" fmla="*/ 75434 w 287641"/>
                <a:gd name="connsiteY389" fmla="*/ 449498 h 471291"/>
                <a:gd name="connsiteX390" fmla="*/ 73547 w 287641"/>
                <a:gd name="connsiteY390" fmla="*/ 450567 h 471291"/>
                <a:gd name="connsiteX391" fmla="*/ 71970 w 287641"/>
                <a:gd name="connsiteY391" fmla="*/ 451739 h 471291"/>
                <a:gd name="connsiteX392" fmla="*/ 68874 w 287641"/>
                <a:gd name="connsiteY392" fmla="*/ 454516 h 471291"/>
                <a:gd name="connsiteX393" fmla="*/ 67837 w 287641"/>
                <a:gd name="connsiteY393" fmla="*/ 456225 h 471291"/>
                <a:gd name="connsiteX394" fmla="*/ 67570 w 287641"/>
                <a:gd name="connsiteY394" fmla="*/ 459439 h 471291"/>
                <a:gd name="connsiteX395" fmla="*/ 69196 w 287641"/>
                <a:gd name="connsiteY395" fmla="*/ 462318 h 471291"/>
                <a:gd name="connsiteX396" fmla="*/ 70638 w 287641"/>
                <a:gd name="connsiteY396" fmla="*/ 465684 h 471291"/>
                <a:gd name="connsiteX397" fmla="*/ 66924 w 287641"/>
                <a:gd name="connsiteY397" fmla="*/ 469739 h 471291"/>
                <a:gd name="connsiteX398" fmla="*/ 64851 w 287641"/>
                <a:gd name="connsiteY398" fmla="*/ 469876 h 471291"/>
                <a:gd name="connsiteX399" fmla="*/ 58800 w 287641"/>
                <a:gd name="connsiteY399" fmla="*/ 468752 h 471291"/>
                <a:gd name="connsiteX400" fmla="*/ 48077 w 287641"/>
                <a:gd name="connsiteY400" fmla="*/ 471291 h 471291"/>
                <a:gd name="connsiteX401" fmla="*/ 38446 w 287641"/>
                <a:gd name="connsiteY401" fmla="*/ 469283 h 471291"/>
                <a:gd name="connsiteX402" fmla="*/ 39657 w 287641"/>
                <a:gd name="connsiteY402" fmla="*/ 467112 h 471291"/>
                <a:gd name="connsiteX403" fmla="*/ 39617 w 287641"/>
                <a:gd name="connsiteY403" fmla="*/ 465514 h 471291"/>
                <a:gd name="connsiteX404" fmla="*/ 40161 w 287641"/>
                <a:gd name="connsiteY404" fmla="*/ 463055 h 471291"/>
                <a:gd name="connsiteX405" fmla="*/ 40484 w 287641"/>
                <a:gd name="connsiteY405" fmla="*/ 460536 h 471291"/>
                <a:gd name="connsiteX406" fmla="*/ 40394 w 287641"/>
                <a:gd name="connsiteY406" fmla="*/ 458849 h 471291"/>
                <a:gd name="connsiteX407" fmla="*/ 39688 w 287641"/>
                <a:gd name="connsiteY407" fmla="*/ 457050 h 471291"/>
                <a:gd name="connsiteX408" fmla="*/ 37313 w 287641"/>
                <a:gd name="connsiteY408" fmla="*/ 454694 h 471291"/>
                <a:gd name="connsiteX409" fmla="*/ 31961 w 287641"/>
                <a:gd name="connsiteY409" fmla="*/ 446722 h 471291"/>
                <a:gd name="connsiteX410" fmla="*/ 30378 w 287641"/>
                <a:gd name="connsiteY410" fmla="*/ 443349 h 471291"/>
                <a:gd name="connsiteX411" fmla="*/ 29277 w 287641"/>
                <a:gd name="connsiteY411" fmla="*/ 441942 h 471291"/>
                <a:gd name="connsiteX412" fmla="*/ 30070 w 287641"/>
                <a:gd name="connsiteY412" fmla="*/ 441866 h 471291"/>
                <a:gd name="connsiteX413" fmla="*/ 34477 w 287641"/>
                <a:gd name="connsiteY413" fmla="*/ 443679 h 471291"/>
                <a:gd name="connsiteX414" fmla="*/ 35505 w 287641"/>
                <a:gd name="connsiteY414" fmla="*/ 443456 h 471291"/>
                <a:gd name="connsiteX415" fmla="*/ 36585 w 287641"/>
                <a:gd name="connsiteY415" fmla="*/ 442775 h 471291"/>
                <a:gd name="connsiteX416" fmla="*/ 35270 w 287641"/>
                <a:gd name="connsiteY416" fmla="*/ 440179 h 471291"/>
                <a:gd name="connsiteX417" fmla="*/ 34140 w 287641"/>
                <a:gd name="connsiteY417" fmla="*/ 439003 h 471291"/>
                <a:gd name="connsiteX418" fmla="*/ 33374 w 287641"/>
                <a:gd name="connsiteY418" fmla="*/ 437243 h 471291"/>
                <a:gd name="connsiteX419" fmla="*/ 35954 w 287641"/>
                <a:gd name="connsiteY419" fmla="*/ 436767 h 471291"/>
                <a:gd name="connsiteX420" fmla="*/ 37818 w 287641"/>
                <a:gd name="connsiteY420" fmla="*/ 436872 h 471291"/>
                <a:gd name="connsiteX421" fmla="*/ 39191 w 287641"/>
                <a:gd name="connsiteY421" fmla="*/ 434890 h 471291"/>
                <a:gd name="connsiteX422" fmla="*/ 38399 w 287641"/>
                <a:gd name="connsiteY422" fmla="*/ 431681 h 471291"/>
                <a:gd name="connsiteX423" fmla="*/ 36397 w 287641"/>
                <a:gd name="connsiteY423" fmla="*/ 430693 h 471291"/>
                <a:gd name="connsiteX424" fmla="*/ 34725 w 287641"/>
                <a:gd name="connsiteY424" fmla="*/ 430263 h 471291"/>
                <a:gd name="connsiteX425" fmla="*/ 31521 w 287641"/>
                <a:gd name="connsiteY425" fmla="*/ 425210 h 471291"/>
                <a:gd name="connsiteX426" fmla="*/ 28178 w 287641"/>
                <a:gd name="connsiteY426" fmla="*/ 422589 h 471291"/>
                <a:gd name="connsiteX427" fmla="*/ 22216 w 287641"/>
                <a:gd name="connsiteY427" fmla="*/ 412449 h 471291"/>
                <a:gd name="connsiteX428" fmla="*/ 20035 w 287641"/>
                <a:gd name="connsiteY428" fmla="*/ 405461 h 471291"/>
                <a:gd name="connsiteX429" fmla="*/ 18008 w 287641"/>
                <a:gd name="connsiteY429" fmla="*/ 406126 h 471291"/>
                <a:gd name="connsiteX430" fmla="*/ 17023 w 287641"/>
                <a:gd name="connsiteY430" fmla="*/ 403076 h 471291"/>
                <a:gd name="connsiteX431" fmla="*/ 16317 w 287641"/>
                <a:gd name="connsiteY431" fmla="*/ 400184 h 471291"/>
                <a:gd name="connsiteX432" fmla="*/ 16176 w 287641"/>
                <a:gd name="connsiteY432" fmla="*/ 398055 h 471291"/>
                <a:gd name="connsiteX433" fmla="*/ 12998 w 287641"/>
                <a:gd name="connsiteY433" fmla="*/ 396834 h 471291"/>
                <a:gd name="connsiteX434" fmla="*/ 12868 w 287641"/>
                <a:gd name="connsiteY434" fmla="*/ 395340 h 471291"/>
                <a:gd name="connsiteX435" fmla="*/ 12296 w 287641"/>
                <a:gd name="connsiteY435" fmla="*/ 388660 h 471291"/>
                <a:gd name="connsiteX436" fmla="*/ 8886 w 287641"/>
                <a:gd name="connsiteY436" fmla="*/ 387761 h 471291"/>
                <a:gd name="connsiteX437" fmla="*/ 6681 w 287641"/>
                <a:gd name="connsiteY437" fmla="*/ 384002 h 471291"/>
                <a:gd name="connsiteX438" fmla="*/ 6288 w 287641"/>
                <a:gd name="connsiteY438" fmla="*/ 376872 h 471291"/>
                <a:gd name="connsiteX439" fmla="*/ 4043 w 287641"/>
                <a:gd name="connsiteY439" fmla="*/ 375571 h 471291"/>
                <a:gd name="connsiteX440" fmla="*/ 2235 w 287641"/>
                <a:gd name="connsiteY440" fmla="*/ 375932 h 471291"/>
                <a:gd name="connsiteX441" fmla="*/ 2320 w 287641"/>
                <a:gd name="connsiteY441" fmla="*/ 374160 h 471291"/>
                <a:gd name="connsiteX442" fmla="*/ 2751 w 287641"/>
                <a:gd name="connsiteY442" fmla="*/ 372496 h 471291"/>
                <a:gd name="connsiteX443" fmla="*/ 1696 w 287641"/>
                <a:gd name="connsiteY443" fmla="*/ 365889 h 471291"/>
                <a:gd name="connsiteX444" fmla="*/ 1343 w 287641"/>
                <a:gd name="connsiteY444" fmla="*/ 359841 h 471291"/>
                <a:gd name="connsiteX445" fmla="*/ 486 w 287641"/>
                <a:gd name="connsiteY445" fmla="*/ 358012 h 471291"/>
                <a:gd name="connsiteX446" fmla="*/ 0 w 287641"/>
                <a:gd name="connsiteY446" fmla="*/ 355868 h 471291"/>
                <a:gd name="connsiteX447" fmla="*/ 436 w 287641"/>
                <a:gd name="connsiteY447" fmla="*/ 354014 h 471291"/>
                <a:gd name="connsiteX448" fmla="*/ 1076 w 287641"/>
                <a:gd name="connsiteY448" fmla="*/ 352949 h 471291"/>
                <a:gd name="connsiteX449" fmla="*/ 3276 w 287641"/>
                <a:gd name="connsiteY449" fmla="*/ 352669 h 471291"/>
                <a:gd name="connsiteX450" fmla="*/ 5332 w 287641"/>
                <a:gd name="connsiteY450" fmla="*/ 354309 h 471291"/>
                <a:gd name="connsiteX451" fmla="*/ 7154 w 287641"/>
                <a:gd name="connsiteY451" fmla="*/ 358440 h 471291"/>
                <a:gd name="connsiteX452" fmla="*/ 8765 w 287641"/>
                <a:gd name="connsiteY452" fmla="*/ 358977 h 471291"/>
                <a:gd name="connsiteX453" fmla="*/ 10959 w 287641"/>
                <a:gd name="connsiteY453" fmla="*/ 357902 h 471291"/>
                <a:gd name="connsiteX454" fmla="*/ 12495 w 287641"/>
                <a:gd name="connsiteY454" fmla="*/ 354890 h 471291"/>
                <a:gd name="connsiteX455" fmla="*/ 13371 w 287641"/>
                <a:gd name="connsiteY455" fmla="*/ 350363 h 471291"/>
                <a:gd name="connsiteX456" fmla="*/ 14395 w 287641"/>
                <a:gd name="connsiteY456" fmla="*/ 346042 h 471291"/>
                <a:gd name="connsiteX457" fmla="*/ 13183 w 287641"/>
                <a:gd name="connsiteY457" fmla="*/ 341411 h 471291"/>
                <a:gd name="connsiteX458" fmla="*/ 11890 w 287641"/>
                <a:gd name="connsiteY458" fmla="*/ 337334 h 471291"/>
                <a:gd name="connsiteX459" fmla="*/ 11799 w 287641"/>
                <a:gd name="connsiteY459" fmla="*/ 336135 h 471291"/>
                <a:gd name="connsiteX460" fmla="*/ 15194 w 287641"/>
                <a:gd name="connsiteY460" fmla="*/ 332688 h 471291"/>
                <a:gd name="connsiteX461" fmla="*/ 16232 w 287641"/>
                <a:gd name="connsiteY461" fmla="*/ 329881 h 471291"/>
                <a:gd name="connsiteX462" fmla="*/ 17358 w 287641"/>
                <a:gd name="connsiteY462" fmla="*/ 327204 h 471291"/>
                <a:gd name="connsiteX463" fmla="*/ 18599 w 287641"/>
                <a:gd name="connsiteY463" fmla="*/ 326293 h 471291"/>
                <a:gd name="connsiteX464" fmla="*/ 20448 w 287641"/>
                <a:gd name="connsiteY464" fmla="*/ 326085 h 471291"/>
                <a:gd name="connsiteX465" fmla="*/ 22601 w 287641"/>
                <a:gd name="connsiteY465" fmla="*/ 325581 h 471291"/>
                <a:gd name="connsiteX466" fmla="*/ 25315 w 287641"/>
                <a:gd name="connsiteY466" fmla="*/ 323786 h 471291"/>
                <a:gd name="connsiteX467" fmla="*/ 27748 w 287641"/>
                <a:gd name="connsiteY467" fmla="*/ 321381 h 471291"/>
                <a:gd name="connsiteX468" fmla="*/ 29608 w 287641"/>
                <a:gd name="connsiteY468" fmla="*/ 319172 h 471291"/>
                <a:gd name="connsiteX469" fmla="*/ 30238 w 287641"/>
                <a:gd name="connsiteY469" fmla="*/ 314796 h 471291"/>
                <a:gd name="connsiteX470" fmla="*/ 30264 w 287641"/>
                <a:gd name="connsiteY470" fmla="*/ 312594 h 471291"/>
                <a:gd name="connsiteX471" fmla="*/ 31083 w 287641"/>
                <a:gd name="connsiteY471" fmla="*/ 310957 h 471291"/>
                <a:gd name="connsiteX472" fmla="*/ 31875 w 287641"/>
                <a:gd name="connsiteY472" fmla="*/ 307757 h 471291"/>
                <a:gd name="connsiteX473" fmla="*/ 31104 w 287641"/>
                <a:gd name="connsiteY473" fmla="*/ 304595 h 471291"/>
                <a:gd name="connsiteX474" fmla="*/ 28705 w 287641"/>
                <a:gd name="connsiteY474" fmla="*/ 299791 h 471291"/>
                <a:gd name="connsiteX475" fmla="*/ 25816 w 287641"/>
                <a:gd name="connsiteY475" fmla="*/ 293016 h 471291"/>
                <a:gd name="connsiteX476" fmla="*/ 25362 w 287641"/>
                <a:gd name="connsiteY476" fmla="*/ 289308 h 471291"/>
                <a:gd name="connsiteX477" fmla="*/ 26679 w 287641"/>
                <a:gd name="connsiteY477" fmla="*/ 288619 h 471291"/>
                <a:gd name="connsiteX478" fmla="*/ 29198 w 287641"/>
                <a:gd name="connsiteY478" fmla="*/ 288004 h 471291"/>
                <a:gd name="connsiteX479" fmla="*/ 33961 w 287641"/>
                <a:gd name="connsiteY479" fmla="*/ 287826 h 471291"/>
                <a:gd name="connsiteX480" fmla="*/ 34471 w 287641"/>
                <a:gd name="connsiteY480" fmla="*/ 287388 h 471291"/>
                <a:gd name="connsiteX481" fmla="*/ 34952 w 287641"/>
                <a:gd name="connsiteY481" fmla="*/ 285761 h 471291"/>
                <a:gd name="connsiteX482" fmla="*/ 36025 w 287641"/>
                <a:gd name="connsiteY482" fmla="*/ 283550 h 471291"/>
                <a:gd name="connsiteX483" fmla="*/ 37172 w 287641"/>
                <a:gd name="connsiteY483" fmla="*/ 281938 h 471291"/>
                <a:gd name="connsiteX484" fmla="*/ 37956 w 287641"/>
                <a:gd name="connsiteY484" fmla="*/ 279631 h 471291"/>
                <a:gd name="connsiteX485" fmla="*/ 38334 w 287641"/>
                <a:gd name="connsiteY485" fmla="*/ 277538 h 471291"/>
                <a:gd name="connsiteX486" fmla="*/ 35609 w 287641"/>
                <a:gd name="connsiteY486" fmla="*/ 274382 h 471291"/>
                <a:gd name="connsiteX487" fmla="*/ 32039 w 287641"/>
                <a:gd name="connsiteY487" fmla="*/ 271147 h 471291"/>
                <a:gd name="connsiteX488" fmla="*/ 29623 w 287641"/>
                <a:gd name="connsiteY488" fmla="*/ 270074 h 471291"/>
                <a:gd name="connsiteX489" fmla="*/ 25317 w 287641"/>
                <a:gd name="connsiteY489" fmla="*/ 267346 h 471291"/>
                <a:gd name="connsiteX490" fmla="*/ 22294 w 287641"/>
                <a:gd name="connsiteY490" fmla="*/ 265062 h 471291"/>
                <a:gd name="connsiteX491" fmla="*/ 24026 w 287641"/>
                <a:gd name="connsiteY491" fmla="*/ 256346 h 471291"/>
                <a:gd name="connsiteX492" fmla="*/ 25315 w 287641"/>
                <a:gd name="connsiteY492" fmla="*/ 249836 h 471291"/>
                <a:gd name="connsiteX493" fmla="*/ 25522 w 287641"/>
                <a:gd name="connsiteY493" fmla="*/ 248251 h 471291"/>
                <a:gd name="connsiteX494" fmla="*/ 25570 w 287641"/>
                <a:gd name="connsiteY494" fmla="*/ 245790 h 471291"/>
                <a:gd name="connsiteX495" fmla="*/ 21391 w 287641"/>
                <a:gd name="connsiteY495" fmla="*/ 235264 h 471291"/>
                <a:gd name="connsiteX496" fmla="*/ 21553 w 287641"/>
                <a:gd name="connsiteY496" fmla="*/ 232916 h 471291"/>
                <a:gd name="connsiteX497" fmla="*/ 21951 w 287641"/>
                <a:gd name="connsiteY497" fmla="*/ 230799 h 471291"/>
                <a:gd name="connsiteX498" fmla="*/ 21503 w 287641"/>
                <a:gd name="connsiteY498" fmla="*/ 227185 h 471291"/>
                <a:gd name="connsiteX499" fmla="*/ 21260 w 287641"/>
                <a:gd name="connsiteY499" fmla="*/ 223946 h 471291"/>
                <a:gd name="connsiteX500" fmla="*/ 21977 w 287641"/>
                <a:gd name="connsiteY500" fmla="*/ 222963 h 471291"/>
                <a:gd name="connsiteX501" fmla="*/ 23682 w 287641"/>
                <a:gd name="connsiteY501" fmla="*/ 221133 h 471291"/>
                <a:gd name="connsiteX502" fmla="*/ 22056 w 287641"/>
                <a:gd name="connsiteY502" fmla="*/ 218291 h 471291"/>
                <a:gd name="connsiteX503" fmla="*/ 21925 w 287641"/>
                <a:gd name="connsiteY503" fmla="*/ 218060 h 471291"/>
                <a:gd name="connsiteX504" fmla="*/ 18856 w 287641"/>
                <a:gd name="connsiteY504" fmla="*/ 211011 h 471291"/>
                <a:gd name="connsiteX505" fmla="*/ 23549 w 287641"/>
                <a:gd name="connsiteY505" fmla="*/ 204008 h 471291"/>
                <a:gd name="connsiteX506" fmla="*/ 22732 w 287641"/>
                <a:gd name="connsiteY506" fmla="*/ 200377 h 471291"/>
                <a:gd name="connsiteX507" fmla="*/ 25535 w 287641"/>
                <a:gd name="connsiteY507" fmla="*/ 197738 h 471291"/>
                <a:gd name="connsiteX508" fmla="*/ 30638 w 287641"/>
                <a:gd name="connsiteY508" fmla="*/ 191681 h 471291"/>
                <a:gd name="connsiteX509" fmla="*/ 33508 w 287641"/>
                <a:gd name="connsiteY509" fmla="*/ 188267 h 471291"/>
                <a:gd name="connsiteX510" fmla="*/ 34117 w 287641"/>
                <a:gd name="connsiteY510" fmla="*/ 187670 h 471291"/>
                <a:gd name="connsiteX511" fmla="*/ 36388 w 287641"/>
                <a:gd name="connsiteY511" fmla="*/ 186168 h 471291"/>
                <a:gd name="connsiteX512" fmla="*/ 40696 w 287641"/>
                <a:gd name="connsiteY512" fmla="*/ 184385 h 471291"/>
                <a:gd name="connsiteX513" fmla="*/ 45471 w 287641"/>
                <a:gd name="connsiteY513" fmla="*/ 183516 h 471291"/>
                <a:gd name="connsiteX514" fmla="*/ 47596 w 287641"/>
                <a:gd name="connsiteY514" fmla="*/ 183527 h 471291"/>
                <a:gd name="connsiteX515" fmla="*/ 55801 w 287641"/>
                <a:gd name="connsiteY515" fmla="*/ 184734 h 471291"/>
                <a:gd name="connsiteX516" fmla="*/ 62210 w 287641"/>
                <a:gd name="connsiteY516" fmla="*/ 185673 h 471291"/>
                <a:gd name="connsiteX517" fmla="*/ 63143 w 287641"/>
                <a:gd name="connsiteY517" fmla="*/ 184730 h 471291"/>
                <a:gd name="connsiteX518" fmla="*/ 64482 w 287641"/>
                <a:gd name="connsiteY518" fmla="*/ 182795 h 471291"/>
                <a:gd name="connsiteX519" fmla="*/ 66205 w 287641"/>
                <a:gd name="connsiteY519" fmla="*/ 180035 h 471291"/>
                <a:gd name="connsiteX520" fmla="*/ 66356 w 287641"/>
                <a:gd name="connsiteY520" fmla="*/ 176962 h 471291"/>
                <a:gd name="connsiteX521" fmla="*/ 65734 w 287641"/>
                <a:gd name="connsiteY521" fmla="*/ 172439 h 471291"/>
                <a:gd name="connsiteX522" fmla="*/ 64799 w 287641"/>
                <a:gd name="connsiteY522" fmla="*/ 169727 h 471291"/>
                <a:gd name="connsiteX523" fmla="*/ 60286 w 287641"/>
                <a:gd name="connsiteY523" fmla="*/ 167963 h 471291"/>
                <a:gd name="connsiteX524" fmla="*/ 55350 w 287641"/>
                <a:gd name="connsiteY524" fmla="*/ 165542 h 471291"/>
                <a:gd name="connsiteX525" fmla="*/ 61420 w 287641"/>
                <a:gd name="connsiteY525" fmla="*/ 157854 h 471291"/>
                <a:gd name="connsiteX526" fmla="*/ 65629 w 287641"/>
                <a:gd name="connsiteY526" fmla="*/ 152501 h 471291"/>
                <a:gd name="connsiteX527" fmla="*/ 70876 w 287641"/>
                <a:gd name="connsiteY527" fmla="*/ 144422 h 471291"/>
                <a:gd name="connsiteX528" fmla="*/ 72508 w 287641"/>
                <a:gd name="connsiteY528" fmla="*/ 141051 h 471291"/>
                <a:gd name="connsiteX529" fmla="*/ 73689 w 287641"/>
                <a:gd name="connsiteY529" fmla="*/ 139711 h 471291"/>
                <a:gd name="connsiteX530" fmla="*/ 75233 w 287641"/>
                <a:gd name="connsiteY530" fmla="*/ 127217 h 471291"/>
                <a:gd name="connsiteX531" fmla="*/ 76257 w 287641"/>
                <a:gd name="connsiteY531" fmla="*/ 123708 h 471291"/>
                <a:gd name="connsiteX532" fmla="*/ 77114 w 287641"/>
                <a:gd name="connsiteY532" fmla="*/ 121873 h 471291"/>
                <a:gd name="connsiteX533" fmla="*/ 77127 w 287641"/>
                <a:gd name="connsiteY533" fmla="*/ 119986 h 471291"/>
                <a:gd name="connsiteX534" fmla="*/ 76570 w 287641"/>
                <a:gd name="connsiteY534" fmla="*/ 116802 h 471291"/>
                <a:gd name="connsiteX535" fmla="*/ 75095 w 287641"/>
                <a:gd name="connsiteY535" fmla="*/ 109590 h 471291"/>
                <a:gd name="connsiteX536" fmla="*/ 83381 w 287641"/>
                <a:gd name="connsiteY536" fmla="*/ 108696 h 471291"/>
                <a:gd name="connsiteX537" fmla="*/ 86080 w 287641"/>
                <a:gd name="connsiteY537" fmla="*/ 108190 h 471291"/>
                <a:gd name="connsiteX538" fmla="*/ 88585 w 287641"/>
                <a:gd name="connsiteY538" fmla="*/ 107326 h 471291"/>
                <a:gd name="connsiteX539" fmla="*/ 93485 w 287641"/>
                <a:gd name="connsiteY539" fmla="*/ 105086 h 471291"/>
                <a:gd name="connsiteX540" fmla="*/ 95892 w 287641"/>
                <a:gd name="connsiteY540" fmla="*/ 103105 h 471291"/>
                <a:gd name="connsiteX541" fmla="*/ 94547 w 287641"/>
                <a:gd name="connsiteY541" fmla="*/ 96329 h 471291"/>
                <a:gd name="connsiteX542" fmla="*/ 97512 w 287641"/>
                <a:gd name="connsiteY542" fmla="*/ 94031 h 471291"/>
                <a:gd name="connsiteX543" fmla="*/ 104746 w 287641"/>
                <a:gd name="connsiteY543" fmla="*/ 86006 h 471291"/>
                <a:gd name="connsiteX544" fmla="*/ 112563 w 287641"/>
                <a:gd name="connsiteY544" fmla="*/ 78290 h 471291"/>
                <a:gd name="connsiteX545" fmla="*/ 116229 w 287641"/>
                <a:gd name="connsiteY545" fmla="*/ 75362 h 471291"/>
                <a:gd name="connsiteX546" fmla="*/ 116609 w 287641"/>
                <a:gd name="connsiteY546" fmla="*/ 73929 h 471291"/>
                <a:gd name="connsiteX547" fmla="*/ 116910 w 287641"/>
                <a:gd name="connsiteY547" fmla="*/ 71624 h 471291"/>
                <a:gd name="connsiteX548" fmla="*/ 115281 w 287641"/>
                <a:gd name="connsiteY548" fmla="*/ 67999 h 471291"/>
                <a:gd name="connsiteX549" fmla="*/ 113532 w 287641"/>
                <a:gd name="connsiteY549" fmla="*/ 65749 h 471291"/>
                <a:gd name="connsiteX550" fmla="*/ 110125 w 287641"/>
                <a:gd name="connsiteY550" fmla="*/ 61479 h 471291"/>
                <a:gd name="connsiteX551" fmla="*/ 111587 w 287641"/>
                <a:gd name="connsiteY551" fmla="*/ 58496 h 471291"/>
                <a:gd name="connsiteX552" fmla="*/ 114098 w 287641"/>
                <a:gd name="connsiteY552" fmla="*/ 57916 h 471291"/>
                <a:gd name="connsiteX553" fmla="*/ 117415 w 287641"/>
                <a:gd name="connsiteY553" fmla="*/ 56743 h 471291"/>
                <a:gd name="connsiteX554" fmla="*/ 120002 w 287641"/>
                <a:gd name="connsiteY554" fmla="*/ 54187 h 471291"/>
                <a:gd name="connsiteX555" fmla="*/ 120254 w 287641"/>
                <a:gd name="connsiteY555" fmla="*/ 53858 h 471291"/>
                <a:gd name="connsiteX556" fmla="*/ 124634 w 287641"/>
                <a:gd name="connsiteY556" fmla="*/ 43774 h 471291"/>
                <a:gd name="connsiteX557" fmla="*/ 133189 w 287641"/>
                <a:gd name="connsiteY557" fmla="*/ 38646 h 471291"/>
                <a:gd name="connsiteX558" fmla="*/ 136597 w 287641"/>
                <a:gd name="connsiteY558" fmla="*/ 35843 h 471291"/>
                <a:gd name="connsiteX559" fmla="*/ 141907 w 287641"/>
                <a:gd name="connsiteY559" fmla="*/ 37949 h 471291"/>
                <a:gd name="connsiteX560" fmla="*/ 149689 w 287641"/>
                <a:gd name="connsiteY560" fmla="*/ 41124 h 471291"/>
                <a:gd name="connsiteX561" fmla="*/ 153150 w 287641"/>
                <a:gd name="connsiteY561" fmla="*/ 36451 h 471291"/>
                <a:gd name="connsiteX562" fmla="*/ 154295 w 287641"/>
                <a:gd name="connsiteY562" fmla="*/ 34715 h 471291"/>
                <a:gd name="connsiteX563" fmla="*/ 155437 w 287641"/>
                <a:gd name="connsiteY563" fmla="*/ 32154 h 471291"/>
                <a:gd name="connsiteX564" fmla="*/ 154979 w 287641"/>
                <a:gd name="connsiteY564" fmla="*/ 27717 h 471291"/>
                <a:gd name="connsiteX565" fmla="*/ 154783 w 287641"/>
                <a:gd name="connsiteY565" fmla="*/ 21940 h 471291"/>
                <a:gd name="connsiteX566" fmla="*/ 155126 w 287641"/>
                <a:gd name="connsiteY566" fmla="*/ 19614 h 471291"/>
                <a:gd name="connsiteX567" fmla="*/ 158232 w 287641"/>
                <a:gd name="connsiteY567" fmla="*/ 18577 h 471291"/>
                <a:gd name="connsiteX568" fmla="*/ 159903 w 287641"/>
                <a:gd name="connsiteY568" fmla="*/ 18309 h 471291"/>
                <a:gd name="connsiteX569" fmla="*/ 168553 w 287641"/>
                <a:gd name="connsiteY569" fmla="*/ 20702 h 471291"/>
                <a:gd name="connsiteX570" fmla="*/ 170730 w 287641"/>
                <a:gd name="connsiteY570" fmla="*/ 20661 h 471291"/>
                <a:gd name="connsiteX571" fmla="*/ 174807 w 287641"/>
                <a:gd name="connsiteY571" fmla="*/ 20983 h 471291"/>
                <a:gd name="connsiteX572" fmla="*/ 179370 w 287641"/>
                <a:gd name="connsiteY572" fmla="*/ 22034 h 471291"/>
                <a:gd name="connsiteX573" fmla="*/ 188927 w 287641"/>
                <a:gd name="connsiteY573" fmla="*/ 24826 h 471291"/>
                <a:gd name="connsiteX574" fmla="*/ 192881 w 287641"/>
                <a:gd name="connsiteY574" fmla="*/ 25981 h 471291"/>
                <a:gd name="connsiteX575" fmla="*/ 195088 w 287641"/>
                <a:gd name="connsiteY575" fmla="*/ 26205 h 471291"/>
                <a:gd name="connsiteX576" fmla="*/ 196993 w 287641"/>
                <a:gd name="connsiteY576" fmla="*/ 24905 h 471291"/>
                <a:gd name="connsiteX577" fmla="*/ 201063 w 287641"/>
                <a:gd name="connsiteY577" fmla="*/ 21566 h 471291"/>
                <a:gd name="connsiteX578" fmla="*/ 195066 w 287641"/>
                <a:gd name="connsiteY578" fmla="*/ 19091 h 471291"/>
                <a:gd name="connsiteX579" fmla="*/ 199016 w 287641"/>
                <a:gd name="connsiteY579" fmla="*/ 16583 h 471291"/>
                <a:gd name="connsiteX580" fmla="*/ 201063 w 287641"/>
                <a:gd name="connsiteY580" fmla="*/ 14051 h 471291"/>
                <a:gd name="connsiteX581" fmla="*/ 202819 w 287641"/>
                <a:gd name="connsiteY581" fmla="*/ 10934 h 471291"/>
                <a:gd name="connsiteX582" fmla="*/ 203451 w 287641"/>
                <a:gd name="connsiteY582" fmla="*/ 7280 h 471291"/>
                <a:gd name="connsiteX583" fmla="*/ 203209 w 287641"/>
                <a:gd name="connsiteY583" fmla="*/ 5312 h 471291"/>
                <a:gd name="connsiteX584" fmla="*/ 201998 w 287641"/>
                <a:gd name="connsiteY584" fmla="*/ 3971 h 471291"/>
                <a:gd name="connsiteX585" fmla="*/ 198336 w 287641"/>
                <a:gd name="connsiteY585" fmla="*/ 619 h 471291"/>
                <a:gd name="connsiteX586" fmla="*/ 206634 w 287641"/>
                <a:gd name="connsiteY586" fmla="*/ 138 h 471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Lst>
              <a:rect l="l" t="t" r="r" b="b"/>
              <a:pathLst>
                <a:path w="287641" h="471291">
                  <a:moveTo>
                    <a:pt x="129980" y="408700"/>
                  </a:moveTo>
                  <a:lnTo>
                    <a:pt x="131392" y="409106"/>
                  </a:lnTo>
                  <a:lnTo>
                    <a:pt x="132021" y="409502"/>
                  </a:lnTo>
                  <a:lnTo>
                    <a:pt x="130533" y="410751"/>
                  </a:lnTo>
                  <a:lnTo>
                    <a:pt x="130706" y="412376"/>
                  </a:lnTo>
                  <a:lnTo>
                    <a:pt x="130602" y="413049"/>
                  </a:lnTo>
                  <a:lnTo>
                    <a:pt x="126847" y="420100"/>
                  </a:lnTo>
                  <a:lnTo>
                    <a:pt x="125843" y="424667"/>
                  </a:lnTo>
                  <a:lnTo>
                    <a:pt x="124511" y="425780"/>
                  </a:lnTo>
                  <a:lnTo>
                    <a:pt x="118993" y="441942"/>
                  </a:lnTo>
                  <a:lnTo>
                    <a:pt x="117858" y="443517"/>
                  </a:lnTo>
                  <a:lnTo>
                    <a:pt x="116851" y="443406"/>
                  </a:lnTo>
                  <a:lnTo>
                    <a:pt x="116180" y="441305"/>
                  </a:lnTo>
                  <a:lnTo>
                    <a:pt x="116022" y="435892"/>
                  </a:lnTo>
                  <a:lnTo>
                    <a:pt x="116424" y="433213"/>
                  </a:lnTo>
                  <a:lnTo>
                    <a:pt x="121246" y="423521"/>
                  </a:lnTo>
                  <a:lnTo>
                    <a:pt x="123398" y="422728"/>
                  </a:lnTo>
                  <a:lnTo>
                    <a:pt x="126426" y="416765"/>
                  </a:lnTo>
                  <a:lnTo>
                    <a:pt x="127242" y="414108"/>
                  </a:lnTo>
                  <a:lnTo>
                    <a:pt x="128555" y="411712"/>
                  </a:lnTo>
                  <a:lnTo>
                    <a:pt x="129330" y="409567"/>
                  </a:lnTo>
                  <a:close/>
                  <a:moveTo>
                    <a:pt x="171445" y="390509"/>
                  </a:moveTo>
                  <a:lnTo>
                    <a:pt x="172680" y="391004"/>
                  </a:lnTo>
                  <a:lnTo>
                    <a:pt x="175334" y="393055"/>
                  </a:lnTo>
                  <a:lnTo>
                    <a:pt x="173505" y="393817"/>
                  </a:lnTo>
                  <a:lnTo>
                    <a:pt x="172429" y="396070"/>
                  </a:lnTo>
                  <a:lnTo>
                    <a:pt x="170948" y="396450"/>
                  </a:lnTo>
                  <a:lnTo>
                    <a:pt x="169527" y="397201"/>
                  </a:lnTo>
                  <a:lnTo>
                    <a:pt x="169020" y="404312"/>
                  </a:lnTo>
                  <a:lnTo>
                    <a:pt x="171607" y="407008"/>
                  </a:lnTo>
                  <a:lnTo>
                    <a:pt x="170186" y="407385"/>
                  </a:lnTo>
                  <a:lnTo>
                    <a:pt x="168886" y="408192"/>
                  </a:lnTo>
                  <a:lnTo>
                    <a:pt x="167957" y="409384"/>
                  </a:lnTo>
                  <a:lnTo>
                    <a:pt x="167007" y="411948"/>
                  </a:lnTo>
                  <a:lnTo>
                    <a:pt x="163438" y="413400"/>
                  </a:lnTo>
                  <a:lnTo>
                    <a:pt x="162086" y="414474"/>
                  </a:lnTo>
                  <a:lnTo>
                    <a:pt x="160093" y="416861"/>
                  </a:lnTo>
                  <a:lnTo>
                    <a:pt x="159054" y="420321"/>
                  </a:lnTo>
                  <a:lnTo>
                    <a:pt x="157035" y="421795"/>
                  </a:lnTo>
                  <a:lnTo>
                    <a:pt x="154768" y="422144"/>
                  </a:lnTo>
                  <a:lnTo>
                    <a:pt x="156098" y="419312"/>
                  </a:lnTo>
                  <a:lnTo>
                    <a:pt x="157841" y="417002"/>
                  </a:lnTo>
                  <a:lnTo>
                    <a:pt x="156165" y="415416"/>
                  </a:lnTo>
                  <a:lnTo>
                    <a:pt x="155156" y="412931"/>
                  </a:lnTo>
                  <a:lnTo>
                    <a:pt x="153855" y="411024"/>
                  </a:lnTo>
                  <a:lnTo>
                    <a:pt x="154891" y="408891"/>
                  </a:lnTo>
                  <a:lnTo>
                    <a:pt x="154381" y="405391"/>
                  </a:lnTo>
                  <a:lnTo>
                    <a:pt x="154550" y="401970"/>
                  </a:lnTo>
                  <a:lnTo>
                    <a:pt x="156061" y="400241"/>
                  </a:lnTo>
                  <a:lnTo>
                    <a:pt x="157793" y="398831"/>
                  </a:lnTo>
                  <a:lnTo>
                    <a:pt x="160490" y="395583"/>
                  </a:lnTo>
                  <a:lnTo>
                    <a:pt x="163414" y="393226"/>
                  </a:lnTo>
                  <a:lnTo>
                    <a:pt x="167493" y="392166"/>
                  </a:lnTo>
                  <a:lnTo>
                    <a:pt x="169335" y="393143"/>
                  </a:lnTo>
                  <a:lnTo>
                    <a:pt x="170130" y="390998"/>
                  </a:lnTo>
                  <a:close/>
                  <a:moveTo>
                    <a:pt x="176625" y="388398"/>
                  </a:moveTo>
                  <a:lnTo>
                    <a:pt x="179860" y="388520"/>
                  </a:lnTo>
                  <a:lnTo>
                    <a:pt x="180972" y="388990"/>
                  </a:lnTo>
                  <a:lnTo>
                    <a:pt x="177100" y="390280"/>
                  </a:lnTo>
                  <a:lnTo>
                    <a:pt x="176703" y="392277"/>
                  </a:lnTo>
                  <a:lnTo>
                    <a:pt x="175556" y="392125"/>
                  </a:lnTo>
                  <a:lnTo>
                    <a:pt x="174511" y="390651"/>
                  </a:lnTo>
                  <a:close/>
                  <a:moveTo>
                    <a:pt x="161812" y="351984"/>
                  </a:moveTo>
                  <a:lnTo>
                    <a:pt x="162267" y="352091"/>
                  </a:lnTo>
                  <a:lnTo>
                    <a:pt x="160734" y="354550"/>
                  </a:lnTo>
                  <a:lnTo>
                    <a:pt x="159754" y="354860"/>
                  </a:lnTo>
                  <a:lnTo>
                    <a:pt x="159268" y="354762"/>
                  </a:lnTo>
                  <a:lnTo>
                    <a:pt x="159873" y="353249"/>
                  </a:lnTo>
                  <a:lnTo>
                    <a:pt x="160322" y="352596"/>
                  </a:lnTo>
                  <a:close/>
                  <a:moveTo>
                    <a:pt x="165261" y="337596"/>
                  </a:moveTo>
                  <a:lnTo>
                    <a:pt x="166975" y="338028"/>
                  </a:lnTo>
                  <a:lnTo>
                    <a:pt x="166964" y="338356"/>
                  </a:lnTo>
                  <a:lnTo>
                    <a:pt x="165325" y="339420"/>
                  </a:lnTo>
                  <a:lnTo>
                    <a:pt x="164697" y="340135"/>
                  </a:lnTo>
                  <a:lnTo>
                    <a:pt x="164142" y="341220"/>
                  </a:lnTo>
                  <a:lnTo>
                    <a:pt x="163585" y="339890"/>
                  </a:lnTo>
                  <a:lnTo>
                    <a:pt x="163807" y="339630"/>
                  </a:lnTo>
                  <a:lnTo>
                    <a:pt x="164187" y="338316"/>
                  </a:lnTo>
                  <a:close/>
                  <a:moveTo>
                    <a:pt x="209512" y="0"/>
                  </a:moveTo>
                  <a:lnTo>
                    <a:pt x="215548" y="2210"/>
                  </a:lnTo>
                  <a:lnTo>
                    <a:pt x="215812" y="2688"/>
                  </a:lnTo>
                  <a:lnTo>
                    <a:pt x="215855" y="3839"/>
                  </a:lnTo>
                  <a:lnTo>
                    <a:pt x="216066" y="5031"/>
                  </a:lnTo>
                  <a:lnTo>
                    <a:pt x="221923" y="8050"/>
                  </a:lnTo>
                  <a:lnTo>
                    <a:pt x="223611" y="9646"/>
                  </a:lnTo>
                  <a:lnTo>
                    <a:pt x="227207" y="12069"/>
                  </a:lnTo>
                  <a:lnTo>
                    <a:pt x="228159" y="13376"/>
                  </a:lnTo>
                  <a:lnTo>
                    <a:pt x="231489" y="14904"/>
                  </a:lnTo>
                  <a:lnTo>
                    <a:pt x="233877" y="16536"/>
                  </a:lnTo>
                  <a:lnTo>
                    <a:pt x="236667" y="17859"/>
                  </a:lnTo>
                  <a:lnTo>
                    <a:pt x="239923" y="19914"/>
                  </a:lnTo>
                  <a:lnTo>
                    <a:pt x="244294" y="21549"/>
                  </a:lnTo>
                  <a:lnTo>
                    <a:pt x="247986" y="22082"/>
                  </a:lnTo>
                  <a:lnTo>
                    <a:pt x="257280" y="24881"/>
                  </a:lnTo>
                  <a:lnTo>
                    <a:pt x="258865" y="25787"/>
                  </a:lnTo>
                  <a:lnTo>
                    <a:pt x="261547" y="27732"/>
                  </a:lnTo>
                  <a:lnTo>
                    <a:pt x="264255" y="29982"/>
                  </a:lnTo>
                  <a:lnTo>
                    <a:pt x="266127" y="34594"/>
                  </a:lnTo>
                  <a:lnTo>
                    <a:pt x="269136" y="34834"/>
                  </a:lnTo>
                  <a:lnTo>
                    <a:pt x="269952" y="36419"/>
                  </a:lnTo>
                  <a:lnTo>
                    <a:pt x="272578" y="39132"/>
                  </a:lnTo>
                  <a:lnTo>
                    <a:pt x="276218" y="41522"/>
                  </a:lnTo>
                  <a:lnTo>
                    <a:pt x="276087" y="42326"/>
                  </a:lnTo>
                  <a:lnTo>
                    <a:pt x="273189" y="44525"/>
                  </a:lnTo>
                  <a:lnTo>
                    <a:pt x="272878" y="47502"/>
                  </a:lnTo>
                  <a:lnTo>
                    <a:pt x="273152" y="51297"/>
                  </a:lnTo>
                  <a:lnTo>
                    <a:pt x="274061" y="54386"/>
                  </a:lnTo>
                  <a:lnTo>
                    <a:pt x="273966" y="55288"/>
                  </a:lnTo>
                  <a:lnTo>
                    <a:pt x="273247" y="56351"/>
                  </a:lnTo>
                  <a:lnTo>
                    <a:pt x="272383" y="58019"/>
                  </a:lnTo>
                  <a:lnTo>
                    <a:pt x="272075" y="59473"/>
                  </a:lnTo>
                  <a:lnTo>
                    <a:pt x="272150" y="60186"/>
                  </a:lnTo>
                  <a:lnTo>
                    <a:pt x="272442" y="60573"/>
                  </a:lnTo>
                  <a:lnTo>
                    <a:pt x="273968" y="60602"/>
                  </a:lnTo>
                  <a:lnTo>
                    <a:pt x="276704" y="60945"/>
                  </a:lnTo>
                  <a:lnTo>
                    <a:pt x="278313" y="61590"/>
                  </a:lnTo>
                  <a:lnTo>
                    <a:pt x="279226" y="65128"/>
                  </a:lnTo>
                  <a:lnTo>
                    <a:pt x="278918" y="65807"/>
                  </a:lnTo>
                  <a:lnTo>
                    <a:pt x="276611" y="67406"/>
                  </a:lnTo>
                  <a:lnTo>
                    <a:pt x="275935" y="68675"/>
                  </a:lnTo>
                  <a:lnTo>
                    <a:pt x="275869" y="70538"/>
                  </a:lnTo>
                  <a:lnTo>
                    <a:pt x="276277" y="72584"/>
                  </a:lnTo>
                  <a:lnTo>
                    <a:pt x="277069" y="74871"/>
                  </a:lnTo>
                  <a:lnTo>
                    <a:pt x="278874" y="77315"/>
                  </a:lnTo>
                  <a:lnTo>
                    <a:pt x="281314" y="79867"/>
                  </a:lnTo>
                  <a:lnTo>
                    <a:pt x="282917" y="81958"/>
                  </a:lnTo>
                  <a:lnTo>
                    <a:pt x="283675" y="83430"/>
                  </a:lnTo>
                  <a:lnTo>
                    <a:pt x="283951" y="84458"/>
                  </a:lnTo>
                  <a:lnTo>
                    <a:pt x="282852" y="85750"/>
                  </a:lnTo>
                  <a:lnTo>
                    <a:pt x="281863" y="88303"/>
                  </a:lnTo>
                  <a:lnTo>
                    <a:pt x="281679" y="91223"/>
                  </a:lnTo>
                  <a:lnTo>
                    <a:pt x="281230" y="93125"/>
                  </a:lnTo>
                  <a:lnTo>
                    <a:pt x="279081" y="95739"/>
                  </a:lnTo>
                  <a:lnTo>
                    <a:pt x="277596" y="96665"/>
                  </a:lnTo>
                  <a:lnTo>
                    <a:pt x="277173" y="98043"/>
                  </a:lnTo>
                  <a:lnTo>
                    <a:pt x="276991" y="100353"/>
                  </a:lnTo>
                  <a:lnTo>
                    <a:pt x="277427" y="103166"/>
                  </a:lnTo>
                  <a:lnTo>
                    <a:pt x="277577" y="105065"/>
                  </a:lnTo>
                  <a:lnTo>
                    <a:pt x="278034" y="106431"/>
                  </a:lnTo>
                  <a:lnTo>
                    <a:pt x="278708" y="107322"/>
                  </a:lnTo>
                  <a:lnTo>
                    <a:pt x="282155" y="108897"/>
                  </a:lnTo>
                  <a:lnTo>
                    <a:pt x="284085" y="112118"/>
                  </a:lnTo>
                  <a:lnTo>
                    <a:pt x="285288" y="114698"/>
                  </a:lnTo>
                  <a:lnTo>
                    <a:pt x="287641" y="121435"/>
                  </a:lnTo>
                  <a:lnTo>
                    <a:pt x="281783" y="122275"/>
                  </a:lnTo>
                  <a:lnTo>
                    <a:pt x="277380" y="120588"/>
                  </a:lnTo>
                  <a:lnTo>
                    <a:pt x="275184" y="121433"/>
                  </a:lnTo>
                  <a:lnTo>
                    <a:pt x="271342" y="121469"/>
                  </a:lnTo>
                  <a:lnTo>
                    <a:pt x="266980" y="122133"/>
                  </a:lnTo>
                  <a:lnTo>
                    <a:pt x="265510" y="123452"/>
                  </a:lnTo>
                  <a:lnTo>
                    <a:pt x="264354" y="123982"/>
                  </a:lnTo>
                  <a:lnTo>
                    <a:pt x="260308" y="122120"/>
                  </a:lnTo>
                  <a:lnTo>
                    <a:pt x="256488" y="119040"/>
                  </a:lnTo>
                  <a:lnTo>
                    <a:pt x="253696" y="121389"/>
                  </a:lnTo>
                  <a:lnTo>
                    <a:pt x="251889" y="121834"/>
                  </a:lnTo>
                  <a:lnTo>
                    <a:pt x="250265" y="119708"/>
                  </a:lnTo>
                  <a:lnTo>
                    <a:pt x="248846" y="119363"/>
                  </a:lnTo>
                  <a:lnTo>
                    <a:pt x="248079" y="120072"/>
                  </a:lnTo>
                  <a:lnTo>
                    <a:pt x="247408" y="121949"/>
                  </a:lnTo>
                  <a:lnTo>
                    <a:pt x="246339" y="123425"/>
                  </a:lnTo>
                  <a:lnTo>
                    <a:pt x="246060" y="124359"/>
                  </a:lnTo>
                  <a:lnTo>
                    <a:pt x="245875" y="128120"/>
                  </a:lnTo>
                  <a:lnTo>
                    <a:pt x="245596" y="128991"/>
                  </a:lnTo>
                  <a:lnTo>
                    <a:pt x="241886" y="128505"/>
                  </a:lnTo>
                  <a:lnTo>
                    <a:pt x="242109" y="129491"/>
                  </a:lnTo>
                  <a:lnTo>
                    <a:pt x="242916" y="129987"/>
                  </a:lnTo>
                  <a:lnTo>
                    <a:pt x="243242" y="130612"/>
                  </a:lnTo>
                  <a:lnTo>
                    <a:pt x="241897" y="131433"/>
                  </a:lnTo>
                  <a:lnTo>
                    <a:pt x="238213" y="131356"/>
                  </a:lnTo>
                  <a:lnTo>
                    <a:pt x="237837" y="132227"/>
                  </a:lnTo>
                  <a:lnTo>
                    <a:pt x="238874" y="133603"/>
                  </a:lnTo>
                  <a:lnTo>
                    <a:pt x="238066" y="134807"/>
                  </a:lnTo>
                  <a:lnTo>
                    <a:pt x="237317" y="135281"/>
                  </a:lnTo>
                  <a:lnTo>
                    <a:pt x="232918" y="136028"/>
                  </a:lnTo>
                  <a:lnTo>
                    <a:pt x="230372" y="135857"/>
                  </a:lnTo>
                  <a:lnTo>
                    <a:pt x="229645" y="136636"/>
                  </a:lnTo>
                  <a:lnTo>
                    <a:pt x="229441" y="137647"/>
                  </a:lnTo>
                  <a:lnTo>
                    <a:pt x="229923" y="138639"/>
                  </a:lnTo>
                  <a:lnTo>
                    <a:pt x="231046" y="139167"/>
                  </a:lnTo>
                  <a:lnTo>
                    <a:pt x="231415" y="139796"/>
                  </a:lnTo>
                  <a:lnTo>
                    <a:pt x="231338" y="141158"/>
                  </a:lnTo>
                  <a:lnTo>
                    <a:pt x="230403" y="141405"/>
                  </a:lnTo>
                  <a:lnTo>
                    <a:pt x="227749" y="139012"/>
                  </a:lnTo>
                  <a:lnTo>
                    <a:pt x="226941" y="139135"/>
                  </a:lnTo>
                  <a:lnTo>
                    <a:pt x="227548" y="140380"/>
                  </a:lnTo>
                  <a:lnTo>
                    <a:pt x="229064" y="141736"/>
                  </a:lnTo>
                  <a:lnTo>
                    <a:pt x="229940" y="143120"/>
                  </a:lnTo>
                  <a:lnTo>
                    <a:pt x="230707" y="144785"/>
                  </a:lnTo>
                  <a:lnTo>
                    <a:pt x="230558" y="146046"/>
                  </a:lnTo>
                  <a:lnTo>
                    <a:pt x="227263" y="150112"/>
                  </a:lnTo>
                  <a:lnTo>
                    <a:pt x="224363" y="152677"/>
                  </a:lnTo>
                  <a:lnTo>
                    <a:pt x="222199" y="154984"/>
                  </a:lnTo>
                  <a:lnTo>
                    <a:pt x="220923" y="157427"/>
                  </a:lnTo>
                  <a:lnTo>
                    <a:pt x="222400" y="158658"/>
                  </a:lnTo>
                  <a:lnTo>
                    <a:pt x="224043" y="160431"/>
                  </a:lnTo>
                  <a:lnTo>
                    <a:pt x="225198" y="163837"/>
                  </a:lnTo>
                  <a:lnTo>
                    <a:pt x="226576" y="166868"/>
                  </a:lnTo>
                  <a:lnTo>
                    <a:pt x="229357" y="169760"/>
                  </a:lnTo>
                  <a:lnTo>
                    <a:pt x="228798" y="171430"/>
                  </a:lnTo>
                  <a:lnTo>
                    <a:pt x="228150" y="172728"/>
                  </a:lnTo>
                  <a:lnTo>
                    <a:pt x="223523" y="175583"/>
                  </a:lnTo>
                  <a:lnTo>
                    <a:pt x="218276" y="179878"/>
                  </a:lnTo>
                  <a:lnTo>
                    <a:pt x="212620" y="190827"/>
                  </a:lnTo>
                  <a:lnTo>
                    <a:pt x="210739" y="192290"/>
                  </a:lnTo>
                  <a:lnTo>
                    <a:pt x="205788" y="194137"/>
                  </a:lnTo>
                  <a:lnTo>
                    <a:pt x="203967" y="195923"/>
                  </a:lnTo>
                  <a:lnTo>
                    <a:pt x="200281" y="198045"/>
                  </a:lnTo>
                  <a:lnTo>
                    <a:pt x="193846" y="199865"/>
                  </a:lnTo>
                  <a:lnTo>
                    <a:pt x="190927" y="202400"/>
                  </a:lnTo>
                  <a:lnTo>
                    <a:pt x="189609" y="205019"/>
                  </a:lnTo>
                  <a:lnTo>
                    <a:pt x="188143" y="205205"/>
                  </a:lnTo>
                  <a:lnTo>
                    <a:pt x="186690" y="204182"/>
                  </a:lnTo>
                  <a:lnTo>
                    <a:pt x="184751" y="203420"/>
                  </a:lnTo>
                  <a:lnTo>
                    <a:pt x="184498" y="205128"/>
                  </a:lnTo>
                  <a:lnTo>
                    <a:pt x="184580" y="206381"/>
                  </a:lnTo>
                  <a:lnTo>
                    <a:pt x="181477" y="204524"/>
                  </a:lnTo>
                  <a:lnTo>
                    <a:pt x="180013" y="206227"/>
                  </a:lnTo>
                  <a:lnTo>
                    <a:pt x="178869" y="209070"/>
                  </a:lnTo>
                  <a:lnTo>
                    <a:pt x="174403" y="212891"/>
                  </a:lnTo>
                  <a:lnTo>
                    <a:pt x="169590" y="212204"/>
                  </a:lnTo>
                  <a:lnTo>
                    <a:pt x="169050" y="212878"/>
                  </a:lnTo>
                  <a:lnTo>
                    <a:pt x="170331" y="213366"/>
                  </a:lnTo>
                  <a:lnTo>
                    <a:pt x="170525" y="213976"/>
                  </a:lnTo>
                  <a:lnTo>
                    <a:pt x="169651" y="214301"/>
                  </a:lnTo>
                  <a:lnTo>
                    <a:pt x="168327" y="214267"/>
                  </a:lnTo>
                  <a:lnTo>
                    <a:pt x="166284" y="215021"/>
                  </a:lnTo>
                  <a:lnTo>
                    <a:pt x="164941" y="214962"/>
                  </a:lnTo>
                  <a:lnTo>
                    <a:pt x="164304" y="216765"/>
                  </a:lnTo>
                  <a:lnTo>
                    <a:pt x="163265" y="218950"/>
                  </a:lnTo>
                  <a:lnTo>
                    <a:pt x="160546" y="219854"/>
                  </a:lnTo>
                  <a:lnTo>
                    <a:pt x="159143" y="220040"/>
                  </a:lnTo>
                  <a:lnTo>
                    <a:pt x="158450" y="221281"/>
                  </a:lnTo>
                  <a:lnTo>
                    <a:pt x="162632" y="221541"/>
                  </a:lnTo>
                  <a:lnTo>
                    <a:pt x="162298" y="222591"/>
                  </a:lnTo>
                  <a:lnTo>
                    <a:pt x="162203" y="223640"/>
                  </a:lnTo>
                  <a:lnTo>
                    <a:pt x="161771" y="224765"/>
                  </a:lnTo>
                  <a:lnTo>
                    <a:pt x="157016" y="226384"/>
                  </a:lnTo>
                  <a:lnTo>
                    <a:pt x="156284" y="227659"/>
                  </a:lnTo>
                  <a:lnTo>
                    <a:pt x="155291" y="228449"/>
                  </a:lnTo>
                  <a:lnTo>
                    <a:pt x="153176" y="228404"/>
                  </a:lnTo>
                  <a:lnTo>
                    <a:pt x="153254" y="227668"/>
                  </a:lnTo>
                  <a:lnTo>
                    <a:pt x="153600" y="226835"/>
                  </a:lnTo>
                  <a:lnTo>
                    <a:pt x="150449" y="226910"/>
                  </a:lnTo>
                  <a:lnTo>
                    <a:pt x="149467" y="225080"/>
                  </a:lnTo>
                  <a:lnTo>
                    <a:pt x="148869" y="225549"/>
                  </a:lnTo>
                  <a:lnTo>
                    <a:pt x="149223" y="227026"/>
                  </a:lnTo>
                  <a:lnTo>
                    <a:pt x="150048" y="228561"/>
                  </a:lnTo>
                  <a:lnTo>
                    <a:pt x="150965" y="230809"/>
                  </a:lnTo>
                  <a:lnTo>
                    <a:pt x="150220" y="232230"/>
                  </a:lnTo>
                  <a:lnTo>
                    <a:pt x="149387" y="232934"/>
                  </a:lnTo>
                  <a:lnTo>
                    <a:pt x="149994" y="233584"/>
                  </a:lnTo>
                  <a:lnTo>
                    <a:pt x="151676" y="234079"/>
                  </a:lnTo>
                  <a:lnTo>
                    <a:pt x="152356" y="234966"/>
                  </a:lnTo>
                  <a:lnTo>
                    <a:pt x="150361" y="235726"/>
                  </a:lnTo>
                  <a:lnTo>
                    <a:pt x="147871" y="238333"/>
                  </a:lnTo>
                  <a:lnTo>
                    <a:pt x="145290" y="238397"/>
                  </a:lnTo>
                  <a:lnTo>
                    <a:pt x="143712" y="240117"/>
                  </a:lnTo>
                  <a:lnTo>
                    <a:pt x="142036" y="240111"/>
                  </a:lnTo>
                  <a:lnTo>
                    <a:pt x="140674" y="239028"/>
                  </a:lnTo>
                  <a:lnTo>
                    <a:pt x="138490" y="238138"/>
                  </a:lnTo>
                  <a:lnTo>
                    <a:pt x="137787" y="239707"/>
                  </a:lnTo>
                  <a:lnTo>
                    <a:pt x="137674" y="240954"/>
                  </a:lnTo>
                  <a:lnTo>
                    <a:pt x="138905" y="244105"/>
                  </a:lnTo>
                  <a:lnTo>
                    <a:pt x="141255" y="246541"/>
                  </a:lnTo>
                  <a:lnTo>
                    <a:pt x="143431" y="247592"/>
                  </a:lnTo>
                  <a:lnTo>
                    <a:pt x="141865" y="248301"/>
                  </a:lnTo>
                  <a:lnTo>
                    <a:pt x="140700" y="249875"/>
                  </a:lnTo>
                  <a:lnTo>
                    <a:pt x="139294" y="254783"/>
                  </a:lnTo>
                  <a:lnTo>
                    <a:pt x="138529" y="256712"/>
                  </a:lnTo>
                  <a:lnTo>
                    <a:pt x="137700" y="260113"/>
                  </a:lnTo>
                  <a:lnTo>
                    <a:pt x="138225" y="262978"/>
                  </a:lnTo>
                  <a:lnTo>
                    <a:pt x="138646" y="264385"/>
                  </a:lnTo>
                  <a:lnTo>
                    <a:pt x="139711" y="266294"/>
                  </a:lnTo>
                  <a:lnTo>
                    <a:pt x="136817" y="266048"/>
                  </a:lnTo>
                  <a:lnTo>
                    <a:pt x="133761" y="264933"/>
                  </a:lnTo>
                  <a:lnTo>
                    <a:pt x="134187" y="267248"/>
                  </a:lnTo>
                  <a:lnTo>
                    <a:pt x="132310" y="269981"/>
                  </a:lnTo>
                  <a:lnTo>
                    <a:pt x="132660" y="272389"/>
                  </a:lnTo>
                  <a:lnTo>
                    <a:pt x="133051" y="273956"/>
                  </a:lnTo>
                  <a:lnTo>
                    <a:pt x="132470" y="276546"/>
                  </a:lnTo>
                  <a:lnTo>
                    <a:pt x="133353" y="277359"/>
                  </a:lnTo>
                  <a:lnTo>
                    <a:pt x="133833" y="278899"/>
                  </a:lnTo>
                  <a:lnTo>
                    <a:pt x="133042" y="280036"/>
                  </a:lnTo>
                  <a:lnTo>
                    <a:pt x="133394" y="281014"/>
                  </a:lnTo>
                  <a:lnTo>
                    <a:pt x="133526" y="284473"/>
                  </a:lnTo>
                  <a:lnTo>
                    <a:pt x="134126" y="289873"/>
                  </a:lnTo>
                  <a:lnTo>
                    <a:pt x="133906" y="291014"/>
                  </a:lnTo>
                  <a:lnTo>
                    <a:pt x="135586" y="295695"/>
                  </a:lnTo>
                  <a:lnTo>
                    <a:pt x="135195" y="297333"/>
                  </a:lnTo>
                  <a:lnTo>
                    <a:pt x="134969" y="299419"/>
                  </a:lnTo>
                  <a:lnTo>
                    <a:pt x="137376" y="301421"/>
                  </a:lnTo>
                  <a:lnTo>
                    <a:pt x="139525" y="301389"/>
                  </a:lnTo>
                  <a:lnTo>
                    <a:pt x="141702" y="301358"/>
                  </a:lnTo>
                  <a:lnTo>
                    <a:pt x="142533" y="301860"/>
                  </a:lnTo>
                  <a:lnTo>
                    <a:pt x="143367" y="303275"/>
                  </a:lnTo>
                  <a:lnTo>
                    <a:pt x="144038" y="304945"/>
                  </a:lnTo>
                  <a:lnTo>
                    <a:pt x="145830" y="304807"/>
                  </a:lnTo>
                  <a:lnTo>
                    <a:pt x="148691" y="303448"/>
                  </a:lnTo>
                  <a:lnTo>
                    <a:pt x="150553" y="303124"/>
                  </a:lnTo>
                  <a:lnTo>
                    <a:pt x="151782" y="305736"/>
                  </a:lnTo>
                  <a:lnTo>
                    <a:pt x="155124" y="309182"/>
                  </a:lnTo>
                  <a:lnTo>
                    <a:pt x="157070" y="310724"/>
                  </a:lnTo>
                  <a:lnTo>
                    <a:pt x="160376" y="311535"/>
                  </a:lnTo>
                  <a:lnTo>
                    <a:pt x="163859" y="314308"/>
                  </a:lnTo>
                  <a:lnTo>
                    <a:pt x="163371" y="317646"/>
                  </a:lnTo>
                  <a:lnTo>
                    <a:pt x="164824" y="318760"/>
                  </a:lnTo>
                  <a:lnTo>
                    <a:pt x="168934" y="320076"/>
                  </a:lnTo>
                  <a:lnTo>
                    <a:pt x="170387" y="321849"/>
                  </a:lnTo>
                  <a:lnTo>
                    <a:pt x="171084" y="323359"/>
                  </a:lnTo>
                  <a:lnTo>
                    <a:pt x="172166" y="324611"/>
                  </a:lnTo>
                  <a:lnTo>
                    <a:pt x="173431" y="328388"/>
                  </a:lnTo>
                  <a:lnTo>
                    <a:pt x="172991" y="330712"/>
                  </a:lnTo>
                  <a:lnTo>
                    <a:pt x="171335" y="331510"/>
                  </a:lnTo>
                  <a:lnTo>
                    <a:pt x="167424" y="333997"/>
                  </a:lnTo>
                  <a:lnTo>
                    <a:pt x="165681" y="335851"/>
                  </a:lnTo>
                  <a:lnTo>
                    <a:pt x="164314" y="337006"/>
                  </a:lnTo>
                  <a:lnTo>
                    <a:pt x="160430" y="339479"/>
                  </a:lnTo>
                  <a:lnTo>
                    <a:pt x="159007" y="339923"/>
                  </a:lnTo>
                  <a:lnTo>
                    <a:pt x="157644" y="341207"/>
                  </a:lnTo>
                  <a:lnTo>
                    <a:pt x="156327" y="341769"/>
                  </a:lnTo>
                  <a:lnTo>
                    <a:pt x="155148" y="341446"/>
                  </a:lnTo>
                  <a:lnTo>
                    <a:pt x="150740" y="343770"/>
                  </a:lnTo>
                  <a:lnTo>
                    <a:pt x="151084" y="344762"/>
                  </a:lnTo>
                  <a:lnTo>
                    <a:pt x="154464" y="345182"/>
                  </a:lnTo>
                  <a:lnTo>
                    <a:pt x="156187" y="344684"/>
                  </a:lnTo>
                  <a:lnTo>
                    <a:pt x="157513" y="343516"/>
                  </a:lnTo>
                  <a:lnTo>
                    <a:pt x="158961" y="343248"/>
                  </a:lnTo>
                  <a:lnTo>
                    <a:pt x="160283" y="343468"/>
                  </a:lnTo>
                  <a:lnTo>
                    <a:pt x="161684" y="342548"/>
                  </a:lnTo>
                  <a:lnTo>
                    <a:pt x="162784" y="342180"/>
                  </a:lnTo>
                  <a:lnTo>
                    <a:pt x="163920" y="342621"/>
                  </a:lnTo>
                  <a:lnTo>
                    <a:pt x="165187" y="344828"/>
                  </a:lnTo>
                  <a:lnTo>
                    <a:pt x="162557" y="345976"/>
                  </a:lnTo>
                  <a:lnTo>
                    <a:pt x="160691" y="346028"/>
                  </a:lnTo>
                  <a:lnTo>
                    <a:pt x="159780" y="349640"/>
                  </a:lnTo>
                  <a:lnTo>
                    <a:pt x="158650" y="351190"/>
                  </a:lnTo>
                  <a:lnTo>
                    <a:pt x="157841" y="351935"/>
                  </a:lnTo>
                  <a:lnTo>
                    <a:pt x="153701" y="353469"/>
                  </a:lnTo>
                  <a:lnTo>
                    <a:pt x="150970" y="355412"/>
                  </a:lnTo>
                  <a:lnTo>
                    <a:pt x="147750" y="356975"/>
                  </a:lnTo>
                  <a:lnTo>
                    <a:pt x="146344" y="356635"/>
                  </a:lnTo>
                  <a:lnTo>
                    <a:pt x="144226" y="358223"/>
                  </a:lnTo>
                  <a:lnTo>
                    <a:pt x="139518" y="360101"/>
                  </a:lnTo>
                  <a:lnTo>
                    <a:pt x="137106" y="362629"/>
                  </a:lnTo>
                  <a:lnTo>
                    <a:pt x="131693" y="364888"/>
                  </a:lnTo>
                  <a:lnTo>
                    <a:pt x="128935" y="366724"/>
                  </a:lnTo>
                  <a:lnTo>
                    <a:pt x="121444" y="366820"/>
                  </a:lnTo>
                  <a:lnTo>
                    <a:pt x="114290" y="366417"/>
                  </a:lnTo>
                  <a:lnTo>
                    <a:pt x="112044" y="367290"/>
                  </a:lnTo>
                  <a:lnTo>
                    <a:pt x="114340" y="367560"/>
                  </a:lnTo>
                  <a:lnTo>
                    <a:pt x="115948" y="368416"/>
                  </a:lnTo>
                  <a:lnTo>
                    <a:pt x="117877" y="368059"/>
                  </a:lnTo>
                  <a:lnTo>
                    <a:pt x="122410" y="368487"/>
                  </a:lnTo>
                  <a:lnTo>
                    <a:pt x="124742" y="368953"/>
                  </a:lnTo>
                  <a:lnTo>
                    <a:pt x="127735" y="371949"/>
                  </a:lnTo>
                  <a:lnTo>
                    <a:pt x="125534" y="373013"/>
                  </a:lnTo>
                  <a:lnTo>
                    <a:pt x="121723" y="373829"/>
                  </a:lnTo>
                  <a:lnTo>
                    <a:pt x="123152" y="378067"/>
                  </a:lnTo>
                  <a:lnTo>
                    <a:pt x="124331" y="380919"/>
                  </a:lnTo>
                  <a:lnTo>
                    <a:pt x="122788" y="382639"/>
                  </a:lnTo>
                  <a:lnTo>
                    <a:pt x="122673" y="390443"/>
                  </a:lnTo>
                  <a:lnTo>
                    <a:pt x="120507" y="390592"/>
                  </a:lnTo>
                  <a:lnTo>
                    <a:pt x="119587" y="393812"/>
                  </a:lnTo>
                  <a:lnTo>
                    <a:pt x="120269" y="395452"/>
                  </a:lnTo>
                  <a:lnTo>
                    <a:pt x="120216" y="399257"/>
                  </a:lnTo>
                  <a:lnTo>
                    <a:pt x="120667" y="401599"/>
                  </a:lnTo>
                  <a:lnTo>
                    <a:pt x="121729" y="403752"/>
                  </a:lnTo>
                  <a:lnTo>
                    <a:pt x="121256" y="405996"/>
                  </a:lnTo>
                  <a:lnTo>
                    <a:pt x="117832" y="411238"/>
                  </a:lnTo>
                  <a:lnTo>
                    <a:pt x="117910" y="413693"/>
                  </a:lnTo>
                  <a:lnTo>
                    <a:pt x="118525" y="415150"/>
                  </a:lnTo>
                  <a:lnTo>
                    <a:pt x="118980" y="417477"/>
                  </a:lnTo>
                  <a:lnTo>
                    <a:pt x="117424" y="421945"/>
                  </a:lnTo>
                  <a:lnTo>
                    <a:pt x="116324" y="425671"/>
                  </a:lnTo>
                  <a:lnTo>
                    <a:pt x="115018" y="428802"/>
                  </a:lnTo>
                  <a:lnTo>
                    <a:pt x="112094" y="432553"/>
                  </a:lnTo>
                  <a:lnTo>
                    <a:pt x="110639" y="435353"/>
                  </a:lnTo>
                  <a:lnTo>
                    <a:pt x="107233" y="444067"/>
                  </a:lnTo>
                  <a:lnTo>
                    <a:pt x="105545" y="445792"/>
                  </a:lnTo>
                  <a:lnTo>
                    <a:pt x="103474" y="447117"/>
                  </a:lnTo>
                  <a:lnTo>
                    <a:pt x="101166" y="445891"/>
                  </a:lnTo>
                  <a:lnTo>
                    <a:pt x="99049" y="445223"/>
                  </a:lnTo>
                  <a:lnTo>
                    <a:pt x="96464" y="445304"/>
                  </a:lnTo>
                  <a:lnTo>
                    <a:pt x="92416" y="446309"/>
                  </a:lnTo>
                  <a:lnTo>
                    <a:pt x="86326" y="445641"/>
                  </a:lnTo>
                  <a:lnTo>
                    <a:pt x="80375" y="445963"/>
                  </a:lnTo>
                  <a:lnTo>
                    <a:pt x="78870" y="446831"/>
                  </a:lnTo>
                  <a:lnTo>
                    <a:pt x="79772" y="449981"/>
                  </a:lnTo>
                  <a:lnTo>
                    <a:pt x="77579" y="450394"/>
                  </a:lnTo>
                  <a:lnTo>
                    <a:pt x="75434" y="449498"/>
                  </a:lnTo>
                  <a:lnTo>
                    <a:pt x="73547" y="450567"/>
                  </a:lnTo>
                  <a:lnTo>
                    <a:pt x="71970" y="451739"/>
                  </a:lnTo>
                  <a:lnTo>
                    <a:pt x="68874" y="454516"/>
                  </a:lnTo>
                  <a:lnTo>
                    <a:pt x="67837" y="456225"/>
                  </a:lnTo>
                  <a:lnTo>
                    <a:pt x="67570" y="459439"/>
                  </a:lnTo>
                  <a:lnTo>
                    <a:pt x="69196" y="462318"/>
                  </a:lnTo>
                  <a:lnTo>
                    <a:pt x="70638" y="465684"/>
                  </a:lnTo>
                  <a:lnTo>
                    <a:pt x="66924" y="469739"/>
                  </a:lnTo>
                  <a:lnTo>
                    <a:pt x="64851" y="469876"/>
                  </a:lnTo>
                  <a:lnTo>
                    <a:pt x="58800" y="468752"/>
                  </a:lnTo>
                  <a:lnTo>
                    <a:pt x="48077" y="471291"/>
                  </a:lnTo>
                  <a:lnTo>
                    <a:pt x="38446" y="469283"/>
                  </a:lnTo>
                  <a:lnTo>
                    <a:pt x="39657" y="467112"/>
                  </a:lnTo>
                  <a:lnTo>
                    <a:pt x="39617" y="465514"/>
                  </a:lnTo>
                  <a:lnTo>
                    <a:pt x="40161" y="463055"/>
                  </a:lnTo>
                  <a:lnTo>
                    <a:pt x="40484" y="460536"/>
                  </a:lnTo>
                  <a:lnTo>
                    <a:pt x="40394" y="458849"/>
                  </a:lnTo>
                  <a:lnTo>
                    <a:pt x="39688" y="457050"/>
                  </a:lnTo>
                  <a:lnTo>
                    <a:pt x="37313" y="454694"/>
                  </a:lnTo>
                  <a:lnTo>
                    <a:pt x="31961" y="446722"/>
                  </a:lnTo>
                  <a:lnTo>
                    <a:pt x="30378" y="443349"/>
                  </a:lnTo>
                  <a:lnTo>
                    <a:pt x="29277" y="441942"/>
                  </a:lnTo>
                  <a:lnTo>
                    <a:pt x="30070" y="441866"/>
                  </a:lnTo>
                  <a:lnTo>
                    <a:pt x="34477" y="443679"/>
                  </a:lnTo>
                  <a:lnTo>
                    <a:pt x="35505" y="443456"/>
                  </a:lnTo>
                  <a:lnTo>
                    <a:pt x="36585" y="442775"/>
                  </a:lnTo>
                  <a:lnTo>
                    <a:pt x="35270" y="440179"/>
                  </a:lnTo>
                  <a:lnTo>
                    <a:pt x="34140" y="439003"/>
                  </a:lnTo>
                  <a:lnTo>
                    <a:pt x="33374" y="437243"/>
                  </a:lnTo>
                  <a:lnTo>
                    <a:pt x="35954" y="436767"/>
                  </a:lnTo>
                  <a:lnTo>
                    <a:pt x="37818" y="436872"/>
                  </a:lnTo>
                  <a:lnTo>
                    <a:pt x="39191" y="434890"/>
                  </a:lnTo>
                  <a:lnTo>
                    <a:pt x="38399" y="431681"/>
                  </a:lnTo>
                  <a:lnTo>
                    <a:pt x="36397" y="430693"/>
                  </a:lnTo>
                  <a:lnTo>
                    <a:pt x="34725" y="430263"/>
                  </a:lnTo>
                  <a:lnTo>
                    <a:pt x="31521" y="425210"/>
                  </a:lnTo>
                  <a:lnTo>
                    <a:pt x="28178" y="422589"/>
                  </a:lnTo>
                  <a:lnTo>
                    <a:pt x="22216" y="412449"/>
                  </a:lnTo>
                  <a:lnTo>
                    <a:pt x="20035" y="405461"/>
                  </a:lnTo>
                  <a:lnTo>
                    <a:pt x="18008" y="406126"/>
                  </a:lnTo>
                  <a:lnTo>
                    <a:pt x="17023" y="403076"/>
                  </a:lnTo>
                  <a:lnTo>
                    <a:pt x="16317" y="400184"/>
                  </a:lnTo>
                  <a:lnTo>
                    <a:pt x="16176" y="398055"/>
                  </a:lnTo>
                  <a:lnTo>
                    <a:pt x="12998" y="396834"/>
                  </a:lnTo>
                  <a:lnTo>
                    <a:pt x="12868" y="395340"/>
                  </a:lnTo>
                  <a:lnTo>
                    <a:pt x="12296" y="388660"/>
                  </a:lnTo>
                  <a:lnTo>
                    <a:pt x="8886" y="387761"/>
                  </a:lnTo>
                  <a:lnTo>
                    <a:pt x="6681" y="384002"/>
                  </a:lnTo>
                  <a:lnTo>
                    <a:pt x="6288" y="376872"/>
                  </a:lnTo>
                  <a:lnTo>
                    <a:pt x="4043" y="375571"/>
                  </a:lnTo>
                  <a:lnTo>
                    <a:pt x="2235" y="375932"/>
                  </a:lnTo>
                  <a:lnTo>
                    <a:pt x="2320" y="374160"/>
                  </a:lnTo>
                  <a:lnTo>
                    <a:pt x="2751" y="372496"/>
                  </a:lnTo>
                  <a:lnTo>
                    <a:pt x="1696" y="365889"/>
                  </a:lnTo>
                  <a:lnTo>
                    <a:pt x="1343" y="359841"/>
                  </a:lnTo>
                  <a:lnTo>
                    <a:pt x="486" y="358012"/>
                  </a:lnTo>
                  <a:lnTo>
                    <a:pt x="0" y="355868"/>
                  </a:lnTo>
                  <a:lnTo>
                    <a:pt x="436" y="354014"/>
                  </a:lnTo>
                  <a:lnTo>
                    <a:pt x="1076" y="352949"/>
                  </a:lnTo>
                  <a:lnTo>
                    <a:pt x="3276" y="352669"/>
                  </a:lnTo>
                  <a:lnTo>
                    <a:pt x="5332" y="354309"/>
                  </a:lnTo>
                  <a:lnTo>
                    <a:pt x="7154" y="358440"/>
                  </a:lnTo>
                  <a:lnTo>
                    <a:pt x="8765" y="358977"/>
                  </a:lnTo>
                  <a:lnTo>
                    <a:pt x="10959" y="357902"/>
                  </a:lnTo>
                  <a:lnTo>
                    <a:pt x="12495" y="354890"/>
                  </a:lnTo>
                  <a:lnTo>
                    <a:pt x="13371" y="350363"/>
                  </a:lnTo>
                  <a:lnTo>
                    <a:pt x="14395" y="346042"/>
                  </a:lnTo>
                  <a:lnTo>
                    <a:pt x="13183" y="341411"/>
                  </a:lnTo>
                  <a:lnTo>
                    <a:pt x="11890" y="337334"/>
                  </a:lnTo>
                  <a:lnTo>
                    <a:pt x="11799" y="336135"/>
                  </a:lnTo>
                  <a:lnTo>
                    <a:pt x="15194" y="332688"/>
                  </a:lnTo>
                  <a:lnTo>
                    <a:pt x="16232" y="329881"/>
                  </a:lnTo>
                  <a:lnTo>
                    <a:pt x="17358" y="327204"/>
                  </a:lnTo>
                  <a:lnTo>
                    <a:pt x="18599" y="326293"/>
                  </a:lnTo>
                  <a:lnTo>
                    <a:pt x="20448" y="326085"/>
                  </a:lnTo>
                  <a:lnTo>
                    <a:pt x="22601" y="325581"/>
                  </a:lnTo>
                  <a:lnTo>
                    <a:pt x="25315" y="323786"/>
                  </a:lnTo>
                  <a:lnTo>
                    <a:pt x="27748" y="321381"/>
                  </a:lnTo>
                  <a:lnTo>
                    <a:pt x="29608" y="319172"/>
                  </a:lnTo>
                  <a:lnTo>
                    <a:pt x="30238" y="314796"/>
                  </a:lnTo>
                  <a:lnTo>
                    <a:pt x="30264" y="312594"/>
                  </a:lnTo>
                  <a:lnTo>
                    <a:pt x="31083" y="310957"/>
                  </a:lnTo>
                  <a:lnTo>
                    <a:pt x="31875" y="307757"/>
                  </a:lnTo>
                  <a:lnTo>
                    <a:pt x="31104" y="304595"/>
                  </a:lnTo>
                  <a:lnTo>
                    <a:pt x="28705" y="299791"/>
                  </a:lnTo>
                  <a:lnTo>
                    <a:pt x="25816" y="293016"/>
                  </a:lnTo>
                  <a:lnTo>
                    <a:pt x="25362" y="289308"/>
                  </a:lnTo>
                  <a:lnTo>
                    <a:pt x="26679" y="288619"/>
                  </a:lnTo>
                  <a:lnTo>
                    <a:pt x="29198" y="288004"/>
                  </a:lnTo>
                  <a:lnTo>
                    <a:pt x="33961" y="287826"/>
                  </a:lnTo>
                  <a:lnTo>
                    <a:pt x="34471" y="287388"/>
                  </a:lnTo>
                  <a:lnTo>
                    <a:pt x="34952" y="285761"/>
                  </a:lnTo>
                  <a:lnTo>
                    <a:pt x="36025" y="283550"/>
                  </a:lnTo>
                  <a:lnTo>
                    <a:pt x="37172" y="281938"/>
                  </a:lnTo>
                  <a:lnTo>
                    <a:pt x="37956" y="279631"/>
                  </a:lnTo>
                  <a:lnTo>
                    <a:pt x="38334" y="277538"/>
                  </a:lnTo>
                  <a:lnTo>
                    <a:pt x="35609" y="274382"/>
                  </a:lnTo>
                  <a:lnTo>
                    <a:pt x="32039" y="271147"/>
                  </a:lnTo>
                  <a:lnTo>
                    <a:pt x="29623" y="270074"/>
                  </a:lnTo>
                  <a:lnTo>
                    <a:pt x="25317" y="267346"/>
                  </a:lnTo>
                  <a:lnTo>
                    <a:pt x="22294" y="265062"/>
                  </a:lnTo>
                  <a:lnTo>
                    <a:pt x="24026" y="256346"/>
                  </a:lnTo>
                  <a:lnTo>
                    <a:pt x="25315" y="249836"/>
                  </a:lnTo>
                  <a:lnTo>
                    <a:pt x="25522" y="248251"/>
                  </a:lnTo>
                  <a:lnTo>
                    <a:pt x="25570" y="245790"/>
                  </a:lnTo>
                  <a:lnTo>
                    <a:pt x="21391" y="235264"/>
                  </a:lnTo>
                  <a:lnTo>
                    <a:pt x="21553" y="232916"/>
                  </a:lnTo>
                  <a:lnTo>
                    <a:pt x="21951" y="230799"/>
                  </a:lnTo>
                  <a:lnTo>
                    <a:pt x="21503" y="227185"/>
                  </a:lnTo>
                  <a:lnTo>
                    <a:pt x="21260" y="223946"/>
                  </a:lnTo>
                  <a:lnTo>
                    <a:pt x="21977" y="222963"/>
                  </a:lnTo>
                  <a:lnTo>
                    <a:pt x="23682" y="221133"/>
                  </a:lnTo>
                  <a:lnTo>
                    <a:pt x="22056" y="218291"/>
                  </a:lnTo>
                  <a:lnTo>
                    <a:pt x="21925" y="218060"/>
                  </a:lnTo>
                  <a:lnTo>
                    <a:pt x="18856" y="211011"/>
                  </a:lnTo>
                  <a:lnTo>
                    <a:pt x="23549" y="204008"/>
                  </a:lnTo>
                  <a:lnTo>
                    <a:pt x="22732" y="200377"/>
                  </a:lnTo>
                  <a:lnTo>
                    <a:pt x="25535" y="197738"/>
                  </a:lnTo>
                  <a:lnTo>
                    <a:pt x="30638" y="191681"/>
                  </a:lnTo>
                  <a:lnTo>
                    <a:pt x="33508" y="188267"/>
                  </a:lnTo>
                  <a:lnTo>
                    <a:pt x="34117" y="187670"/>
                  </a:lnTo>
                  <a:lnTo>
                    <a:pt x="36388" y="186168"/>
                  </a:lnTo>
                  <a:lnTo>
                    <a:pt x="40696" y="184385"/>
                  </a:lnTo>
                  <a:lnTo>
                    <a:pt x="45471" y="183516"/>
                  </a:lnTo>
                  <a:lnTo>
                    <a:pt x="47596" y="183527"/>
                  </a:lnTo>
                  <a:lnTo>
                    <a:pt x="55801" y="184734"/>
                  </a:lnTo>
                  <a:lnTo>
                    <a:pt x="62210" y="185673"/>
                  </a:lnTo>
                  <a:lnTo>
                    <a:pt x="63143" y="184730"/>
                  </a:lnTo>
                  <a:lnTo>
                    <a:pt x="64482" y="182795"/>
                  </a:lnTo>
                  <a:lnTo>
                    <a:pt x="66205" y="180035"/>
                  </a:lnTo>
                  <a:lnTo>
                    <a:pt x="66356" y="176962"/>
                  </a:lnTo>
                  <a:lnTo>
                    <a:pt x="65734" y="172439"/>
                  </a:lnTo>
                  <a:lnTo>
                    <a:pt x="64799" y="169727"/>
                  </a:lnTo>
                  <a:lnTo>
                    <a:pt x="60286" y="167963"/>
                  </a:lnTo>
                  <a:lnTo>
                    <a:pt x="55350" y="165542"/>
                  </a:lnTo>
                  <a:lnTo>
                    <a:pt x="61420" y="157854"/>
                  </a:lnTo>
                  <a:lnTo>
                    <a:pt x="65629" y="152501"/>
                  </a:lnTo>
                  <a:lnTo>
                    <a:pt x="70876" y="144422"/>
                  </a:lnTo>
                  <a:lnTo>
                    <a:pt x="72508" y="141051"/>
                  </a:lnTo>
                  <a:lnTo>
                    <a:pt x="73689" y="139711"/>
                  </a:lnTo>
                  <a:lnTo>
                    <a:pt x="75233" y="127217"/>
                  </a:lnTo>
                  <a:lnTo>
                    <a:pt x="76257" y="123708"/>
                  </a:lnTo>
                  <a:lnTo>
                    <a:pt x="77114" y="121873"/>
                  </a:lnTo>
                  <a:lnTo>
                    <a:pt x="77127" y="119986"/>
                  </a:lnTo>
                  <a:lnTo>
                    <a:pt x="76570" y="116802"/>
                  </a:lnTo>
                  <a:lnTo>
                    <a:pt x="75095" y="109590"/>
                  </a:lnTo>
                  <a:lnTo>
                    <a:pt x="83381" y="108696"/>
                  </a:lnTo>
                  <a:lnTo>
                    <a:pt x="86080" y="108190"/>
                  </a:lnTo>
                  <a:lnTo>
                    <a:pt x="88585" y="107326"/>
                  </a:lnTo>
                  <a:lnTo>
                    <a:pt x="93485" y="105086"/>
                  </a:lnTo>
                  <a:lnTo>
                    <a:pt x="95892" y="103105"/>
                  </a:lnTo>
                  <a:lnTo>
                    <a:pt x="94547" y="96329"/>
                  </a:lnTo>
                  <a:lnTo>
                    <a:pt x="97512" y="94031"/>
                  </a:lnTo>
                  <a:lnTo>
                    <a:pt x="104746" y="86006"/>
                  </a:lnTo>
                  <a:lnTo>
                    <a:pt x="112563" y="78290"/>
                  </a:lnTo>
                  <a:lnTo>
                    <a:pt x="116229" y="75362"/>
                  </a:lnTo>
                  <a:lnTo>
                    <a:pt x="116609" y="73929"/>
                  </a:lnTo>
                  <a:lnTo>
                    <a:pt x="116910" y="71624"/>
                  </a:lnTo>
                  <a:lnTo>
                    <a:pt x="115281" y="67999"/>
                  </a:lnTo>
                  <a:lnTo>
                    <a:pt x="113532" y="65749"/>
                  </a:lnTo>
                  <a:lnTo>
                    <a:pt x="110125" y="61479"/>
                  </a:lnTo>
                  <a:lnTo>
                    <a:pt x="111587" y="58496"/>
                  </a:lnTo>
                  <a:lnTo>
                    <a:pt x="114098" y="57916"/>
                  </a:lnTo>
                  <a:lnTo>
                    <a:pt x="117415" y="56743"/>
                  </a:lnTo>
                  <a:lnTo>
                    <a:pt x="120002" y="54187"/>
                  </a:lnTo>
                  <a:lnTo>
                    <a:pt x="120254" y="53858"/>
                  </a:lnTo>
                  <a:lnTo>
                    <a:pt x="124634" y="43774"/>
                  </a:lnTo>
                  <a:lnTo>
                    <a:pt x="133189" y="38646"/>
                  </a:lnTo>
                  <a:lnTo>
                    <a:pt x="136597" y="35843"/>
                  </a:lnTo>
                  <a:lnTo>
                    <a:pt x="141907" y="37949"/>
                  </a:lnTo>
                  <a:lnTo>
                    <a:pt x="149689" y="41124"/>
                  </a:lnTo>
                  <a:lnTo>
                    <a:pt x="153150" y="36451"/>
                  </a:lnTo>
                  <a:lnTo>
                    <a:pt x="154295" y="34715"/>
                  </a:lnTo>
                  <a:lnTo>
                    <a:pt x="155437" y="32154"/>
                  </a:lnTo>
                  <a:lnTo>
                    <a:pt x="154979" y="27717"/>
                  </a:lnTo>
                  <a:lnTo>
                    <a:pt x="154783" y="21940"/>
                  </a:lnTo>
                  <a:lnTo>
                    <a:pt x="155126" y="19614"/>
                  </a:lnTo>
                  <a:lnTo>
                    <a:pt x="158232" y="18577"/>
                  </a:lnTo>
                  <a:lnTo>
                    <a:pt x="159903" y="18309"/>
                  </a:lnTo>
                  <a:lnTo>
                    <a:pt x="168553" y="20702"/>
                  </a:lnTo>
                  <a:lnTo>
                    <a:pt x="170730" y="20661"/>
                  </a:lnTo>
                  <a:lnTo>
                    <a:pt x="174807" y="20983"/>
                  </a:lnTo>
                  <a:lnTo>
                    <a:pt x="179370" y="22034"/>
                  </a:lnTo>
                  <a:lnTo>
                    <a:pt x="188927" y="24826"/>
                  </a:lnTo>
                  <a:lnTo>
                    <a:pt x="192881" y="25981"/>
                  </a:lnTo>
                  <a:lnTo>
                    <a:pt x="195088" y="26205"/>
                  </a:lnTo>
                  <a:lnTo>
                    <a:pt x="196993" y="24905"/>
                  </a:lnTo>
                  <a:lnTo>
                    <a:pt x="201063" y="21566"/>
                  </a:lnTo>
                  <a:lnTo>
                    <a:pt x="195066" y="19091"/>
                  </a:lnTo>
                  <a:lnTo>
                    <a:pt x="199016" y="16583"/>
                  </a:lnTo>
                  <a:lnTo>
                    <a:pt x="201063" y="14051"/>
                  </a:lnTo>
                  <a:lnTo>
                    <a:pt x="202819" y="10934"/>
                  </a:lnTo>
                  <a:lnTo>
                    <a:pt x="203451" y="7280"/>
                  </a:lnTo>
                  <a:lnTo>
                    <a:pt x="203209" y="5312"/>
                  </a:lnTo>
                  <a:lnTo>
                    <a:pt x="201998" y="3971"/>
                  </a:lnTo>
                  <a:lnTo>
                    <a:pt x="198336" y="619"/>
                  </a:lnTo>
                  <a:lnTo>
                    <a:pt x="206634" y="138"/>
                  </a:lnTo>
                  <a:close/>
                </a:path>
              </a:pathLst>
            </a:custGeom>
            <a:solidFill>
              <a:srgbClr val="C7CDD0"/>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AT" sz="1600" err="1">
                <a:solidFill>
                  <a:schemeClr val="tx1"/>
                </a:solidFill>
                <a:latin typeface="Calibri" panose="020F0502020204030204" pitchFamily="34" charset="0"/>
                <a:cs typeface="Calibri" panose="020F0502020204030204" pitchFamily="34" charset="0"/>
              </a:endParaRPr>
            </a:p>
          </p:txBody>
        </p:sp>
        <p:sp>
          <p:nvSpPr>
            <p:cNvPr id="109" name="ee4p_UA_1_86241">
              <a:extLst>
                <a:ext uri="{FF2B5EF4-FFF2-40B4-BE49-F238E27FC236}">
                  <a16:creationId xmlns:a16="http://schemas.microsoft.com/office/drawing/2014/main" id="{FD4D1412-B5EB-4BE3-872F-26963A754A3F}"/>
                </a:ext>
              </a:extLst>
            </p:cNvPr>
            <p:cNvSpPr>
              <a:spLocks noChangeAspect="1"/>
            </p:cNvSpPr>
            <p:nvPr>
              <p:custDataLst>
                <p:tags r:id="rId47"/>
              </p:custDataLst>
            </p:nvPr>
          </p:nvSpPr>
          <p:spPr>
            <a:xfrm>
              <a:off x="7595097" y="2826189"/>
              <a:ext cx="1206003" cy="702859"/>
            </a:xfrm>
            <a:custGeom>
              <a:avLst/>
              <a:gdLst>
                <a:gd name="connsiteX0" fmla="*/ 207344 w 397940"/>
                <a:gd name="connsiteY0" fmla="*/ 171473 h 225957"/>
                <a:gd name="connsiteX1" fmla="*/ 209026 w 397940"/>
                <a:gd name="connsiteY1" fmla="*/ 173412 h 225957"/>
                <a:gd name="connsiteX2" fmla="*/ 210212 w 397940"/>
                <a:gd name="connsiteY2" fmla="*/ 174260 h 225957"/>
                <a:gd name="connsiteX3" fmla="*/ 218475 w 397940"/>
                <a:gd name="connsiteY3" fmla="*/ 176160 h 225957"/>
                <a:gd name="connsiteX4" fmla="*/ 221524 w 397940"/>
                <a:gd name="connsiteY4" fmla="*/ 177522 h 225957"/>
                <a:gd name="connsiteX5" fmla="*/ 218413 w 397940"/>
                <a:gd name="connsiteY5" fmla="*/ 177159 h 225957"/>
                <a:gd name="connsiteX6" fmla="*/ 211576 w 397940"/>
                <a:gd name="connsiteY6" fmla="*/ 175879 h 225957"/>
                <a:gd name="connsiteX7" fmla="*/ 208562 w 397940"/>
                <a:gd name="connsiteY7" fmla="*/ 174670 h 225957"/>
                <a:gd name="connsiteX8" fmla="*/ 207784 w 397940"/>
                <a:gd name="connsiteY8" fmla="*/ 173318 h 225957"/>
                <a:gd name="connsiteX9" fmla="*/ 246666 w 397940"/>
                <a:gd name="connsiteY9" fmla="*/ 0 h 225957"/>
                <a:gd name="connsiteX10" fmla="*/ 250309 w 397940"/>
                <a:gd name="connsiteY10" fmla="*/ 587 h 225957"/>
                <a:gd name="connsiteX11" fmla="*/ 253881 w 397940"/>
                <a:gd name="connsiteY11" fmla="*/ 622 h 225957"/>
                <a:gd name="connsiteX12" fmla="*/ 256576 w 397940"/>
                <a:gd name="connsiteY12" fmla="*/ 261 h 225957"/>
                <a:gd name="connsiteX13" fmla="*/ 258424 w 397940"/>
                <a:gd name="connsiteY13" fmla="*/ 1126 h 225957"/>
                <a:gd name="connsiteX14" fmla="*/ 260707 w 397940"/>
                <a:gd name="connsiteY14" fmla="*/ 3030 h 225957"/>
                <a:gd name="connsiteX15" fmla="*/ 262769 w 397940"/>
                <a:gd name="connsiteY15" fmla="*/ 5862 h 225957"/>
                <a:gd name="connsiteX16" fmla="*/ 264930 w 397940"/>
                <a:gd name="connsiteY16" fmla="*/ 11080 h 225957"/>
                <a:gd name="connsiteX17" fmla="*/ 271227 w 397940"/>
                <a:gd name="connsiteY17" fmla="*/ 16962 h 225957"/>
                <a:gd name="connsiteX18" fmla="*/ 271335 w 397940"/>
                <a:gd name="connsiteY18" fmla="*/ 18109 h 225957"/>
                <a:gd name="connsiteX19" fmla="*/ 270817 w 397940"/>
                <a:gd name="connsiteY19" fmla="*/ 18846 h 225957"/>
                <a:gd name="connsiteX20" fmla="*/ 267718 w 397940"/>
                <a:gd name="connsiteY20" fmla="*/ 19561 h 225957"/>
                <a:gd name="connsiteX21" fmla="*/ 265107 w 397940"/>
                <a:gd name="connsiteY21" fmla="*/ 19946 h 225957"/>
                <a:gd name="connsiteX22" fmla="*/ 264982 w 397940"/>
                <a:gd name="connsiteY22" fmla="*/ 20953 h 225957"/>
                <a:gd name="connsiteX23" fmla="*/ 265675 w 397940"/>
                <a:gd name="connsiteY23" fmla="*/ 22042 h 225957"/>
                <a:gd name="connsiteX24" fmla="*/ 266872 w 397940"/>
                <a:gd name="connsiteY24" fmla="*/ 23635 h 225957"/>
                <a:gd name="connsiteX25" fmla="*/ 267057 w 397940"/>
                <a:gd name="connsiteY25" fmla="*/ 25685 h 225957"/>
                <a:gd name="connsiteX26" fmla="*/ 266997 w 397940"/>
                <a:gd name="connsiteY26" fmla="*/ 27569 h 225957"/>
                <a:gd name="connsiteX27" fmla="*/ 267513 w 397940"/>
                <a:gd name="connsiteY27" fmla="*/ 29233 h 225957"/>
                <a:gd name="connsiteX28" fmla="*/ 268511 w 397940"/>
                <a:gd name="connsiteY28" fmla="*/ 29909 h 225957"/>
                <a:gd name="connsiteX29" fmla="*/ 268636 w 397940"/>
                <a:gd name="connsiteY29" fmla="*/ 30745 h 225957"/>
                <a:gd name="connsiteX30" fmla="*/ 267481 w 397940"/>
                <a:gd name="connsiteY30" fmla="*/ 31766 h 225957"/>
                <a:gd name="connsiteX31" fmla="*/ 267159 w 397940"/>
                <a:gd name="connsiteY31" fmla="*/ 32396 h 225957"/>
                <a:gd name="connsiteX32" fmla="*/ 267608 w 397940"/>
                <a:gd name="connsiteY32" fmla="*/ 32735 h 225957"/>
                <a:gd name="connsiteX33" fmla="*/ 273287 w 397940"/>
                <a:gd name="connsiteY33" fmla="*/ 32932 h 225957"/>
                <a:gd name="connsiteX34" fmla="*/ 276068 w 397940"/>
                <a:gd name="connsiteY34" fmla="*/ 33926 h 225957"/>
                <a:gd name="connsiteX35" fmla="*/ 278180 w 397940"/>
                <a:gd name="connsiteY35" fmla="*/ 34831 h 225957"/>
                <a:gd name="connsiteX36" fmla="*/ 279243 w 397940"/>
                <a:gd name="connsiteY36" fmla="*/ 34915 h 225957"/>
                <a:gd name="connsiteX37" fmla="*/ 281635 w 397940"/>
                <a:gd name="connsiteY37" fmla="*/ 34333 h 225957"/>
                <a:gd name="connsiteX38" fmla="*/ 284326 w 397940"/>
                <a:gd name="connsiteY38" fmla="*/ 33966 h 225957"/>
                <a:gd name="connsiteX39" fmla="*/ 285958 w 397940"/>
                <a:gd name="connsiteY39" fmla="*/ 33917 h 225957"/>
                <a:gd name="connsiteX40" fmla="*/ 286589 w 397940"/>
                <a:gd name="connsiteY40" fmla="*/ 34584 h 225957"/>
                <a:gd name="connsiteX41" fmla="*/ 287092 w 397940"/>
                <a:gd name="connsiteY41" fmla="*/ 36334 h 225957"/>
                <a:gd name="connsiteX42" fmla="*/ 288038 w 397940"/>
                <a:gd name="connsiteY42" fmla="*/ 38084 h 225957"/>
                <a:gd name="connsiteX43" fmla="*/ 288921 w 397940"/>
                <a:gd name="connsiteY43" fmla="*/ 38584 h 225957"/>
                <a:gd name="connsiteX44" fmla="*/ 290493 w 397940"/>
                <a:gd name="connsiteY44" fmla="*/ 38500 h 225957"/>
                <a:gd name="connsiteX45" fmla="*/ 291439 w 397940"/>
                <a:gd name="connsiteY45" fmla="*/ 38584 h 225957"/>
                <a:gd name="connsiteX46" fmla="*/ 291944 w 397940"/>
                <a:gd name="connsiteY46" fmla="*/ 39249 h 225957"/>
                <a:gd name="connsiteX47" fmla="*/ 291376 w 397940"/>
                <a:gd name="connsiteY47" fmla="*/ 40249 h 225957"/>
                <a:gd name="connsiteX48" fmla="*/ 291502 w 397940"/>
                <a:gd name="connsiteY48" fmla="*/ 41329 h 225957"/>
                <a:gd name="connsiteX49" fmla="*/ 292195 w 397940"/>
                <a:gd name="connsiteY49" fmla="*/ 42660 h 225957"/>
                <a:gd name="connsiteX50" fmla="*/ 293015 w 397940"/>
                <a:gd name="connsiteY50" fmla="*/ 45733 h 225957"/>
                <a:gd name="connsiteX51" fmla="*/ 293771 w 397940"/>
                <a:gd name="connsiteY51" fmla="*/ 46646 h 225957"/>
                <a:gd name="connsiteX52" fmla="*/ 294274 w 397940"/>
                <a:gd name="connsiteY52" fmla="*/ 47808 h 225957"/>
                <a:gd name="connsiteX53" fmla="*/ 294274 w 397940"/>
                <a:gd name="connsiteY53" fmla="*/ 49135 h 225957"/>
                <a:gd name="connsiteX54" fmla="*/ 293644 w 397940"/>
                <a:gd name="connsiteY54" fmla="*/ 50295 h 225957"/>
                <a:gd name="connsiteX55" fmla="*/ 293203 w 397940"/>
                <a:gd name="connsiteY55" fmla="*/ 51205 h 225957"/>
                <a:gd name="connsiteX56" fmla="*/ 293644 w 397940"/>
                <a:gd name="connsiteY56" fmla="*/ 53275 h 225957"/>
                <a:gd name="connsiteX57" fmla="*/ 295343 w 397940"/>
                <a:gd name="connsiteY57" fmla="*/ 55592 h 225957"/>
                <a:gd name="connsiteX58" fmla="*/ 296604 w 397940"/>
                <a:gd name="connsiteY58" fmla="*/ 56170 h 225957"/>
                <a:gd name="connsiteX59" fmla="*/ 297613 w 397940"/>
                <a:gd name="connsiteY59" fmla="*/ 58236 h 225957"/>
                <a:gd name="connsiteX60" fmla="*/ 299439 w 397940"/>
                <a:gd name="connsiteY60" fmla="*/ 58896 h 225957"/>
                <a:gd name="connsiteX61" fmla="*/ 302147 w 397940"/>
                <a:gd name="connsiteY61" fmla="*/ 57163 h 225957"/>
                <a:gd name="connsiteX62" fmla="*/ 304227 w 397940"/>
                <a:gd name="connsiteY62" fmla="*/ 56254 h 225957"/>
                <a:gd name="connsiteX63" fmla="*/ 306827 w 397940"/>
                <a:gd name="connsiteY63" fmla="*/ 56759 h 225957"/>
                <a:gd name="connsiteX64" fmla="*/ 309228 w 397940"/>
                <a:gd name="connsiteY64" fmla="*/ 57082 h 225957"/>
                <a:gd name="connsiteX65" fmla="*/ 310843 w 397940"/>
                <a:gd name="connsiteY65" fmla="*/ 58263 h 225957"/>
                <a:gd name="connsiteX66" fmla="*/ 312035 w 397940"/>
                <a:gd name="connsiteY66" fmla="*/ 59887 h 225957"/>
                <a:gd name="connsiteX67" fmla="*/ 313422 w 397940"/>
                <a:gd name="connsiteY67" fmla="*/ 60794 h 225957"/>
                <a:gd name="connsiteX68" fmla="*/ 314810 w 397940"/>
                <a:gd name="connsiteY68" fmla="*/ 60320 h 225957"/>
                <a:gd name="connsiteX69" fmla="*/ 317706 w 397940"/>
                <a:gd name="connsiteY69" fmla="*/ 60794 h 225957"/>
                <a:gd name="connsiteX70" fmla="*/ 319029 w 397940"/>
                <a:gd name="connsiteY70" fmla="*/ 62114 h 225957"/>
                <a:gd name="connsiteX71" fmla="*/ 320351 w 397940"/>
                <a:gd name="connsiteY71" fmla="*/ 62856 h 225957"/>
                <a:gd name="connsiteX72" fmla="*/ 322052 w 397940"/>
                <a:gd name="connsiteY72" fmla="*/ 61785 h 225957"/>
                <a:gd name="connsiteX73" fmla="*/ 323439 w 397940"/>
                <a:gd name="connsiteY73" fmla="*/ 60465 h 225957"/>
                <a:gd name="connsiteX74" fmla="*/ 328511 w 397940"/>
                <a:gd name="connsiteY74" fmla="*/ 59082 h 225957"/>
                <a:gd name="connsiteX75" fmla="*/ 331668 w 397940"/>
                <a:gd name="connsiteY75" fmla="*/ 58736 h 225957"/>
                <a:gd name="connsiteX76" fmla="*/ 332549 w 397940"/>
                <a:gd name="connsiteY76" fmla="*/ 58464 h 225957"/>
                <a:gd name="connsiteX77" fmla="*/ 334402 w 397940"/>
                <a:gd name="connsiteY77" fmla="*/ 57476 h 225957"/>
                <a:gd name="connsiteX78" fmla="*/ 336354 w 397940"/>
                <a:gd name="connsiteY78" fmla="*/ 56819 h 225957"/>
                <a:gd name="connsiteX79" fmla="*/ 338116 w 397940"/>
                <a:gd name="connsiteY79" fmla="*/ 56997 h 225957"/>
                <a:gd name="connsiteX80" fmla="*/ 339852 w 397940"/>
                <a:gd name="connsiteY80" fmla="*/ 59049 h 225957"/>
                <a:gd name="connsiteX81" fmla="*/ 341643 w 397940"/>
                <a:gd name="connsiteY81" fmla="*/ 60465 h 225957"/>
                <a:gd name="connsiteX82" fmla="*/ 342146 w 397940"/>
                <a:gd name="connsiteY82" fmla="*/ 62691 h 225957"/>
                <a:gd name="connsiteX83" fmla="*/ 344337 w 397940"/>
                <a:gd name="connsiteY83" fmla="*/ 65753 h 225957"/>
                <a:gd name="connsiteX84" fmla="*/ 349779 w 397940"/>
                <a:gd name="connsiteY84" fmla="*/ 69936 h 225957"/>
                <a:gd name="connsiteX85" fmla="*/ 351915 w 397940"/>
                <a:gd name="connsiteY85" fmla="*/ 71211 h 225957"/>
                <a:gd name="connsiteX86" fmla="*/ 353366 w 397940"/>
                <a:gd name="connsiteY86" fmla="*/ 70986 h 225957"/>
                <a:gd name="connsiteX87" fmla="*/ 354124 w 397940"/>
                <a:gd name="connsiteY87" fmla="*/ 70652 h 225957"/>
                <a:gd name="connsiteX88" fmla="*/ 354476 w 397940"/>
                <a:gd name="connsiteY88" fmla="*/ 70215 h 225957"/>
                <a:gd name="connsiteX89" fmla="*/ 354804 w 397940"/>
                <a:gd name="connsiteY89" fmla="*/ 68170 h 225957"/>
                <a:gd name="connsiteX90" fmla="*/ 355493 w 397940"/>
                <a:gd name="connsiteY90" fmla="*/ 67417 h 225957"/>
                <a:gd name="connsiteX91" fmla="*/ 356596 w 397940"/>
                <a:gd name="connsiteY91" fmla="*/ 67392 h 225957"/>
                <a:gd name="connsiteX92" fmla="*/ 360855 w 397940"/>
                <a:gd name="connsiteY92" fmla="*/ 69940 h 225957"/>
                <a:gd name="connsiteX93" fmla="*/ 363083 w 397940"/>
                <a:gd name="connsiteY93" fmla="*/ 70214 h 225957"/>
                <a:gd name="connsiteX94" fmla="*/ 365201 w 397940"/>
                <a:gd name="connsiteY94" fmla="*/ 70263 h 225957"/>
                <a:gd name="connsiteX95" fmla="*/ 368052 w 397940"/>
                <a:gd name="connsiteY95" fmla="*/ 72240 h 225957"/>
                <a:gd name="connsiteX96" fmla="*/ 371185 w 397940"/>
                <a:gd name="connsiteY96" fmla="*/ 73958 h 225957"/>
                <a:gd name="connsiteX97" fmla="*/ 373603 w 397940"/>
                <a:gd name="connsiteY97" fmla="*/ 74139 h 225957"/>
                <a:gd name="connsiteX98" fmla="*/ 375532 w 397940"/>
                <a:gd name="connsiteY98" fmla="*/ 73467 h 225957"/>
                <a:gd name="connsiteX99" fmla="*/ 376856 w 397940"/>
                <a:gd name="connsiteY99" fmla="*/ 73058 h 225957"/>
                <a:gd name="connsiteX100" fmla="*/ 377674 w 397940"/>
                <a:gd name="connsiteY100" fmla="*/ 73713 h 225957"/>
                <a:gd name="connsiteX101" fmla="*/ 378430 w 397940"/>
                <a:gd name="connsiteY101" fmla="*/ 75190 h 225957"/>
                <a:gd name="connsiteX102" fmla="*/ 379689 w 397940"/>
                <a:gd name="connsiteY102" fmla="*/ 76338 h 225957"/>
                <a:gd name="connsiteX103" fmla="*/ 381138 w 397940"/>
                <a:gd name="connsiteY103" fmla="*/ 76666 h 225957"/>
                <a:gd name="connsiteX104" fmla="*/ 383223 w 397940"/>
                <a:gd name="connsiteY104" fmla="*/ 76741 h 225957"/>
                <a:gd name="connsiteX105" fmla="*/ 386845 w 397940"/>
                <a:gd name="connsiteY105" fmla="*/ 78966 h 225957"/>
                <a:gd name="connsiteX106" fmla="*/ 390250 w 397940"/>
                <a:gd name="connsiteY106" fmla="*/ 81226 h 225957"/>
                <a:gd name="connsiteX107" fmla="*/ 392379 w 397940"/>
                <a:gd name="connsiteY107" fmla="*/ 81351 h 225957"/>
                <a:gd name="connsiteX108" fmla="*/ 394185 w 397940"/>
                <a:gd name="connsiteY108" fmla="*/ 80688 h 225957"/>
                <a:gd name="connsiteX109" fmla="*/ 395780 w 397940"/>
                <a:gd name="connsiteY109" fmla="*/ 80517 h 225957"/>
                <a:gd name="connsiteX110" fmla="*/ 396886 w 397940"/>
                <a:gd name="connsiteY110" fmla="*/ 81087 h 225957"/>
                <a:gd name="connsiteX111" fmla="*/ 397201 w 397940"/>
                <a:gd name="connsiteY111" fmla="*/ 82069 h 225957"/>
                <a:gd name="connsiteX112" fmla="*/ 396381 w 397940"/>
                <a:gd name="connsiteY112" fmla="*/ 83378 h 225957"/>
                <a:gd name="connsiteX113" fmla="*/ 396381 w 397940"/>
                <a:gd name="connsiteY113" fmla="*/ 85258 h 225957"/>
                <a:gd name="connsiteX114" fmla="*/ 397892 w 397940"/>
                <a:gd name="connsiteY114" fmla="*/ 87055 h 225957"/>
                <a:gd name="connsiteX115" fmla="*/ 397940 w 397940"/>
                <a:gd name="connsiteY115" fmla="*/ 88820 h 225957"/>
                <a:gd name="connsiteX116" fmla="*/ 397508 w 397940"/>
                <a:gd name="connsiteY116" fmla="*/ 90413 h 225957"/>
                <a:gd name="connsiteX117" fmla="*/ 396651 w 397940"/>
                <a:gd name="connsiteY117" fmla="*/ 91880 h 225957"/>
                <a:gd name="connsiteX118" fmla="*/ 394580 w 397940"/>
                <a:gd name="connsiteY118" fmla="*/ 93894 h 225957"/>
                <a:gd name="connsiteX119" fmla="*/ 392664 w 397940"/>
                <a:gd name="connsiteY119" fmla="*/ 95773 h 225957"/>
                <a:gd name="connsiteX120" fmla="*/ 389784 w 397940"/>
                <a:gd name="connsiteY120" fmla="*/ 96558 h 225957"/>
                <a:gd name="connsiteX121" fmla="*/ 388171 w 397940"/>
                <a:gd name="connsiteY121" fmla="*/ 97376 h 225957"/>
                <a:gd name="connsiteX122" fmla="*/ 388594 w 397940"/>
                <a:gd name="connsiteY122" fmla="*/ 98755 h 225957"/>
                <a:gd name="connsiteX123" fmla="*/ 389648 w 397940"/>
                <a:gd name="connsiteY123" fmla="*/ 100041 h 225957"/>
                <a:gd name="connsiteX124" fmla="*/ 392090 w 397940"/>
                <a:gd name="connsiteY124" fmla="*/ 101081 h 225957"/>
                <a:gd name="connsiteX125" fmla="*/ 394863 w 397940"/>
                <a:gd name="connsiteY125" fmla="*/ 101838 h 225957"/>
                <a:gd name="connsiteX126" fmla="*/ 395182 w 397940"/>
                <a:gd name="connsiteY126" fmla="*/ 102673 h 225957"/>
                <a:gd name="connsiteX127" fmla="*/ 394759 w 397940"/>
                <a:gd name="connsiteY127" fmla="*/ 103092 h 225957"/>
                <a:gd name="connsiteX128" fmla="*/ 392982 w 397940"/>
                <a:gd name="connsiteY128" fmla="*/ 103480 h 225957"/>
                <a:gd name="connsiteX129" fmla="*/ 390522 w 397940"/>
                <a:gd name="connsiteY129" fmla="*/ 103082 h 225957"/>
                <a:gd name="connsiteX130" fmla="*/ 389704 w 397940"/>
                <a:gd name="connsiteY130" fmla="*/ 103812 h 225957"/>
                <a:gd name="connsiteX131" fmla="*/ 388570 w 397940"/>
                <a:gd name="connsiteY131" fmla="*/ 105028 h 225957"/>
                <a:gd name="connsiteX132" fmla="*/ 387815 w 397940"/>
                <a:gd name="connsiteY132" fmla="*/ 107215 h 225957"/>
                <a:gd name="connsiteX133" fmla="*/ 387246 w 397940"/>
                <a:gd name="connsiteY133" fmla="*/ 109239 h 225957"/>
                <a:gd name="connsiteX134" fmla="*/ 389916 w 397940"/>
                <a:gd name="connsiteY134" fmla="*/ 109788 h 225957"/>
                <a:gd name="connsiteX135" fmla="*/ 391468 w 397940"/>
                <a:gd name="connsiteY135" fmla="*/ 110614 h 225957"/>
                <a:gd name="connsiteX136" fmla="*/ 391952 w 397940"/>
                <a:gd name="connsiteY136" fmla="*/ 112276 h 225957"/>
                <a:gd name="connsiteX137" fmla="*/ 392507 w 397940"/>
                <a:gd name="connsiteY137" fmla="*/ 114123 h 225957"/>
                <a:gd name="connsiteX138" fmla="*/ 392667 w 397940"/>
                <a:gd name="connsiteY138" fmla="*/ 115785 h 225957"/>
                <a:gd name="connsiteX139" fmla="*/ 391783 w 397940"/>
                <a:gd name="connsiteY139" fmla="*/ 116592 h 225957"/>
                <a:gd name="connsiteX140" fmla="*/ 391730 w 397940"/>
                <a:gd name="connsiteY140" fmla="*/ 117418 h 225957"/>
                <a:gd name="connsiteX141" fmla="*/ 392146 w 397940"/>
                <a:gd name="connsiteY141" fmla="*/ 117824 h 225957"/>
                <a:gd name="connsiteX142" fmla="*/ 393293 w 397940"/>
                <a:gd name="connsiteY142" fmla="*/ 118008 h 225957"/>
                <a:gd name="connsiteX143" fmla="*/ 394172 w 397940"/>
                <a:gd name="connsiteY143" fmla="*/ 118377 h 225957"/>
                <a:gd name="connsiteX144" fmla="*/ 394241 w 397940"/>
                <a:gd name="connsiteY144" fmla="*/ 119253 h 225957"/>
                <a:gd name="connsiteX145" fmla="*/ 392561 w 397940"/>
                <a:gd name="connsiteY145" fmla="*/ 121220 h 225957"/>
                <a:gd name="connsiteX146" fmla="*/ 390989 w 397940"/>
                <a:gd name="connsiteY146" fmla="*/ 124979 h 225957"/>
                <a:gd name="connsiteX147" fmla="*/ 390144 w 397940"/>
                <a:gd name="connsiteY147" fmla="*/ 126978 h 225957"/>
                <a:gd name="connsiteX148" fmla="*/ 390209 w 397940"/>
                <a:gd name="connsiteY148" fmla="*/ 129146 h 225957"/>
                <a:gd name="connsiteX149" fmla="*/ 389263 w 397940"/>
                <a:gd name="connsiteY149" fmla="*/ 130350 h 225957"/>
                <a:gd name="connsiteX150" fmla="*/ 387551 w 397940"/>
                <a:gd name="connsiteY150" fmla="*/ 130452 h 225957"/>
                <a:gd name="connsiteX151" fmla="*/ 381636 w 397940"/>
                <a:gd name="connsiteY151" fmla="*/ 130662 h 225957"/>
                <a:gd name="connsiteX152" fmla="*/ 376495 w 397940"/>
                <a:gd name="connsiteY152" fmla="*/ 130559 h 225957"/>
                <a:gd name="connsiteX153" fmla="*/ 374269 w 397940"/>
                <a:gd name="connsiteY153" fmla="*/ 130247 h 225957"/>
                <a:gd name="connsiteX154" fmla="*/ 370785 w 397940"/>
                <a:gd name="connsiteY154" fmla="*/ 130060 h 225957"/>
                <a:gd name="connsiteX155" fmla="*/ 369060 w 397940"/>
                <a:gd name="connsiteY155" fmla="*/ 130570 h 225957"/>
                <a:gd name="connsiteX156" fmla="*/ 366776 w 397940"/>
                <a:gd name="connsiteY156" fmla="*/ 134029 h 225957"/>
                <a:gd name="connsiteX157" fmla="*/ 365044 w 397940"/>
                <a:gd name="connsiteY157" fmla="*/ 135384 h 225957"/>
                <a:gd name="connsiteX158" fmla="*/ 362176 w 397940"/>
                <a:gd name="connsiteY158" fmla="*/ 136607 h 225957"/>
                <a:gd name="connsiteX159" fmla="*/ 359034 w 397940"/>
                <a:gd name="connsiteY159" fmla="*/ 136957 h 225957"/>
                <a:gd name="connsiteX160" fmla="*/ 357233 w 397940"/>
                <a:gd name="connsiteY160" fmla="*/ 138383 h 225957"/>
                <a:gd name="connsiteX161" fmla="*/ 356601 w 397940"/>
                <a:gd name="connsiteY161" fmla="*/ 140618 h 225957"/>
                <a:gd name="connsiteX162" fmla="*/ 356551 w 397940"/>
                <a:gd name="connsiteY162" fmla="*/ 142598 h 225957"/>
                <a:gd name="connsiteX163" fmla="*/ 356257 w 397940"/>
                <a:gd name="connsiteY163" fmla="*/ 143586 h 225957"/>
                <a:gd name="connsiteX164" fmla="*/ 355575 w 397940"/>
                <a:gd name="connsiteY164" fmla="*/ 144452 h 225957"/>
                <a:gd name="connsiteX165" fmla="*/ 355331 w 397940"/>
                <a:gd name="connsiteY165" fmla="*/ 145068 h 225957"/>
                <a:gd name="connsiteX166" fmla="*/ 355477 w 397940"/>
                <a:gd name="connsiteY166" fmla="*/ 145747 h 225957"/>
                <a:gd name="connsiteX167" fmla="*/ 356208 w 397940"/>
                <a:gd name="connsiteY167" fmla="*/ 145994 h 225957"/>
                <a:gd name="connsiteX168" fmla="*/ 357086 w 397940"/>
                <a:gd name="connsiteY168" fmla="*/ 146303 h 225957"/>
                <a:gd name="connsiteX169" fmla="*/ 357086 w 397940"/>
                <a:gd name="connsiteY169" fmla="*/ 146797 h 225957"/>
                <a:gd name="connsiteX170" fmla="*/ 356745 w 397940"/>
                <a:gd name="connsiteY170" fmla="*/ 147414 h 225957"/>
                <a:gd name="connsiteX171" fmla="*/ 355769 w 397940"/>
                <a:gd name="connsiteY171" fmla="*/ 148092 h 225957"/>
                <a:gd name="connsiteX172" fmla="*/ 355331 w 397940"/>
                <a:gd name="connsiteY172" fmla="*/ 149141 h 225957"/>
                <a:gd name="connsiteX173" fmla="*/ 355430 w 397940"/>
                <a:gd name="connsiteY173" fmla="*/ 150249 h 225957"/>
                <a:gd name="connsiteX174" fmla="*/ 355618 w 397940"/>
                <a:gd name="connsiteY174" fmla="*/ 151483 h 225957"/>
                <a:gd name="connsiteX175" fmla="*/ 354821 w 397940"/>
                <a:gd name="connsiteY175" fmla="*/ 151796 h 225957"/>
                <a:gd name="connsiteX176" fmla="*/ 347091 w 397940"/>
                <a:gd name="connsiteY176" fmla="*/ 151360 h 225957"/>
                <a:gd name="connsiteX177" fmla="*/ 340781 w 397940"/>
                <a:gd name="connsiteY177" fmla="*/ 151954 h 225957"/>
                <a:gd name="connsiteX178" fmla="*/ 336281 w 397940"/>
                <a:gd name="connsiteY178" fmla="*/ 156355 h 225957"/>
                <a:gd name="connsiteX179" fmla="*/ 333599 w 397940"/>
                <a:gd name="connsiteY179" fmla="*/ 156343 h 225957"/>
                <a:gd name="connsiteX180" fmla="*/ 329818 w 397940"/>
                <a:gd name="connsiteY180" fmla="*/ 157489 h 225957"/>
                <a:gd name="connsiteX181" fmla="*/ 327263 w 397940"/>
                <a:gd name="connsiteY181" fmla="*/ 158912 h 225957"/>
                <a:gd name="connsiteX182" fmla="*/ 324229 w 397940"/>
                <a:gd name="connsiteY182" fmla="*/ 161995 h 225957"/>
                <a:gd name="connsiteX183" fmla="*/ 321882 w 397940"/>
                <a:gd name="connsiteY183" fmla="*/ 160611 h 225957"/>
                <a:gd name="connsiteX184" fmla="*/ 319010 w 397940"/>
                <a:gd name="connsiteY184" fmla="*/ 160651 h 225957"/>
                <a:gd name="connsiteX185" fmla="*/ 316207 w 397940"/>
                <a:gd name="connsiteY185" fmla="*/ 161490 h 225957"/>
                <a:gd name="connsiteX186" fmla="*/ 312834 w 397940"/>
                <a:gd name="connsiteY186" fmla="*/ 163547 h 225957"/>
                <a:gd name="connsiteX187" fmla="*/ 310958 w 397940"/>
                <a:gd name="connsiteY187" fmla="*/ 163911 h 225957"/>
                <a:gd name="connsiteX188" fmla="*/ 307205 w 397940"/>
                <a:gd name="connsiteY188" fmla="*/ 163319 h 225957"/>
                <a:gd name="connsiteX189" fmla="*/ 302832 w 397940"/>
                <a:gd name="connsiteY189" fmla="*/ 164500 h 225957"/>
                <a:gd name="connsiteX190" fmla="*/ 293391 w 397940"/>
                <a:gd name="connsiteY190" fmla="*/ 171244 h 225957"/>
                <a:gd name="connsiteX191" fmla="*/ 290217 w 397940"/>
                <a:gd name="connsiteY191" fmla="*/ 176160 h 225957"/>
                <a:gd name="connsiteX192" fmla="*/ 289061 w 397940"/>
                <a:gd name="connsiteY192" fmla="*/ 177121 h 225957"/>
                <a:gd name="connsiteX193" fmla="*/ 287468 w 397940"/>
                <a:gd name="connsiteY193" fmla="*/ 178319 h 225957"/>
                <a:gd name="connsiteX194" fmla="*/ 285764 w 397940"/>
                <a:gd name="connsiteY194" fmla="*/ 178924 h 225957"/>
                <a:gd name="connsiteX195" fmla="*/ 284864 w 397940"/>
                <a:gd name="connsiteY195" fmla="*/ 178868 h 225957"/>
                <a:gd name="connsiteX196" fmla="*/ 289357 w 397940"/>
                <a:gd name="connsiteY196" fmla="*/ 175378 h 225957"/>
                <a:gd name="connsiteX197" fmla="*/ 290737 w 397940"/>
                <a:gd name="connsiteY197" fmla="*/ 174068 h 225957"/>
                <a:gd name="connsiteX198" fmla="*/ 290975 w 397940"/>
                <a:gd name="connsiteY198" fmla="*/ 173101 h 225957"/>
                <a:gd name="connsiteX199" fmla="*/ 290998 w 397940"/>
                <a:gd name="connsiteY199" fmla="*/ 171541 h 225957"/>
                <a:gd name="connsiteX200" fmla="*/ 289636 w 397940"/>
                <a:gd name="connsiteY200" fmla="*/ 169601 h 225957"/>
                <a:gd name="connsiteX201" fmla="*/ 285958 w 397940"/>
                <a:gd name="connsiteY201" fmla="*/ 174407 h 225957"/>
                <a:gd name="connsiteX202" fmla="*/ 283868 w 397940"/>
                <a:gd name="connsiteY202" fmla="*/ 175104 h 225957"/>
                <a:gd name="connsiteX203" fmla="*/ 281216 w 397940"/>
                <a:gd name="connsiteY203" fmla="*/ 176548 h 225957"/>
                <a:gd name="connsiteX204" fmla="*/ 281087 w 397940"/>
                <a:gd name="connsiteY204" fmla="*/ 179764 h 225957"/>
                <a:gd name="connsiteX205" fmla="*/ 281387 w 397940"/>
                <a:gd name="connsiteY205" fmla="*/ 182146 h 225957"/>
                <a:gd name="connsiteX206" fmla="*/ 282477 w 397940"/>
                <a:gd name="connsiteY206" fmla="*/ 185142 h 225957"/>
                <a:gd name="connsiteX207" fmla="*/ 285047 w 397940"/>
                <a:gd name="connsiteY207" fmla="*/ 190042 h 225957"/>
                <a:gd name="connsiteX208" fmla="*/ 290295 w 397940"/>
                <a:gd name="connsiteY208" fmla="*/ 197027 h 225957"/>
                <a:gd name="connsiteX209" fmla="*/ 292810 w 397940"/>
                <a:gd name="connsiteY209" fmla="*/ 199588 h 225957"/>
                <a:gd name="connsiteX210" fmla="*/ 294659 w 397940"/>
                <a:gd name="connsiteY210" fmla="*/ 200611 h 225957"/>
                <a:gd name="connsiteX211" fmla="*/ 296881 w 397940"/>
                <a:gd name="connsiteY211" fmla="*/ 200759 h 225957"/>
                <a:gd name="connsiteX212" fmla="*/ 301147 w 397940"/>
                <a:gd name="connsiteY212" fmla="*/ 198607 h 225957"/>
                <a:gd name="connsiteX213" fmla="*/ 302972 w 397940"/>
                <a:gd name="connsiteY213" fmla="*/ 198271 h 225957"/>
                <a:gd name="connsiteX214" fmla="*/ 306939 w 397940"/>
                <a:gd name="connsiteY214" fmla="*/ 199092 h 225957"/>
                <a:gd name="connsiteX215" fmla="*/ 308360 w 397940"/>
                <a:gd name="connsiteY215" fmla="*/ 197653 h 225957"/>
                <a:gd name="connsiteX216" fmla="*/ 310424 w 397940"/>
                <a:gd name="connsiteY216" fmla="*/ 196858 h 225957"/>
                <a:gd name="connsiteX217" fmla="*/ 313074 w 397940"/>
                <a:gd name="connsiteY217" fmla="*/ 196757 h 225957"/>
                <a:gd name="connsiteX218" fmla="*/ 316097 w 397940"/>
                <a:gd name="connsiteY218" fmla="*/ 197402 h 225957"/>
                <a:gd name="connsiteX219" fmla="*/ 319368 w 397940"/>
                <a:gd name="connsiteY219" fmla="*/ 198492 h 225957"/>
                <a:gd name="connsiteX220" fmla="*/ 318025 w 397940"/>
                <a:gd name="connsiteY220" fmla="*/ 200955 h 225957"/>
                <a:gd name="connsiteX221" fmla="*/ 316622 w 397940"/>
                <a:gd name="connsiteY221" fmla="*/ 202913 h 225957"/>
                <a:gd name="connsiteX222" fmla="*/ 316127 w 397940"/>
                <a:gd name="connsiteY222" fmla="*/ 205078 h 225957"/>
                <a:gd name="connsiteX223" fmla="*/ 315352 w 397940"/>
                <a:gd name="connsiteY223" fmla="*/ 207482 h 225957"/>
                <a:gd name="connsiteX224" fmla="*/ 311737 w 397940"/>
                <a:gd name="connsiteY224" fmla="*/ 208560 h 225957"/>
                <a:gd name="connsiteX225" fmla="*/ 307865 w 397940"/>
                <a:gd name="connsiteY225" fmla="*/ 208428 h 225957"/>
                <a:gd name="connsiteX226" fmla="*/ 303782 w 397940"/>
                <a:gd name="connsiteY226" fmla="*/ 209125 h 225957"/>
                <a:gd name="connsiteX227" fmla="*/ 302311 w 397940"/>
                <a:gd name="connsiteY227" fmla="*/ 208187 h 225957"/>
                <a:gd name="connsiteX228" fmla="*/ 301335 w 397940"/>
                <a:gd name="connsiteY228" fmla="*/ 207333 h 225957"/>
                <a:gd name="connsiteX229" fmla="*/ 299524 w 397940"/>
                <a:gd name="connsiteY229" fmla="*/ 206481 h 225957"/>
                <a:gd name="connsiteX230" fmla="*/ 297135 w 397940"/>
                <a:gd name="connsiteY230" fmla="*/ 206006 h 225957"/>
                <a:gd name="connsiteX231" fmla="*/ 294991 w 397940"/>
                <a:gd name="connsiteY231" fmla="*/ 206577 h 225957"/>
                <a:gd name="connsiteX232" fmla="*/ 292454 w 397940"/>
                <a:gd name="connsiteY232" fmla="*/ 209860 h 225957"/>
                <a:gd name="connsiteX233" fmla="*/ 287965 w 397940"/>
                <a:gd name="connsiteY233" fmla="*/ 212102 h 225957"/>
                <a:gd name="connsiteX234" fmla="*/ 286481 w 397940"/>
                <a:gd name="connsiteY234" fmla="*/ 214659 h 225957"/>
                <a:gd name="connsiteX235" fmla="*/ 282061 w 397940"/>
                <a:gd name="connsiteY235" fmla="*/ 214088 h 225957"/>
                <a:gd name="connsiteX236" fmla="*/ 278282 w 397940"/>
                <a:gd name="connsiteY236" fmla="*/ 214536 h 225957"/>
                <a:gd name="connsiteX237" fmla="*/ 272821 w 397940"/>
                <a:gd name="connsiteY237" fmla="*/ 216866 h 225957"/>
                <a:gd name="connsiteX238" fmla="*/ 268660 w 397940"/>
                <a:gd name="connsiteY238" fmla="*/ 221856 h 225957"/>
                <a:gd name="connsiteX239" fmla="*/ 264075 w 397940"/>
                <a:gd name="connsiteY239" fmla="*/ 224972 h 225957"/>
                <a:gd name="connsiteX240" fmla="*/ 260439 w 397940"/>
                <a:gd name="connsiteY240" fmla="*/ 225957 h 225957"/>
                <a:gd name="connsiteX241" fmla="*/ 257027 w 397940"/>
                <a:gd name="connsiteY241" fmla="*/ 225649 h 225957"/>
                <a:gd name="connsiteX242" fmla="*/ 254820 w 397940"/>
                <a:gd name="connsiteY242" fmla="*/ 224717 h 225957"/>
                <a:gd name="connsiteX243" fmla="*/ 250283 w 397940"/>
                <a:gd name="connsiteY243" fmla="*/ 221442 h 225957"/>
                <a:gd name="connsiteX244" fmla="*/ 250549 w 397940"/>
                <a:gd name="connsiteY244" fmla="*/ 220267 h 225957"/>
                <a:gd name="connsiteX245" fmla="*/ 251182 w 397940"/>
                <a:gd name="connsiteY245" fmla="*/ 219674 h 225957"/>
                <a:gd name="connsiteX246" fmla="*/ 252039 w 397940"/>
                <a:gd name="connsiteY246" fmla="*/ 217988 h 225957"/>
                <a:gd name="connsiteX247" fmla="*/ 253855 w 397940"/>
                <a:gd name="connsiteY247" fmla="*/ 211788 h 225957"/>
                <a:gd name="connsiteX248" fmla="*/ 253611 w 397940"/>
                <a:gd name="connsiteY248" fmla="*/ 209776 h 225957"/>
                <a:gd name="connsiteX249" fmla="*/ 252594 w 397940"/>
                <a:gd name="connsiteY249" fmla="*/ 206600 h 225957"/>
                <a:gd name="connsiteX250" fmla="*/ 248996 w 397940"/>
                <a:gd name="connsiteY250" fmla="*/ 204131 h 225957"/>
                <a:gd name="connsiteX251" fmla="*/ 246100 w 397940"/>
                <a:gd name="connsiteY251" fmla="*/ 204599 h 225957"/>
                <a:gd name="connsiteX252" fmla="*/ 244451 w 397940"/>
                <a:gd name="connsiteY252" fmla="*/ 203941 h 225957"/>
                <a:gd name="connsiteX253" fmla="*/ 238519 w 397940"/>
                <a:gd name="connsiteY253" fmla="*/ 199738 h 225957"/>
                <a:gd name="connsiteX254" fmla="*/ 235291 w 397940"/>
                <a:gd name="connsiteY254" fmla="*/ 199440 h 225957"/>
                <a:gd name="connsiteX255" fmla="*/ 231723 w 397940"/>
                <a:gd name="connsiteY255" fmla="*/ 200288 h 225957"/>
                <a:gd name="connsiteX256" fmla="*/ 230408 w 397940"/>
                <a:gd name="connsiteY256" fmla="*/ 199676 h 225957"/>
                <a:gd name="connsiteX257" fmla="*/ 229439 w 397940"/>
                <a:gd name="connsiteY257" fmla="*/ 198210 h 225957"/>
                <a:gd name="connsiteX258" fmla="*/ 236515 w 397940"/>
                <a:gd name="connsiteY258" fmla="*/ 193012 h 225957"/>
                <a:gd name="connsiteX259" fmla="*/ 243464 w 397940"/>
                <a:gd name="connsiteY259" fmla="*/ 188714 h 225957"/>
                <a:gd name="connsiteX260" fmla="*/ 246511 w 397940"/>
                <a:gd name="connsiteY260" fmla="*/ 188272 h 225957"/>
                <a:gd name="connsiteX261" fmla="*/ 250627 w 397940"/>
                <a:gd name="connsiteY261" fmla="*/ 186269 h 225957"/>
                <a:gd name="connsiteX262" fmla="*/ 255019 w 397940"/>
                <a:gd name="connsiteY262" fmla="*/ 183259 h 225957"/>
                <a:gd name="connsiteX263" fmla="*/ 254397 w 397940"/>
                <a:gd name="connsiteY263" fmla="*/ 180890 h 225957"/>
                <a:gd name="connsiteX264" fmla="*/ 253455 w 397940"/>
                <a:gd name="connsiteY264" fmla="*/ 179138 h 225957"/>
                <a:gd name="connsiteX265" fmla="*/ 251348 w 397940"/>
                <a:gd name="connsiteY265" fmla="*/ 179619 h 225957"/>
                <a:gd name="connsiteX266" fmla="*/ 249823 w 397940"/>
                <a:gd name="connsiteY266" fmla="*/ 180206 h 225957"/>
                <a:gd name="connsiteX267" fmla="*/ 246144 w 397940"/>
                <a:gd name="connsiteY267" fmla="*/ 178325 h 225957"/>
                <a:gd name="connsiteX268" fmla="*/ 244790 w 397940"/>
                <a:gd name="connsiteY268" fmla="*/ 176940 h 225957"/>
                <a:gd name="connsiteX269" fmla="*/ 239031 w 397940"/>
                <a:gd name="connsiteY269" fmla="*/ 178377 h 225957"/>
                <a:gd name="connsiteX270" fmla="*/ 235826 w 397940"/>
                <a:gd name="connsiteY270" fmla="*/ 178164 h 225957"/>
                <a:gd name="connsiteX271" fmla="*/ 228748 w 397940"/>
                <a:gd name="connsiteY271" fmla="*/ 179485 h 225957"/>
                <a:gd name="connsiteX272" fmla="*/ 225500 w 397940"/>
                <a:gd name="connsiteY272" fmla="*/ 178195 h 225957"/>
                <a:gd name="connsiteX273" fmla="*/ 218996 w 397940"/>
                <a:gd name="connsiteY273" fmla="*/ 174580 h 225957"/>
                <a:gd name="connsiteX274" fmla="*/ 216551 w 397940"/>
                <a:gd name="connsiteY274" fmla="*/ 173853 h 225957"/>
                <a:gd name="connsiteX275" fmla="*/ 214474 w 397940"/>
                <a:gd name="connsiteY275" fmla="*/ 174007 h 225957"/>
                <a:gd name="connsiteX276" fmla="*/ 213340 w 397940"/>
                <a:gd name="connsiteY276" fmla="*/ 172817 h 225957"/>
                <a:gd name="connsiteX277" fmla="*/ 214731 w 397940"/>
                <a:gd name="connsiteY277" fmla="*/ 172221 h 225957"/>
                <a:gd name="connsiteX278" fmla="*/ 216346 w 397940"/>
                <a:gd name="connsiteY278" fmla="*/ 172151 h 225957"/>
                <a:gd name="connsiteX279" fmla="*/ 218022 w 397940"/>
                <a:gd name="connsiteY279" fmla="*/ 171715 h 225957"/>
                <a:gd name="connsiteX280" fmla="*/ 218495 w 397940"/>
                <a:gd name="connsiteY280" fmla="*/ 171084 h 225957"/>
                <a:gd name="connsiteX281" fmla="*/ 218394 w 397940"/>
                <a:gd name="connsiteY281" fmla="*/ 169897 h 225957"/>
                <a:gd name="connsiteX282" fmla="*/ 215016 w 397940"/>
                <a:gd name="connsiteY282" fmla="*/ 168996 h 225957"/>
                <a:gd name="connsiteX283" fmla="*/ 211874 w 397940"/>
                <a:gd name="connsiteY283" fmla="*/ 168737 h 225957"/>
                <a:gd name="connsiteX284" fmla="*/ 209883 w 397940"/>
                <a:gd name="connsiteY284" fmla="*/ 167669 h 225957"/>
                <a:gd name="connsiteX285" fmla="*/ 208363 w 397940"/>
                <a:gd name="connsiteY285" fmla="*/ 166446 h 225957"/>
                <a:gd name="connsiteX286" fmla="*/ 211926 w 397940"/>
                <a:gd name="connsiteY286" fmla="*/ 166427 h 225957"/>
                <a:gd name="connsiteX287" fmla="*/ 215506 w 397940"/>
                <a:gd name="connsiteY287" fmla="*/ 167352 h 225957"/>
                <a:gd name="connsiteX288" fmla="*/ 221112 w 397940"/>
                <a:gd name="connsiteY288" fmla="*/ 167693 h 225957"/>
                <a:gd name="connsiteX289" fmla="*/ 226195 w 397940"/>
                <a:gd name="connsiteY289" fmla="*/ 168649 h 225957"/>
                <a:gd name="connsiteX290" fmla="*/ 227469 w 397940"/>
                <a:gd name="connsiteY290" fmla="*/ 167460 h 225957"/>
                <a:gd name="connsiteX291" fmla="*/ 230423 w 397940"/>
                <a:gd name="connsiteY291" fmla="*/ 165399 h 225957"/>
                <a:gd name="connsiteX292" fmla="*/ 230987 w 397940"/>
                <a:gd name="connsiteY292" fmla="*/ 164742 h 225957"/>
                <a:gd name="connsiteX293" fmla="*/ 226035 w 397940"/>
                <a:gd name="connsiteY293" fmla="*/ 166153 h 225957"/>
                <a:gd name="connsiteX294" fmla="*/ 221019 w 397940"/>
                <a:gd name="connsiteY294" fmla="*/ 165253 h 225957"/>
                <a:gd name="connsiteX295" fmla="*/ 219186 w 397940"/>
                <a:gd name="connsiteY295" fmla="*/ 163995 h 225957"/>
                <a:gd name="connsiteX296" fmla="*/ 217637 w 397940"/>
                <a:gd name="connsiteY296" fmla="*/ 162151 h 225957"/>
                <a:gd name="connsiteX297" fmla="*/ 216987 w 397940"/>
                <a:gd name="connsiteY297" fmla="*/ 160047 h 225957"/>
                <a:gd name="connsiteX298" fmla="*/ 217411 w 397940"/>
                <a:gd name="connsiteY298" fmla="*/ 158085 h 225957"/>
                <a:gd name="connsiteX299" fmla="*/ 216869 w 397940"/>
                <a:gd name="connsiteY299" fmla="*/ 154539 h 225957"/>
                <a:gd name="connsiteX300" fmla="*/ 215215 w 397940"/>
                <a:gd name="connsiteY300" fmla="*/ 151380 h 225957"/>
                <a:gd name="connsiteX301" fmla="*/ 214628 w 397940"/>
                <a:gd name="connsiteY301" fmla="*/ 149645 h 225957"/>
                <a:gd name="connsiteX302" fmla="*/ 212880 w 397940"/>
                <a:gd name="connsiteY302" fmla="*/ 148089 h 225957"/>
                <a:gd name="connsiteX303" fmla="*/ 214599 w 397940"/>
                <a:gd name="connsiteY303" fmla="*/ 151607 h 225957"/>
                <a:gd name="connsiteX304" fmla="*/ 215241 w 397940"/>
                <a:gd name="connsiteY304" fmla="*/ 153945 h 225957"/>
                <a:gd name="connsiteX305" fmla="*/ 216275 w 397940"/>
                <a:gd name="connsiteY305" fmla="*/ 156097 h 225957"/>
                <a:gd name="connsiteX306" fmla="*/ 216031 w 397940"/>
                <a:gd name="connsiteY306" fmla="*/ 161794 h 225957"/>
                <a:gd name="connsiteX307" fmla="*/ 215394 w 397940"/>
                <a:gd name="connsiteY307" fmla="*/ 163793 h 225957"/>
                <a:gd name="connsiteX308" fmla="*/ 213332 w 397940"/>
                <a:gd name="connsiteY308" fmla="*/ 164297 h 225957"/>
                <a:gd name="connsiteX309" fmla="*/ 210622 w 397940"/>
                <a:gd name="connsiteY309" fmla="*/ 163997 h 225957"/>
                <a:gd name="connsiteX310" fmla="*/ 207860 w 397940"/>
                <a:gd name="connsiteY310" fmla="*/ 163376 h 225957"/>
                <a:gd name="connsiteX311" fmla="*/ 208551 w 397940"/>
                <a:gd name="connsiteY311" fmla="*/ 160245 h 225957"/>
                <a:gd name="connsiteX312" fmla="*/ 207080 w 397940"/>
                <a:gd name="connsiteY312" fmla="*/ 161328 h 225957"/>
                <a:gd name="connsiteX313" fmla="*/ 205003 w 397940"/>
                <a:gd name="connsiteY313" fmla="*/ 164375 h 225957"/>
                <a:gd name="connsiteX314" fmla="*/ 203176 w 397940"/>
                <a:gd name="connsiteY314" fmla="*/ 164829 h 225957"/>
                <a:gd name="connsiteX315" fmla="*/ 199119 w 397940"/>
                <a:gd name="connsiteY315" fmla="*/ 164496 h 225957"/>
                <a:gd name="connsiteX316" fmla="*/ 191589 w 397940"/>
                <a:gd name="connsiteY316" fmla="*/ 166510 h 225957"/>
                <a:gd name="connsiteX317" fmla="*/ 191071 w 397940"/>
                <a:gd name="connsiteY317" fmla="*/ 168702 h 225957"/>
                <a:gd name="connsiteX318" fmla="*/ 189939 w 397940"/>
                <a:gd name="connsiteY318" fmla="*/ 171665 h 225957"/>
                <a:gd name="connsiteX319" fmla="*/ 188847 w 397940"/>
                <a:gd name="connsiteY319" fmla="*/ 173389 h 225957"/>
                <a:gd name="connsiteX320" fmla="*/ 188503 w 397940"/>
                <a:gd name="connsiteY320" fmla="*/ 174428 h 225957"/>
                <a:gd name="connsiteX321" fmla="*/ 185292 w 397940"/>
                <a:gd name="connsiteY321" fmla="*/ 178886 h 225957"/>
                <a:gd name="connsiteX322" fmla="*/ 184882 w 397940"/>
                <a:gd name="connsiteY322" fmla="*/ 179307 h 225957"/>
                <a:gd name="connsiteX323" fmla="*/ 178825 w 397940"/>
                <a:gd name="connsiteY323" fmla="*/ 185475 h 225957"/>
                <a:gd name="connsiteX324" fmla="*/ 178054 w 397940"/>
                <a:gd name="connsiteY324" fmla="*/ 185938 h 225957"/>
                <a:gd name="connsiteX325" fmla="*/ 174128 w 397940"/>
                <a:gd name="connsiteY325" fmla="*/ 187371 h 225957"/>
                <a:gd name="connsiteX326" fmla="*/ 171807 w 397940"/>
                <a:gd name="connsiteY326" fmla="*/ 188626 h 225957"/>
                <a:gd name="connsiteX327" fmla="*/ 170028 w 397940"/>
                <a:gd name="connsiteY327" fmla="*/ 189186 h 225957"/>
                <a:gd name="connsiteX328" fmla="*/ 167017 w 397940"/>
                <a:gd name="connsiteY328" fmla="*/ 188563 h 225957"/>
                <a:gd name="connsiteX329" fmla="*/ 165765 w 397940"/>
                <a:gd name="connsiteY329" fmla="*/ 189451 h 225957"/>
                <a:gd name="connsiteX330" fmla="*/ 165173 w 397940"/>
                <a:gd name="connsiteY330" fmla="*/ 190550 h 225957"/>
                <a:gd name="connsiteX331" fmla="*/ 165162 w 397940"/>
                <a:gd name="connsiteY331" fmla="*/ 192821 h 225957"/>
                <a:gd name="connsiteX332" fmla="*/ 166691 w 397940"/>
                <a:gd name="connsiteY332" fmla="*/ 194452 h 225957"/>
                <a:gd name="connsiteX333" fmla="*/ 167944 w 397940"/>
                <a:gd name="connsiteY333" fmla="*/ 199870 h 225957"/>
                <a:gd name="connsiteX334" fmla="*/ 167477 w 397940"/>
                <a:gd name="connsiteY334" fmla="*/ 202156 h 225957"/>
                <a:gd name="connsiteX335" fmla="*/ 166285 w 397940"/>
                <a:gd name="connsiteY335" fmla="*/ 200676 h 225957"/>
                <a:gd name="connsiteX336" fmla="*/ 164422 w 397940"/>
                <a:gd name="connsiteY336" fmla="*/ 199116 h 225957"/>
                <a:gd name="connsiteX337" fmla="*/ 160796 w 397940"/>
                <a:gd name="connsiteY337" fmla="*/ 197775 h 225957"/>
                <a:gd name="connsiteX338" fmla="*/ 156812 w 397940"/>
                <a:gd name="connsiteY338" fmla="*/ 198234 h 225957"/>
                <a:gd name="connsiteX339" fmla="*/ 152476 w 397940"/>
                <a:gd name="connsiteY339" fmla="*/ 200494 h 225957"/>
                <a:gd name="connsiteX340" fmla="*/ 149533 w 397940"/>
                <a:gd name="connsiteY340" fmla="*/ 201334 h 225957"/>
                <a:gd name="connsiteX341" fmla="*/ 147984 w 397940"/>
                <a:gd name="connsiteY341" fmla="*/ 200754 h 225957"/>
                <a:gd name="connsiteX342" fmla="*/ 147043 w 397940"/>
                <a:gd name="connsiteY342" fmla="*/ 200787 h 225957"/>
                <a:gd name="connsiteX343" fmla="*/ 146708 w 397940"/>
                <a:gd name="connsiteY343" fmla="*/ 201435 h 225957"/>
                <a:gd name="connsiteX344" fmla="*/ 146780 w 397940"/>
                <a:gd name="connsiteY344" fmla="*/ 201965 h 225957"/>
                <a:gd name="connsiteX345" fmla="*/ 147257 w 397940"/>
                <a:gd name="connsiteY345" fmla="*/ 202376 h 225957"/>
                <a:gd name="connsiteX346" fmla="*/ 147187 w 397940"/>
                <a:gd name="connsiteY346" fmla="*/ 202676 h 225957"/>
                <a:gd name="connsiteX347" fmla="*/ 146579 w 397940"/>
                <a:gd name="connsiteY347" fmla="*/ 202863 h 225957"/>
                <a:gd name="connsiteX348" fmla="*/ 139736 w 397940"/>
                <a:gd name="connsiteY348" fmla="*/ 201272 h 225957"/>
                <a:gd name="connsiteX349" fmla="*/ 136782 w 397940"/>
                <a:gd name="connsiteY349" fmla="*/ 199766 h 225957"/>
                <a:gd name="connsiteX350" fmla="*/ 134456 w 397940"/>
                <a:gd name="connsiteY350" fmla="*/ 196930 h 225957"/>
                <a:gd name="connsiteX351" fmla="*/ 135613 w 397940"/>
                <a:gd name="connsiteY351" fmla="*/ 196012 h 225957"/>
                <a:gd name="connsiteX352" fmla="*/ 136620 w 397940"/>
                <a:gd name="connsiteY352" fmla="*/ 195608 h 225957"/>
                <a:gd name="connsiteX353" fmla="*/ 140181 w 397940"/>
                <a:gd name="connsiteY353" fmla="*/ 195372 h 225957"/>
                <a:gd name="connsiteX354" fmla="*/ 140792 w 397940"/>
                <a:gd name="connsiteY354" fmla="*/ 195082 h 225957"/>
                <a:gd name="connsiteX355" fmla="*/ 140852 w 397940"/>
                <a:gd name="connsiteY355" fmla="*/ 194427 h 225957"/>
                <a:gd name="connsiteX356" fmla="*/ 141118 w 397940"/>
                <a:gd name="connsiteY356" fmla="*/ 193579 h 225957"/>
                <a:gd name="connsiteX357" fmla="*/ 141023 w 397940"/>
                <a:gd name="connsiteY357" fmla="*/ 192330 h 225957"/>
                <a:gd name="connsiteX358" fmla="*/ 140627 w 397940"/>
                <a:gd name="connsiteY358" fmla="*/ 191011 h 225957"/>
                <a:gd name="connsiteX359" fmla="*/ 142191 w 397940"/>
                <a:gd name="connsiteY359" fmla="*/ 189084 h 225957"/>
                <a:gd name="connsiteX360" fmla="*/ 144519 w 397940"/>
                <a:gd name="connsiteY360" fmla="*/ 187484 h 225957"/>
                <a:gd name="connsiteX361" fmla="*/ 145883 w 397940"/>
                <a:gd name="connsiteY361" fmla="*/ 185881 h 225957"/>
                <a:gd name="connsiteX362" fmla="*/ 146093 w 397940"/>
                <a:gd name="connsiteY362" fmla="*/ 183532 h 225957"/>
                <a:gd name="connsiteX363" fmla="*/ 148542 w 397940"/>
                <a:gd name="connsiteY363" fmla="*/ 182387 h 225957"/>
                <a:gd name="connsiteX364" fmla="*/ 150714 w 397940"/>
                <a:gd name="connsiteY364" fmla="*/ 180418 h 225957"/>
                <a:gd name="connsiteX365" fmla="*/ 151247 w 397940"/>
                <a:gd name="connsiteY365" fmla="*/ 178270 h 225957"/>
                <a:gd name="connsiteX366" fmla="*/ 152007 w 397940"/>
                <a:gd name="connsiteY366" fmla="*/ 176920 h 225957"/>
                <a:gd name="connsiteX367" fmla="*/ 150625 w 397940"/>
                <a:gd name="connsiteY367" fmla="*/ 173821 h 225957"/>
                <a:gd name="connsiteX368" fmla="*/ 150334 w 397940"/>
                <a:gd name="connsiteY368" fmla="*/ 171775 h 225957"/>
                <a:gd name="connsiteX369" fmla="*/ 150265 w 397940"/>
                <a:gd name="connsiteY369" fmla="*/ 170059 h 225957"/>
                <a:gd name="connsiteX370" fmla="*/ 150949 w 397940"/>
                <a:gd name="connsiteY370" fmla="*/ 169105 h 225957"/>
                <a:gd name="connsiteX371" fmla="*/ 152973 w 397940"/>
                <a:gd name="connsiteY371" fmla="*/ 168036 h 225957"/>
                <a:gd name="connsiteX372" fmla="*/ 155104 w 397940"/>
                <a:gd name="connsiteY372" fmla="*/ 167207 h 225957"/>
                <a:gd name="connsiteX373" fmla="*/ 155987 w 397940"/>
                <a:gd name="connsiteY373" fmla="*/ 167288 h 225957"/>
                <a:gd name="connsiteX374" fmla="*/ 156309 w 397940"/>
                <a:gd name="connsiteY374" fmla="*/ 167816 h 225957"/>
                <a:gd name="connsiteX375" fmla="*/ 156393 w 397940"/>
                <a:gd name="connsiteY375" fmla="*/ 171301 h 225957"/>
                <a:gd name="connsiteX376" fmla="*/ 156819 w 397940"/>
                <a:gd name="connsiteY376" fmla="*/ 171367 h 225957"/>
                <a:gd name="connsiteX377" fmla="*/ 157499 w 397940"/>
                <a:gd name="connsiteY377" fmla="*/ 170933 h 225957"/>
                <a:gd name="connsiteX378" fmla="*/ 158611 w 397940"/>
                <a:gd name="connsiteY378" fmla="*/ 168881 h 225957"/>
                <a:gd name="connsiteX379" fmla="*/ 159377 w 397940"/>
                <a:gd name="connsiteY379" fmla="*/ 169478 h 225957"/>
                <a:gd name="connsiteX380" fmla="*/ 160556 w 397940"/>
                <a:gd name="connsiteY380" fmla="*/ 169705 h 225957"/>
                <a:gd name="connsiteX381" fmla="*/ 161440 w 397940"/>
                <a:gd name="connsiteY381" fmla="*/ 169176 h 225957"/>
                <a:gd name="connsiteX382" fmla="*/ 162014 w 397940"/>
                <a:gd name="connsiteY382" fmla="*/ 169237 h 225957"/>
                <a:gd name="connsiteX383" fmla="*/ 162726 w 397940"/>
                <a:gd name="connsiteY383" fmla="*/ 169767 h 225957"/>
                <a:gd name="connsiteX384" fmla="*/ 164143 w 397940"/>
                <a:gd name="connsiteY384" fmla="*/ 170513 h 225957"/>
                <a:gd name="connsiteX385" fmla="*/ 165467 w 397940"/>
                <a:gd name="connsiteY385" fmla="*/ 170761 h 225957"/>
                <a:gd name="connsiteX386" fmla="*/ 166564 w 397940"/>
                <a:gd name="connsiteY386" fmla="*/ 170264 h 225957"/>
                <a:gd name="connsiteX387" fmla="*/ 167499 w 397940"/>
                <a:gd name="connsiteY387" fmla="*/ 169377 h 225957"/>
                <a:gd name="connsiteX388" fmla="*/ 168497 w 397940"/>
                <a:gd name="connsiteY388" fmla="*/ 169680 h 225957"/>
                <a:gd name="connsiteX389" fmla="*/ 170397 w 397940"/>
                <a:gd name="connsiteY389" fmla="*/ 172100 h 225957"/>
                <a:gd name="connsiteX390" fmla="*/ 171284 w 397940"/>
                <a:gd name="connsiteY390" fmla="*/ 171832 h 225957"/>
                <a:gd name="connsiteX391" fmla="*/ 175655 w 397940"/>
                <a:gd name="connsiteY391" fmla="*/ 171343 h 225957"/>
                <a:gd name="connsiteX392" fmla="*/ 176359 w 397940"/>
                <a:gd name="connsiteY392" fmla="*/ 170685 h 225957"/>
                <a:gd name="connsiteX393" fmla="*/ 176879 w 397940"/>
                <a:gd name="connsiteY393" fmla="*/ 170088 h 225957"/>
                <a:gd name="connsiteX394" fmla="*/ 172308 w 397940"/>
                <a:gd name="connsiteY394" fmla="*/ 166875 h 225957"/>
                <a:gd name="connsiteX395" fmla="*/ 172539 w 397940"/>
                <a:gd name="connsiteY395" fmla="*/ 164481 h 225957"/>
                <a:gd name="connsiteX396" fmla="*/ 172710 w 397940"/>
                <a:gd name="connsiteY396" fmla="*/ 161734 h 225957"/>
                <a:gd name="connsiteX397" fmla="*/ 172170 w 397940"/>
                <a:gd name="connsiteY397" fmla="*/ 160102 h 225957"/>
                <a:gd name="connsiteX398" fmla="*/ 171280 w 397940"/>
                <a:gd name="connsiteY398" fmla="*/ 158807 h 225957"/>
                <a:gd name="connsiteX399" fmla="*/ 167784 w 397940"/>
                <a:gd name="connsiteY399" fmla="*/ 157302 h 225957"/>
                <a:gd name="connsiteX400" fmla="*/ 165087 w 397940"/>
                <a:gd name="connsiteY400" fmla="*/ 155743 h 225957"/>
                <a:gd name="connsiteX401" fmla="*/ 164517 w 397940"/>
                <a:gd name="connsiteY401" fmla="*/ 155040 h 225957"/>
                <a:gd name="connsiteX402" fmla="*/ 164443 w 397940"/>
                <a:gd name="connsiteY402" fmla="*/ 154128 h 225957"/>
                <a:gd name="connsiteX403" fmla="*/ 164329 w 397940"/>
                <a:gd name="connsiteY403" fmla="*/ 152710 h 225957"/>
                <a:gd name="connsiteX404" fmla="*/ 163258 w 397940"/>
                <a:gd name="connsiteY404" fmla="*/ 151492 h 225957"/>
                <a:gd name="connsiteX405" fmla="*/ 163167 w 397940"/>
                <a:gd name="connsiteY405" fmla="*/ 150461 h 225957"/>
                <a:gd name="connsiteX406" fmla="*/ 163850 w 397940"/>
                <a:gd name="connsiteY406" fmla="*/ 148853 h 225957"/>
                <a:gd name="connsiteX407" fmla="*/ 164016 w 397940"/>
                <a:gd name="connsiteY407" fmla="*/ 147139 h 225957"/>
                <a:gd name="connsiteX408" fmla="*/ 163791 w 397940"/>
                <a:gd name="connsiteY408" fmla="*/ 146462 h 225957"/>
                <a:gd name="connsiteX409" fmla="*/ 163161 w 397940"/>
                <a:gd name="connsiteY409" fmla="*/ 145910 h 225957"/>
                <a:gd name="connsiteX410" fmla="*/ 161945 w 397940"/>
                <a:gd name="connsiteY410" fmla="*/ 145856 h 225957"/>
                <a:gd name="connsiteX411" fmla="*/ 160347 w 397940"/>
                <a:gd name="connsiteY411" fmla="*/ 144865 h 225957"/>
                <a:gd name="connsiteX412" fmla="*/ 159250 w 397940"/>
                <a:gd name="connsiteY412" fmla="*/ 143529 h 225957"/>
                <a:gd name="connsiteX413" fmla="*/ 156305 w 397940"/>
                <a:gd name="connsiteY413" fmla="*/ 141602 h 225957"/>
                <a:gd name="connsiteX414" fmla="*/ 155402 w 397940"/>
                <a:gd name="connsiteY414" fmla="*/ 141288 h 225957"/>
                <a:gd name="connsiteX415" fmla="*/ 154851 w 397940"/>
                <a:gd name="connsiteY415" fmla="*/ 140333 h 225957"/>
                <a:gd name="connsiteX416" fmla="*/ 154588 w 397940"/>
                <a:gd name="connsiteY416" fmla="*/ 139192 h 225957"/>
                <a:gd name="connsiteX417" fmla="*/ 155206 w 397940"/>
                <a:gd name="connsiteY417" fmla="*/ 137774 h 225957"/>
                <a:gd name="connsiteX418" fmla="*/ 155983 w 397940"/>
                <a:gd name="connsiteY418" fmla="*/ 135590 h 225957"/>
                <a:gd name="connsiteX419" fmla="*/ 156529 w 397940"/>
                <a:gd name="connsiteY419" fmla="*/ 133539 h 225957"/>
                <a:gd name="connsiteX420" fmla="*/ 156538 w 397940"/>
                <a:gd name="connsiteY420" fmla="*/ 132316 h 225957"/>
                <a:gd name="connsiteX421" fmla="*/ 156177 w 397940"/>
                <a:gd name="connsiteY421" fmla="*/ 129290 h 225957"/>
                <a:gd name="connsiteX422" fmla="*/ 154642 w 397940"/>
                <a:gd name="connsiteY422" fmla="*/ 126975 h 225957"/>
                <a:gd name="connsiteX423" fmla="*/ 153925 w 397940"/>
                <a:gd name="connsiteY423" fmla="*/ 126668 h 225957"/>
                <a:gd name="connsiteX424" fmla="*/ 152686 w 397940"/>
                <a:gd name="connsiteY424" fmla="*/ 127320 h 225957"/>
                <a:gd name="connsiteX425" fmla="*/ 151279 w 397940"/>
                <a:gd name="connsiteY425" fmla="*/ 127865 h 225957"/>
                <a:gd name="connsiteX426" fmla="*/ 150170 w 397940"/>
                <a:gd name="connsiteY426" fmla="*/ 127354 h 225957"/>
                <a:gd name="connsiteX427" fmla="*/ 148902 w 397940"/>
                <a:gd name="connsiteY427" fmla="*/ 126098 h 225957"/>
                <a:gd name="connsiteX428" fmla="*/ 146868 w 397940"/>
                <a:gd name="connsiteY428" fmla="*/ 122599 h 225957"/>
                <a:gd name="connsiteX429" fmla="*/ 143061 w 397940"/>
                <a:gd name="connsiteY429" fmla="*/ 121898 h 225957"/>
                <a:gd name="connsiteX430" fmla="*/ 141487 w 397940"/>
                <a:gd name="connsiteY430" fmla="*/ 121731 h 225957"/>
                <a:gd name="connsiteX431" fmla="*/ 139997 w 397940"/>
                <a:gd name="connsiteY431" fmla="*/ 123420 h 225957"/>
                <a:gd name="connsiteX432" fmla="*/ 139531 w 397940"/>
                <a:gd name="connsiteY432" fmla="*/ 122907 h 225957"/>
                <a:gd name="connsiteX433" fmla="*/ 139112 w 397940"/>
                <a:gd name="connsiteY433" fmla="*/ 121828 h 225957"/>
                <a:gd name="connsiteX434" fmla="*/ 138326 w 397940"/>
                <a:gd name="connsiteY434" fmla="*/ 121397 h 225957"/>
                <a:gd name="connsiteX435" fmla="*/ 137287 w 397940"/>
                <a:gd name="connsiteY435" fmla="*/ 121897 h 225957"/>
                <a:gd name="connsiteX436" fmla="*/ 136987 w 397940"/>
                <a:gd name="connsiteY436" fmla="*/ 121416 h 225957"/>
                <a:gd name="connsiteX437" fmla="*/ 137434 w 397940"/>
                <a:gd name="connsiteY437" fmla="*/ 119957 h 225957"/>
                <a:gd name="connsiteX438" fmla="*/ 136192 w 397940"/>
                <a:gd name="connsiteY438" fmla="*/ 119235 h 225957"/>
                <a:gd name="connsiteX439" fmla="*/ 133268 w 397940"/>
                <a:gd name="connsiteY439" fmla="*/ 119251 h 225957"/>
                <a:gd name="connsiteX440" fmla="*/ 131714 w 397940"/>
                <a:gd name="connsiteY440" fmla="*/ 118713 h 225957"/>
                <a:gd name="connsiteX441" fmla="*/ 131528 w 397940"/>
                <a:gd name="connsiteY441" fmla="*/ 117615 h 225957"/>
                <a:gd name="connsiteX442" fmla="*/ 130608 w 397940"/>
                <a:gd name="connsiteY442" fmla="*/ 116894 h 225957"/>
                <a:gd name="connsiteX443" fmla="*/ 128947 w 397940"/>
                <a:gd name="connsiteY443" fmla="*/ 116547 h 225957"/>
                <a:gd name="connsiteX444" fmla="*/ 127339 w 397940"/>
                <a:gd name="connsiteY444" fmla="*/ 115649 h 225957"/>
                <a:gd name="connsiteX445" fmla="*/ 125778 w 397940"/>
                <a:gd name="connsiteY445" fmla="*/ 114203 h 225957"/>
                <a:gd name="connsiteX446" fmla="*/ 123443 w 397940"/>
                <a:gd name="connsiteY446" fmla="*/ 113260 h 225957"/>
                <a:gd name="connsiteX447" fmla="*/ 120331 w 397940"/>
                <a:gd name="connsiteY447" fmla="*/ 112824 h 225957"/>
                <a:gd name="connsiteX448" fmla="*/ 120077 w 397940"/>
                <a:gd name="connsiteY448" fmla="*/ 112668 h 225957"/>
                <a:gd name="connsiteX449" fmla="*/ 119790 w 397940"/>
                <a:gd name="connsiteY449" fmla="*/ 112460 h 225957"/>
                <a:gd name="connsiteX450" fmla="*/ 117781 w 397940"/>
                <a:gd name="connsiteY450" fmla="*/ 113443 h 225957"/>
                <a:gd name="connsiteX451" fmla="*/ 116574 w 397940"/>
                <a:gd name="connsiteY451" fmla="*/ 114221 h 225957"/>
                <a:gd name="connsiteX452" fmla="*/ 115095 w 397940"/>
                <a:gd name="connsiteY452" fmla="*/ 113737 h 225957"/>
                <a:gd name="connsiteX453" fmla="*/ 112698 w 397940"/>
                <a:gd name="connsiteY453" fmla="*/ 115473 h 225957"/>
                <a:gd name="connsiteX454" fmla="*/ 107833 w 397940"/>
                <a:gd name="connsiteY454" fmla="*/ 115563 h 225957"/>
                <a:gd name="connsiteX455" fmla="*/ 105447 w 397940"/>
                <a:gd name="connsiteY455" fmla="*/ 115459 h 225957"/>
                <a:gd name="connsiteX456" fmla="*/ 104263 w 397940"/>
                <a:gd name="connsiteY456" fmla="*/ 115028 h 225957"/>
                <a:gd name="connsiteX457" fmla="*/ 99694 w 397940"/>
                <a:gd name="connsiteY457" fmla="*/ 117662 h 225957"/>
                <a:gd name="connsiteX458" fmla="*/ 99219 w 397940"/>
                <a:gd name="connsiteY458" fmla="*/ 118632 h 225957"/>
                <a:gd name="connsiteX459" fmla="*/ 98191 w 397940"/>
                <a:gd name="connsiteY459" fmla="*/ 118955 h 225957"/>
                <a:gd name="connsiteX460" fmla="*/ 95315 w 397940"/>
                <a:gd name="connsiteY460" fmla="*/ 119478 h 225957"/>
                <a:gd name="connsiteX461" fmla="*/ 92292 w 397940"/>
                <a:gd name="connsiteY461" fmla="*/ 120220 h 225957"/>
                <a:gd name="connsiteX462" fmla="*/ 91657 w 397940"/>
                <a:gd name="connsiteY462" fmla="*/ 122778 h 225957"/>
                <a:gd name="connsiteX463" fmla="*/ 90756 w 397940"/>
                <a:gd name="connsiteY463" fmla="*/ 124159 h 225957"/>
                <a:gd name="connsiteX464" fmla="*/ 89131 w 397940"/>
                <a:gd name="connsiteY464" fmla="*/ 126186 h 225957"/>
                <a:gd name="connsiteX465" fmla="*/ 83514 w 397940"/>
                <a:gd name="connsiteY465" fmla="*/ 126890 h 225957"/>
                <a:gd name="connsiteX466" fmla="*/ 78662 w 397940"/>
                <a:gd name="connsiteY466" fmla="*/ 127880 h 225957"/>
                <a:gd name="connsiteX467" fmla="*/ 73687 w 397940"/>
                <a:gd name="connsiteY467" fmla="*/ 128491 h 225957"/>
                <a:gd name="connsiteX468" fmla="*/ 67171 w 397940"/>
                <a:gd name="connsiteY468" fmla="*/ 130962 h 225957"/>
                <a:gd name="connsiteX469" fmla="*/ 65053 w 397940"/>
                <a:gd name="connsiteY469" fmla="*/ 133140 h 225957"/>
                <a:gd name="connsiteX470" fmla="*/ 62959 w 397940"/>
                <a:gd name="connsiteY470" fmla="*/ 133747 h 225957"/>
                <a:gd name="connsiteX471" fmla="*/ 61063 w 397940"/>
                <a:gd name="connsiteY471" fmla="*/ 133926 h 225957"/>
                <a:gd name="connsiteX472" fmla="*/ 59836 w 397940"/>
                <a:gd name="connsiteY472" fmla="*/ 132714 h 225957"/>
                <a:gd name="connsiteX473" fmla="*/ 55703 w 397940"/>
                <a:gd name="connsiteY473" fmla="*/ 129457 h 225957"/>
                <a:gd name="connsiteX474" fmla="*/ 54109 w 397940"/>
                <a:gd name="connsiteY474" fmla="*/ 127920 h 225957"/>
                <a:gd name="connsiteX475" fmla="*/ 52013 w 397940"/>
                <a:gd name="connsiteY475" fmla="*/ 127467 h 225957"/>
                <a:gd name="connsiteX476" fmla="*/ 49733 w 397940"/>
                <a:gd name="connsiteY476" fmla="*/ 127723 h 225957"/>
                <a:gd name="connsiteX477" fmla="*/ 47543 w 397940"/>
                <a:gd name="connsiteY477" fmla="*/ 128480 h 225957"/>
                <a:gd name="connsiteX478" fmla="*/ 45239 w 397940"/>
                <a:gd name="connsiteY478" fmla="*/ 128625 h 225957"/>
                <a:gd name="connsiteX479" fmla="*/ 42630 w 397940"/>
                <a:gd name="connsiteY479" fmla="*/ 127533 h 225957"/>
                <a:gd name="connsiteX480" fmla="*/ 42356 w 397940"/>
                <a:gd name="connsiteY480" fmla="*/ 127639 h 225957"/>
                <a:gd name="connsiteX481" fmla="*/ 41350 w 397940"/>
                <a:gd name="connsiteY481" fmla="*/ 127786 h 225957"/>
                <a:gd name="connsiteX482" fmla="*/ 34874 w 397940"/>
                <a:gd name="connsiteY482" fmla="*/ 126466 h 225957"/>
                <a:gd name="connsiteX483" fmla="*/ 34278 w 397940"/>
                <a:gd name="connsiteY483" fmla="*/ 126247 h 225957"/>
                <a:gd name="connsiteX484" fmla="*/ 33991 w 397940"/>
                <a:gd name="connsiteY484" fmla="*/ 126192 h 225957"/>
                <a:gd name="connsiteX485" fmla="*/ 33099 w 397940"/>
                <a:gd name="connsiteY485" fmla="*/ 126093 h 225957"/>
                <a:gd name="connsiteX486" fmla="*/ 28223 w 397940"/>
                <a:gd name="connsiteY486" fmla="*/ 126258 h 225957"/>
                <a:gd name="connsiteX487" fmla="*/ 23677 w 397940"/>
                <a:gd name="connsiteY487" fmla="*/ 123589 h 225957"/>
                <a:gd name="connsiteX488" fmla="*/ 22280 w 397940"/>
                <a:gd name="connsiteY488" fmla="*/ 123508 h 225957"/>
                <a:gd name="connsiteX489" fmla="*/ 21205 w 397940"/>
                <a:gd name="connsiteY489" fmla="*/ 124589 h 225957"/>
                <a:gd name="connsiteX490" fmla="*/ 20408 w 397940"/>
                <a:gd name="connsiteY490" fmla="*/ 125791 h 225957"/>
                <a:gd name="connsiteX491" fmla="*/ 17270 w 397940"/>
                <a:gd name="connsiteY491" fmla="*/ 126984 h 225957"/>
                <a:gd name="connsiteX492" fmla="*/ 16469 w 397940"/>
                <a:gd name="connsiteY492" fmla="*/ 127463 h 225957"/>
                <a:gd name="connsiteX493" fmla="*/ 16014 w 397940"/>
                <a:gd name="connsiteY493" fmla="*/ 127095 h 225957"/>
                <a:gd name="connsiteX494" fmla="*/ 15802 w 397940"/>
                <a:gd name="connsiteY494" fmla="*/ 126058 h 225957"/>
                <a:gd name="connsiteX495" fmla="*/ 16040 w 397940"/>
                <a:gd name="connsiteY495" fmla="*/ 125141 h 225957"/>
                <a:gd name="connsiteX496" fmla="*/ 15575 w 397940"/>
                <a:gd name="connsiteY496" fmla="*/ 124273 h 225957"/>
                <a:gd name="connsiteX497" fmla="*/ 14381 w 397940"/>
                <a:gd name="connsiteY497" fmla="*/ 123287 h 225957"/>
                <a:gd name="connsiteX498" fmla="*/ 14092 w 397940"/>
                <a:gd name="connsiteY498" fmla="*/ 122880 h 225957"/>
                <a:gd name="connsiteX499" fmla="*/ 12598 w 397940"/>
                <a:gd name="connsiteY499" fmla="*/ 122954 h 225957"/>
                <a:gd name="connsiteX500" fmla="*/ 12190 w 397940"/>
                <a:gd name="connsiteY500" fmla="*/ 123050 h 225957"/>
                <a:gd name="connsiteX501" fmla="*/ 12040 w 397940"/>
                <a:gd name="connsiteY501" fmla="*/ 123028 h 225957"/>
                <a:gd name="connsiteX502" fmla="*/ 9963 w 397940"/>
                <a:gd name="connsiteY502" fmla="*/ 122191 h 225957"/>
                <a:gd name="connsiteX503" fmla="*/ 8585 w 397940"/>
                <a:gd name="connsiteY503" fmla="*/ 120174 h 225957"/>
                <a:gd name="connsiteX504" fmla="*/ 6456 w 397940"/>
                <a:gd name="connsiteY504" fmla="*/ 119101 h 225957"/>
                <a:gd name="connsiteX505" fmla="*/ 4828 w 397940"/>
                <a:gd name="connsiteY505" fmla="*/ 118740 h 225957"/>
                <a:gd name="connsiteX506" fmla="*/ 4087 w 397940"/>
                <a:gd name="connsiteY506" fmla="*/ 117875 h 225957"/>
                <a:gd name="connsiteX507" fmla="*/ 3610 w 397940"/>
                <a:gd name="connsiteY507" fmla="*/ 116724 h 225957"/>
                <a:gd name="connsiteX508" fmla="*/ 3102 w 397940"/>
                <a:gd name="connsiteY508" fmla="*/ 115854 h 225957"/>
                <a:gd name="connsiteX509" fmla="*/ 3042 w 397940"/>
                <a:gd name="connsiteY509" fmla="*/ 115772 h 225957"/>
                <a:gd name="connsiteX510" fmla="*/ 2695 w 397940"/>
                <a:gd name="connsiteY510" fmla="*/ 114455 h 225957"/>
                <a:gd name="connsiteX511" fmla="*/ 2196 w 397940"/>
                <a:gd name="connsiteY511" fmla="*/ 114319 h 225957"/>
                <a:gd name="connsiteX512" fmla="*/ 2107 w 397940"/>
                <a:gd name="connsiteY512" fmla="*/ 114284 h 225957"/>
                <a:gd name="connsiteX513" fmla="*/ 0 w 397940"/>
                <a:gd name="connsiteY513" fmla="*/ 114513 h 225957"/>
                <a:gd name="connsiteX514" fmla="*/ 244 w 397940"/>
                <a:gd name="connsiteY514" fmla="*/ 109884 h 225957"/>
                <a:gd name="connsiteX515" fmla="*/ 3612 w 397940"/>
                <a:gd name="connsiteY515" fmla="*/ 106550 h 225957"/>
                <a:gd name="connsiteX516" fmla="*/ 4439 w 397940"/>
                <a:gd name="connsiteY516" fmla="*/ 104866 h 225957"/>
                <a:gd name="connsiteX517" fmla="*/ 5696 w 397940"/>
                <a:gd name="connsiteY517" fmla="*/ 101209 h 225957"/>
                <a:gd name="connsiteX518" fmla="*/ 6638 w 397940"/>
                <a:gd name="connsiteY518" fmla="*/ 99497 h 225957"/>
                <a:gd name="connsiteX519" fmla="*/ 7769 w 397940"/>
                <a:gd name="connsiteY519" fmla="*/ 98079 h 225957"/>
                <a:gd name="connsiteX520" fmla="*/ 8674 w 397940"/>
                <a:gd name="connsiteY520" fmla="*/ 96706 h 225957"/>
                <a:gd name="connsiteX521" fmla="*/ 8996 w 397940"/>
                <a:gd name="connsiteY521" fmla="*/ 95526 h 225957"/>
                <a:gd name="connsiteX522" fmla="*/ 9909 w 397940"/>
                <a:gd name="connsiteY522" fmla="*/ 95398 h 225957"/>
                <a:gd name="connsiteX523" fmla="*/ 12591 w 397940"/>
                <a:gd name="connsiteY523" fmla="*/ 96462 h 225957"/>
                <a:gd name="connsiteX524" fmla="*/ 14990 w 397940"/>
                <a:gd name="connsiteY524" fmla="*/ 97009 h 225957"/>
                <a:gd name="connsiteX525" fmla="*/ 15653 w 397940"/>
                <a:gd name="connsiteY525" fmla="*/ 96491 h 225957"/>
                <a:gd name="connsiteX526" fmla="*/ 15925 w 397940"/>
                <a:gd name="connsiteY526" fmla="*/ 95811 h 225957"/>
                <a:gd name="connsiteX527" fmla="*/ 15815 w 397940"/>
                <a:gd name="connsiteY527" fmla="*/ 95282 h 225957"/>
                <a:gd name="connsiteX528" fmla="*/ 13893 w 397940"/>
                <a:gd name="connsiteY528" fmla="*/ 93712 h 225957"/>
                <a:gd name="connsiteX529" fmla="*/ 12688 w 397940"/>
                <a:gd name="connsiteY529" fmla="*/ 92712 h 225957"/>
                <a:gd name="connsiteX530" fmla="*/ 12615 w 397940"/>
                <a:gd name="connsiteY530" fmla="*/ 92097 h 225957"/>
                <a:gd name="connsiteX531" fmla="*/ 13049 w 397940"/>
                <a:gd name="connsiteY531" fmla="*/ 90717 h 225957"/>
                <a:gd name="connsiteX532" fmla="*/ 13280 w 397940"/>
                <a:gd name="connsiteY532" fmla="*/ 89165 h 225957"/>
                <a:gd name="connsiteX533" fmla="*/ 13003 w 397940"/>
                <a:gd name="connsiteY533" fmla="*/ 87486 h 225957"/>
                <a:gd name="connsiteX534" fmla="*/ 11693 w 397940"/>
                <a:gd name="connsiteY534" fmla="*/ 83762 h 225957"/>
                <a:gd name="connsiteX535" fmla="*/ 11444 w 397940"/>
                <a:gd name="connsiteY535" fmla="*/ 82174 h 225957"/>
                <a:gd name="connsiteX536" fmla="*/ 12699 w 397940"/>
                <a:gd name="connsiteY536" fmla="*/ 80244 h 225957"/>
                <a:gd name="connsiteX537" fmla="*/ 16780 w 397940"/>
                <a:gd name="connsiteY537" fmla="*/ 75641 h 225957"/>
                <a:gd name="connsiteX538" fmla="*/ 18141 w 397940"/>
                <a:gd name="connsiteY538" fmla="*/ 73910 h 225957"/>
                <a:gd name="connsiteX539" fmla="*/ 20000 w 397940"/>
                <a:gd name="connsiteY539" fmla="*/ 71815 h 225957"/>
                <a:gd name="connsiteX540" fmla="*/ 25044 w 397940"/>
                <a:gd name="connsiteY540" fmla="*/ 66799 h 225957"/>
                <a:gd name="connsiteX541" fmla="*/ 28232 w 397940"/>
                <a:gd name="connsiteY541" fmla="*/ 63878 h 225957"/>
                <a:gd name="connsiteX542" fmla="*/ 30389 w 397940"/>
                <a:gd name="connsiteY542" fmla="*/ 62260 h 225957"/>
                <a:gd name="connsiteX543" fmla="*/ 33548 w 397940"/>
                <a:gd name="connsiteY543" fmla="*/ 59445 h 225957"/>
                <a:gd name="connsiteX544" fmla="*/ 34934 w 397940"/>
                <a:gd name="connsiteY544" fmla="*/ 57987 h 225957"/>
                <a:gd name="connsiteX545" fmla="*/ 40704 w 397940"/>
                <a:gd name="connsiteY545" fmla="*/ 57038 h 225957"/>
                <a:gd name="connsiteX546" fmla="*/ 41419 w 397940"/>
                <a:gd name="connsiteY546" fmla="*/ 55675 h 225957"/>
                <a:gd name="connsiteX547" fmla="*/ 42473 w 397940"/>
                <a:gd name="connsiteY547" fmla="*/ 54183 h 225957"/>
                <a:gd name="connsiteX548" fmla="*/ 43297 w 397940"/>
                <a:gd name="connsiteY548" fmla="*/ 53543 h 225957"/>
                <a:gd name="connsiteX549" fmla="*/ 43403 w 397940"/>
                <a:gd name="connsiteY549" fmla="*/ 51027 h 225957"/>
                <a:gd name="connsiteX550" fmla="*/ 42332 w 397940"/>
                <a:gd name="connsiteY550" fmla="*/ 47950 h 225957"/>
                <a:gd name="connsiteX551" fmla="*/ 41471 w 397940"/>
                <a:gd name="connsiteY551" fmla="*/ 46862 h 225957"/>
                <a:gd name="connsiteX552" fmla="*/ 40832 w 397940"/>
                <a:gd name="connsiteY552" fmla="*/ 46121 h 225957"/>
                <a:gd name="connsiteX553" fmla="*/ 41244 w 397940"/>
                <a:gd name="connsiteY553" fmla="*/ 45428 h 225957"/>
                <a:gd name="connsiteX554" fmla="*/ 41883 w 397940"/>
                <a:gd name="connsiteY554" fmla="*/ 45231 h 225957"/>
                <a:gd name="connsiteX555" fmla="*/ 42671 w 397940"/>
                <a:gd name="connsiteY555" fmla="*/ 45133 h 225957"/>
                <a:gd name="connsiteX556" fmla="*/ 43647 w 397940"/>
                <a:gd name="connsiteY556" fmla="*/ 44391 h 225957"/>
                <a:gd name="connsiteX557" fmla="*/ 43427 w 397940"/>
                <a:gd name="connsiteY557" fmla="*/ 43581 h 225957"/>
                <a:gd name="connsiteX558" fmla="*/ 40994 w 397940"/>
                <a:gd name="connsiteY558" fmla="*/ 41606 h 225957"/>
                <a:gd name="connsiteX559" fmla="*/ 39940 w 397940"/>
                <a:gd name="connsiteY559" fmla="*/ 40085 h 225957"/>
                <a:gd name="connsiteX560" fmla="*/ 38290 w 397940"/>
                <a:gd name="connsiteY560" fmla="*/ 36177 h 225957"/>
                <a:gd name="connsiteX561" fmla="*/ 34945 w 397940"/>
                <a:gd name="connsiteY561" fmla="*/ 32109 h 225957"/>
                <a:gd name="connsiteX562" fmla="*/ 33889 w 397940"/>
                <a:gd name="connsiteY562" fmla="*/ 30793 h 225957"/>
                <a:gd name="connsiteX563" fmla="*/ 33738 w 397940"/>
                <a:gd name="connsiteY563" fmla="*/ 29548 h 225957"/>
                <a:gd name="connsiteX564" fmla="*/ 34226 w 397940"/>
                <a:gd name="connsiteY564" fmla="*/ 28303 h 225957"/>
                <a:gd name="connsiteX565" fmla="*/ 33766 w 397940"/>
                <a:gd name="connsiteY565" fmla="*/ 26716 h 225957"/>
                <a:gd name="connsiteX566" fmla="*/ 32581 w 397940"/>
                <a:gd name="connsiteY566" fmla="*/ 24690 h 225957"/>
                <a:gd name="connsiteX567" fmla="*/ 32768 w 397940"/>
                <a:gd name="connsiteY567" fmla="*/ 24471 h 225957"/>
                <a:gd name="connsiteX568" fmla="*/ 32654 w 397940"/>
                <a:gd name="connsiteY568" fmla="*/ 21968 h 225957"/>
                <a:gd name="connsiteX569" fmla="*/ 33496 w 397940"/>
                <a:gd name="connsiteY569" fmla="*/ 21427 h 225957"/>
                <a:gd name="connsiteX570" fmla="*/ 34826 w 397940"/>
                <a:gd name="connsiteY570" fmla="*/ 21061 h 225957"/>
                <a:gd name="connsiteX571" fmla="*/ 36703 w 397940"/>
                <a:gd name="connsiteY571" fmla="*/ 21184 h 225957"/>
                <a:gd name="connsiteX572" fmla="*/ 38307 w 397940"/>
                <a:gd name="connsiteY572" fmla="*/ 21571 h 225957"/>
                <a:gd name="connsiteX573" fmla="*/ 40229 w 397940"/>
                <a:gd name="connsiteY573" fmla="*/ 22716 h 225957"/>
                <a:gd name="connsiteX574" fmla="*/ 40829 w 397940"/>
                <a:gd name="connsiteY574" fmla="*/ 22532 h 225957"/>
                <a:gd name="connsiteX575" fmla="*/ 44114 w 397940"/>
                <a:gd name="connsiteY575" fmla="*/ 20373 h 225957"/>
                <a:gd name="connsiteX576" fmla="*/ 47502 w 397940"/>
                <a:gd name="connsiteY576" fmla="*/ 17130 h 225957"/>
                <a:gd name="connsiteX577" fmla="*/ 48467 w 397940"/>
                <a:gd name="connsiteY577" fmla="*/ 15251 h 225957"/>
                <a:gd name="connsiteX578" fmla="*/ 49311 w 397940"/>
                <a:gd name="connsiteY578" fmla="*/ 14392 h 225957"/>
                <a:gd name="connsiteX579" fmla="*/ 52259 w 397940"/>
                <a:gd name="connsiteY579" fmla="*/ 13933 h 225957"/>
                <a:gd name="connsiteX580" fmla="*/ 54826 w 397940"/>
                <a:gd name="connsiteY580" fmla="*/ 13743 h 225957"/>
                <a:gd name="connsiteX581" fmla="*/ 56459 w 397940"/>
                <a:gd name="connsiteY581" fmla="*/ 13779 h 225957"/>
                <a:gd name="connsiteX582" fmla="*/ 60467 w 397940"/>
                <a:gd name="connsiteY582" fmla="*/ 13459 h 225957"/>
                <a:gd name="connsiteX583" fmla="*/ 62842 w 397940"/>
                <a:gd name="connsiteY583" fmla="*/ 13104 h 225957"/>
                <a:gd name="connsiteX584" fmla="*/ 64896 w 397940"/>
                <a:gd name="connsiteY584" fmla="*/ 12531 h 225957"/>
                <a:gd name="connsiteX585" fmla="*/ 69329 w 397940"/>
                <a:gd name="connsiteY585" fmla="*/ 12318 h 225957"/>
                <a:gd name="connsiteX586" fmla="*/ 76252 w 397940"/>
                <a:gd name="connsiteY586" fmla="*/ 12702 h 225957"/>
                <a:gd name="connsiteX587" fmla="*/ 80795 w 397940"/>
                <a:gd name="connsiteY587" fmla="*/ 12729 h 225957"/>
                <a:gd name="connsiteX588" fmla="*/ 83881 w 397940"/>
                <a:gd name="connsiteY588" fmla="*/ 13034 h 225957"/>
                <a:gd name="connsiteX589" fmla="*/ 91439 w 397940"/>
                <a:gd name="connsiteY589" fmla="*/ 14761 h 225957"/>
                <a:gd name="connsiteX590" fmla="*/ 94252 w 397940"/>
                <a:gd name="connsiteY590" fmla="*/ 15074 h 225957"/>
                <a:gd name="connsiteX591" fmla="*/ 95559 w 397940"/>
                <a:gd name="connsiteY591" fmla="*/ 15988 h 225957"/>
                <a:gd name="connsiteX592" fmla="*/ 98068 w 397940"/>
                <a:gd name="connsiteY592" fmla="*/ 16328 h 225957"/>
                <a:gd name="connsiteX593" fmla="*/ 102635 w 397940"/>
                <a:gd name="connsiteY593" fmla="*/ 17248 h 225957"/>
                <a:gd name="connsiteX594" fmla="*/ 106602 w 397940"/>
                <a:gd name="connsiteY594" fmla="*/ 17741 h 225957"/>
                <a:gd name="connsiteX595" fmla="*/ 109284 w 397940"/>
                <a:gd name="connsiteY595" fmla="*/ 17539 h 225957"/>
                <a:gd name="connsiteX596" fmla="*/ 110785 w 397940"/>
                <a:gd name="connsiteY596" fmla="*/ 17798 h 225957"/>
                <a:gd name="connsiteX597" fmla="*/ 113618 w 397940"/>
                <a:gd name="connsiteY597" fmla="*/ 21877 h 225957"/>
                <a:gd name="connsiteX598" fmla="*/ 114196 w 397940"/>
                <a:gd name="connsiteY598" fmla="*/ 22353 h 225957"/>
                <a:gd name="connsiteX599" fmla="*/ 115332 w 397940"/>
                <a:gd name="connsiteY599" fmla="*/ 22449 h 225957"/>
                <a:gd name="connsiteX600" fmla="*/ 117647 w 397940"/>
                <a:gd name="connsiteY600" fmla="*/ 22097 h 225957"/>
                <a:gd name="connsiteX601" fmla="*/ 120943 w 397940"/>
                <a:gd name="connsiteY601" fmla="*/ 22229 h 225957"/>
                <a:gd name="connsiteX602" fmla="*/ 122897 w 397940"/>
                <a:gd name="connsiteY602" fmla="*/ 23088 h 225957"/>
                <a:gd name="connsiteX603" fmla="*/ 122610 w 397940"/>
                <a:gd name="connsiteY603" fmla="*/ 25513 h 225957"/>
                <a:gd name="connsiteX604" fmla="*/ 123123 w 397940"/>
                <a:gd name="connsiteY604" fmla="*/ 25864 h 225957"/>
                <a:gd name="connsiteX605" fmla="*/ 124037 w 397940"/>
                <a:gd name="connsiteY605" fmla="*/ 25729 h 225957"/>
                <a:gd name="connsiteX606" fmla="*/ 125088 w 397940"/>
                <a:gd name="connsiteY606" fmla="*/ 24360 h 225957"/>
                <a:gd name="connsiteX607" fmla="*/ 125972 w 397940"/>
                <a:gd name="connsiteY607" fmla="*/ 22940 h 225957"/>
                <a:gd name="connsiteX608" fmla="*/ 126630 w 397940"/>
                <a:gd name="connsiteY608" fmla="*/ 22501 h 225957"/>
                <a:gd name="connsiteX609" fmla="*/ 129995 w 397940"/>
                <a:gd name="connsiteY609" fmla="*/ 23460 h 225957"/>
                <a:gd name="connsiteX610" fmla="*/ 131532 w 397940"/>
                <a:gd name="connsiteY610" fmla="*/ 23305 h 225957"/>
                <a:gd name="connsiteX611" fmla="*/ 132951 w 397940"/>
                <a:gd name="connsiteY611" fmla="*/ 22228 h 225957"/>
                <a:gd name="connsiteX612" fmla="*/ 133821 w 397940"/>
                <a:gd name="connsiteY612" fmla="*/ 22045 h 225957"/>
                <a:gd name="connsiteX613" fmla="*/ 136205 w 397940"/>
                <a:gd name="connsiteY613" fmla="*/ 22811 h 225957"/>
                <a:gd name="connsiteX614" fmla="*/ 139146 w 397940"/>
                <a:gd name="connsiteY614" fmla="*/ 23347 h 225957"/>
                <a:gd name="connsiteX615" fmla="*/ 141522 w 397940"/>
                <a:gd name="connsiteY615" fmla="*/ 23381 h 225957"/>
                <a:gd name="connsiteX616" fmla="*/ 143003 w 397940"/>
                <a:gd name="connsiteY616" fmla="*/ 23964 h 225957"/>
                <a:gd name="connsiteX617" fmla="*/ 144080 w 397940"/>
                <a:gd name="connsiteY617" fmla="*/ 26494 h 225957"/>
                <a:gd name="connsiteX618" fmla="*/ 145020 w 397940"/>
                <a:gd name="connsiteY618" fmla="*/ 27013 h 225957"/>
                <a:gd name="connsiteX619" fmla="*/ 145927 w 397940"/>
                <a:gd name="connsiteY619" fmla="*/ 27174 h 225957"/>
                <a:gd name="connsiteX620" fmla="*/ 147298 w 397940"/>
                <a:gd name="connsiteY620" fmla="*/ 24913 h 225957"/>
                <a:gd name="connsiteX621" fmla="*/ 148542 w 397940"/>
                <a:gd name="connsiteY621" fmla="*/ 24036 h 225957"/>
                <a:gd name="connsiteX622" fmla="*/ 150267 w 397940"/>
                <a:gd name="connsiteY622" fmla="*/ 23390 h 225957"/>
                <a:gd name="connsiteX623" fmla="*/ 151377 w 397940"/>
                <a:gd name="connsiteY623" fmla="*/ 23107 h 225957"/>
                <a:gd name="connsiteX624" fmla="*/ 152158 w 397940"/>
                <a:gd name="connsiteY624" fmla="*/ 22308 h 225957"/>
                <a:gd name="connsiteX625" fmla="*/ 153212 w 397940"/>
                <a:gd name="connsiteY625" fmla="*/ 21528 h 225957"/>
                <a:gd name="connsiteX626" fmla="*/ 154126 w 397940"/>
                <a:gd name="connsiteY626" fmla="*/ 21466 h 225957"/>
                <a:gd name="connsiteX627" fmla="*/ 154868 w 397940"/>
                <a:gd name="connsiteY627" fmla="*/ 21768 h 225957"/>
                <a:gd name="connsiteX628" fmla="*/ 155721 w 397940"/>
                <a:gd name="connsiteY628" fmla="*/ 22847 h 225957"/>
                <a:gd name="connsiteX629" fmla="*/ 156965 w 397940"/>
                <a:gd name="connsiteY629" fmla="*/ 25305 h 225957"/>
                <a:gd name="connsiteX630" fmla="*/ 158477 w 397940"/>
                <a:gd name="connsiteY630" fmla="*/ 27771 h 225957"/>
                <a:gd name="connsiteX631" fmla="*/ 159531 w 397940"/>
                <a:gd name="connsiteY631" fmla="*/ 28666 h 225957"/>
                <a:gd name="connsiteX632" fmla="*/ 162254 w 397940"/>
                <a:gd name="connsiteY632" fmla="*/ 27909 h 225957"/>
                <a:gd name="connsiteX633" fmla="*/ 164100 w 397940"/>
                <a:gd name="connsiteY633" fmla="*/ 27139 h 225957"/>
                <a:gd name="connsiteX634" fmla="*/ 167482 w 397940"/>
                <a:gd name="connsiteY634" fmla="*/ 26993 h 225957"/>
                <a:gd name="connsiteX635" fmla="*/ 171964 w 397940"/>
                <a:gd name="connsiteY635" fmla="*/ 26451 h 225957"/>
                <a:gd name="connsiteX636" fmla="*/ 175392 w 397940"/>
                <a:gd name="connsiteY636" fmla="*/ 25745 h 225957"/>
                <a:gd name="connsiteX637" fmla="*/ 177536 w 397940"/>
                <a:gd name="connsiteY637" fmla="*/ 25867 h 225957"/>
                <a:gd name="connsiteX638" fmla="*/ 178836 w 397940"/>
                <a:gd name="connsiteY638" fmla="*/ 26650 h 225957"/>
                <a:gd name="connsiteX639" fmla="*/ 180814 w 397940"/>
                <a:gd name="connsiteY639" fmla="*/ 28166 h 225957"/>
                <a:gd name="connsiteX640" fmla="*/ 181354 w 397940"/>
                <a:gd name="connsiteY640" fmla="*/ 30339 h 225957"/>
                <a:gd name="connsiteX641" fmla="*/ 183921 w 397940"/>
                <a:gd name="connsiteY641" fmla="*/ 31841 h 225957"/>
                <a:gd name="connsiteX642" fmla="*/ 186022 w 397940"/>
                <a:gd name="connsiteY642" fmla="*/ 32112 h 225957"/>
                <a:gd name="connsiteX643" fmla="*/ 186739 w 397940"/>
                <a:gd name="connsiteY643" fmla="*/ 30549 h 225957"/>
                <a:gd name="connsiteX644" fmla="*/ 187968 w 397940"/>
                <a:gd name="connsiteY644" fmla="*/ 29462 h 225957"/>
                <a:gd name="connsiteX645" fmla="*/ 187508 w 397940"/>
                <a:gd name="connsiteY645" fmla="*/ 27968 h 225957"/>
                <a:gd name="connsiteX646" fmla="*/ 187301 w 397940"/>
                <a:gd name="connsiteY646" fmla="*/ 26062 h 225957"/>
                <a:gd name="connsiteX647" fmla="*/ 186380 w 397940"/>
                <a:gd name="connsiteY647" fmla="*/ 24291 h 225957"/>
                <a:gd name="connsiteX648" fmla="*/ 185767 w 397940"/>
                <a:gd name="connsiteY648" fmla="*/ 22384 h 225957"/>
                <a:gd name="connsiteX649" fmla="*/ 186892 w 397940"/>
                <a:gd name="connsiteY649" fmla="*/ 19657 h 225957"/>
                <a:gd name="connsiteX650" fmla="*/ 188121 w 397940"/>
                <a:gd name="connsiteY650" fmla="*/ 17267 h 225957"/>
                <a:gd name="connsiteX651" fmla="*/ 188736 w 397940"/>
                <a:gd name="connsiteY651" fmla="*/ 15968 h 225957"/>
                <a:gd name="connsiteX652" fmla="*/ 190682 w 397940"/>
                <a:gd name="connsiteY652" fmla="*/ 13576 h 225957"/>
                <a:gd name="connsiteX653" fmla="*/ 192682 w 397940"/>
                <a:gd name="connsiteY653" fmla="*/ 11865 h 225957"/>
                <a:gd name="connsiteX654" fmla="*/ 195666 w 397940"/>
                <a:gd name="connsiteY654" fmla="*/ 9111 h 225957"/>
                <a:gd name="connsiteX655" fmla="*/ 197847 w 397940"/>
                <a:gd name="connsiteY655" fmla="*/ 8201 h 225957"/>
                <a:gd name="connsiteX656" fmla="*/ 199818 w 397940"/>
                <a:gd name="connsiteY656" fmla="*/ 8616 h 225957"/>
                <a:gd name="connsiteX657" fmla="*/ 200913 w 397940"/>
                <a:gd name="connsiteY657" fmla="*/ 8992 h 225957"/>
                <a:gd name="connsiteX658" fmla="*/ 203744 w 397940"/>
                <a:gd name="connsiteY658" fmla="*/ 7360 h 225957"/>
                <a:gd name="connsiteX659" fmla="*/ 208780 w 397940"/>
                <a:gd name="connsiteY659" fmla="*/ 7279 h 225957"/>
                <a:gd name="connsiteX660" fmla="*/ 212973 w 397940"/>
                <a:gd name="connsiteY660" fmla="*/ 7487 h 225957"/>
                <a:gd name="connsiteX661" fmla="*/ 213394 w 397940"/>
                <a:gd name="connsiteY661" fmla="*/ 7536 h 225957"/>
                <a:gd name="connsiteX662" fmla="*/ 215455 w 397940"/>
                <a:gd name="connsiteY662" fmla="*/ 8380 h 225957"/>
                <a:gd name="connsiteX663" fmla="*/ 217627 w 397940"/>
                <a:gd name="connsiteY663" fmla="*/ 9098 h 225957"/>
                <a:gd name="connsiteX664" fmla="*/ 219125 w 397940"/>
                <a:gd name="connsiteY664" fmla="*/ 9146 h 225957"/>
                <a:gd name="connsiteX665" fmla="*/ 220909 w 397940"/>
                <a:gd name="connsiteY665" fmla="*/ 8981 h 225957"/>
                <a:gd name="connsiteX666" fmla="*/ 223000 w 397940"/>
                <a:gd name="connsiteY666" fmla="*/ 8024 h 225957"/>
                <a:gd name="connsiteX667" fmla="*/ 224459 w 397940"/>
                <a:gd name="connsiteY667" fmla="*/ 7104 h 225957"/>
                <a:gd name="connsiteX668" fmla="*/ 226232 w 397940"/>
                <a:gd name="connsiteY668" fmla="*/ 2418 h 225957"/>
                <a:gd name="connsiteX669" fmla="*/ 226858 w 397940"/>
                <a:gd name="connsiteY669" fmla="*/ 1744 h 225957"/>
                <a:gd name="connsiteX670" fmla="*/ 227834 w 397940"/>
                <a:gd name="connsiteY670" fmla="*/ 1376 h 225957"/>
                <a:gd name="connsiteX671" fmla="*/ 229437 w 397940"/>
                <a:gd name="connsiteY671" fmla="*/ 1337 h 225957"/>
                <a:gd name="connsiteX672" fmla="*/ 232477 w 397940"/>
                <a:gd name="connsiteY672" fmla="*/ 2211 h 225957"/>
                <a:gd name="connsiteX673" fmla="*/ 236038 w 397940"/>
                <a:gd name="connsiteY673" fmla="*/ 2996 h 225957"/>
                <a:gd name="connsiteX674" fmla="*/ 238100 w 397940"/>
                <a:gd name="connsiteY674" fmla="*/ 2886 h 225957"/>
                <a:gd name="connsiteX675" fmla="*/ 243600 w 397940"/>
                <a:gd name="connsiteY675" fmla="*/ 390 h 225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Lst>
              <a:rect l="l" t="t" r="r" b="b"/>
              <a:pathLst>
                <a:path w="397940" h="225957">
                  <a:moveTo>
                    <a:pt x="207344" y="171473"/>
                  </a:moveTo>
                  <a:lnTo>
                    <a:pt x="209026" y="173412"/>
                  </a:lnTo>
                  <a:lnTo>
                    <a:pt x="210212" y="174260"/>
                  </a:lnTo>
                  <a:lnTo>
                    <a:pt x="218475" y="176160"/>
                  </a:lnTo>
                  <a:lnTo>
                    <a:pt x="221524" y="177522"/>
                  </a:lnTo>
                  <a:lnTo>
                    <a:pt x="218413" y="177159"/>
                  </a:lnTo>
                  <a:lnTo>
                    <a:pt x="211576" y="175879"/>
                  </a:lnTo>
                  <a:lnTo>
                    <a:pt x="208562" y="174670"/>
                  </a:lnTo>
                  <a:lnTo>
                    <a:pt x="207784" y="173318"/>
                  </a:lnTo>
                  <a:close/>
                  <a:moveTo>
                    <a:pt x="246666" y="0"/>
                  </a:moveTo>
                  <a:lnTo>
                    <a:pt x="250309" y="587"/>
                  </a:lnTo>
                  <a:lnTo>
                    <a:pt x="253881" y="622"/>
                  </a:lnTo>
                  <a:lnTo>
                    <a:pt x="256576" y="261"/>
                  </a:lnTo>
                  <a:lnTo>
                    <a:pt x="258424" y="1126"/>
                  </a:lnTo>
                  <a:lnTo>
                    <a:pt x="260707" y="3030"/>
                  </a:lnTo>
                  <a:lnTo>
                    <a:pt x="262769" y="5862"/>
                  </a:lnTo>
                  <a:lnTo>
                    <a:pt x="264930" y="11080"/>
                  </a:lnTo>
                  <a:lnTo>
                    <a:pt x="271227" y="16962"/>
                  </a:lnTo>
                  <a:lnTo>
                    <a:pt x="271335" y="18109"/>
                  </a:lnTo>
                  <a:lnTo>
                    <a:pt x="270817" y="18846"/>
                  </a:lnTo>
                  <a:lnTo>
                    <a:pt x="267718" y="19561"/>
                  </a:lnTo>
                  <a:lnTo>
                    <a:pt x="265107" y="19946"/>
                  </a:lnTo>
                  <a:lnTo>
                    <a:pt x="264982" y="20953"/>
                  </a:lnTo>
                  <a:lnTo>
                    <a:pt x="265675" y="22042"/>
                  </a:lnTo>
                  <a:lnTo>
                    <a:pt x="266872" y="23635"/>
                  </a:lnTo>
                  <a:lnTo>
                    <a:pt x="267057" y="25685"/>
                  </a:lnTo>
                  <a:lnTo>
                    <a:pt x="266997" y="27569"/>
                  </a:lnTo>
                  <a:lnTo>
                    <a:pt x="267513" y="29233"/>
                  </a:lnTo>
                  <a:lnTo>
                    <a:pt x="268511" y="29909"/>
                  </a:lnTo>
                  <a:lnTo>
                    <a:pt x="268636" y="30745"/>
                  </a:lnTo>
                  <a:lnTo>
                    <a:pt x="267481" y="31766"/>
                  </a:lnTo>
                  <a:lnTo>
                    <a:pt x="267159" y="32396"/>
                  </a:lnTo>
                  <a:lnTo>
                    <a:pt x="267608" y="32735"/>
                  </a:lnTo>
                  <a:lnTo>
                    <a:pt x="273287" y="32932"/>
                  </a:lnTo>
                  <a:lnTo>
                    <a:pt x="276068" y="33926"/>
                  </a:lnTo>
                  <a:lnTo>
                    <a:pt x="278180" y="34831"/>
                  </a:lnTo>
                  <a:lnTo>
                    <a:pt x="279243" y="34915"/>
                  </a:lnTo>
                  <a:lnTo>
                    <a:pt x="281635" y="34333"/>
                  </a:lnTo>
                  <a:lnTo>
                    <a:pt x="284326" y="33966"/>
                  </a:lnTo>
                  <a:lnTo>
                    <a:pt x="285958" y="33917"/>
                  </a:lnTo>
                  <a:lnTo>
                    <a:pt x="286589" y="34584"/>
                  </a:lnTo>
                  <a:lnTo>
                    <a:pt x="287092" y="36334"/>
                  </a:lnTo>
                  <a:lnTo>
                    <a:pt x="288038" y="38084"/>
                  </a:lnTo>
                  <a:lnTo>
                    <a:pt x="288921" y="38584"/>
                  </a:lnTo>
                  <a:lnTo>
                    <a:pt x="290493" y="38500"/>
                  </a:lnTo>
                  <a:lnTo>
                    <a:pt x="291439" y="38584"/>
                  </a:lnTo>
                  <a:lnTo>
                    <a:pt x="291944" y="39249"/>
                  </a:lnTo>
                  <a:lnTo>
                    <a:pt x="291376" y="40249"/>
                  </a:lnTo>
                  <a:lnTo>
                    <a:pt x="291502" y="41329"/>
                  </a:lnTo>
                  <a:lnTo>
                    <a:pt x="292195" y="42660"/>
                  </a:lnTo>
                  <a:lnTo>
                    <a:pt x="293015" y="45733"/>
                  </a:lnTo>
                  <a:lnTo>
                    <a:pt x="293771" y="46646"/>
                  </a:lnTo>
                  <a:lnTo>
                    <a:pt x="294274" y="47808"/>
                  </a:lnTo>
                  <a:lnTo>
                    <a:pt x="294274" y="49135"/>
                  </a:lnTo>
                  <a:lnTo>
                    <a:pt x="293644" y="50295"/>
                  </a:lnTo>
                  <a:lnTo>
                    <a:pt x="293203" y="51205"/>
                  </a:lnTo>
                  <a:lnTo>
                    <a:pt x="293644" y="53275"/>
                  </a:lnTo>
                  <a:lnTo>
                    <a:pt x="295343" y="55592"/>
                  </a:lnTo>
                  <a:lnTo>
                    <a:pt x="296604" y="56170"/>
                  </a:lnTo>
                  <a:lnTo>
                    <a:pt x="297613" y="58236"/>
                  </a:lnTo>
                  <a:lnTo>
                    <a:pt x="299439" y="58896"/>
                  </a:lnTo>
                  <a:lnTo>
                    <a:pt x="302147" y="57163"/>
                  </a:lnTo>
                  <a:lnTo>
                    <a:pt x="304227" y="56254"/>
                  </a:lnTo>
                  <a:lnTo>
                    <a:pt x="306827" y="56759"/>
                  </a:lnTo>
                  <a:lnTo>
                    <a:pt x="309228" y="57082"/>
                  </a:lnTo>
                  <a:lnTo>
                    <a:pt x="310843" y="58263"/>
                  </a:lnTo>
                  <a:lnTo>
                    <a:pt x="312035" y="59887"/>
                  </a:lnTo>
                  <a:lnTo>
                    <a:pt x="313422" y="60794"/>
                  </a:lnTo>
                  <a:lnTo>
                    <a:pt x="314810" y="60320"/>
                  </a:lnTo>
                  <a:lnTo>
                    <a:pt x="317706" y="60794"/>
                  </a:lnTo>
                  <a:lnTo>
                    <a:pt x="319029" y="62114"/>
                  </a:lnTo>
                  <a:lnTo>
                    <a:pt x="320351" y="62856"/>
                  </a:lnTo>
                  <a:lnTo>
                    <a:pt x="322052" y="61785"/>
                  </a:lnTo>
                  <a:lnTo>
                    <a:pt x="323439" y="60465"/>
                  </a:lnTo>
                  <a:lnTo>
                    <a:pt x="328511" y="59082"/>
                  </a:lnTo>
                  <a:lnTo>
                    <a:pt x="331668" y="58736"/>
                  </a:lnTo>
                  <a:lnTo>
                    <a:pt x="332549" y="58464"/>
                  </a:lnTo>
                  <a:lnTo>
                    <a:pt x="334402" y="57476"/>
                  </a:lnTo>
                  <a:lnTo>
                    <a:pt x="336354" y="56819"/>
                  </a:lnTo>
                  <a:lnTo>
                    <a:pt x="338116" y="56997"/>
                  </a:lnTo>
                  <a:lnTo>
                    <a:pt x="339852" y="59049"/>
                  </a:lnTo>
                  <a:lnTo>
                    <a:pt x="341643" y="60465"/>
                  </a:lnTo>
                  <a:lnTo>
                    <a:pt x="342146" y="62691"/>
                  </a:lnTo>
                  <a:lnTo>
                    <a:pt x="344337" y="65753"/>
                  </a:lnTo>
                  <a:lnTo>
                    <a:pt x="349779" y="69936"/>
                  </a:lnTo>
                  <a:lnTo>
                    <a:pt x="351915" y="71211"/>
                  </a:lnTo>
                  <a:lnTo>
                    <a:pt x="353366" y="70986"/>
                  </a:lnTo>
                  <a:lnTo>
                    <a:pt x="354124" y="70652"/>
                  </a:lnTo>
                  <a:lnTo>
                    <a:pt x="354476" y="70215"/>
                  </a:lnTo>
                  <a:lnTo>
                    <a:pt x="354804" y="68170"/>
                  </a:lnTo>
                  <a:lnTo>
                    <a:pt x="355493" y="67417"/>
                  </a:lnTo>
                  <a:lnTo>
                    <a:pt x="356596" y="67392"/>
                  </a:lnTo>
                  <a:lnTo>
                    <a:pt x="360855" y="69940"/>
                  </a:lnTo>
                  <a:lnTo>
                    <a:pt x="363083" y="70214"/>
                  </a:lnTo>
                  <a:lnTo>
                    <a:pt x="365201" y="70263"/>
                  </a:lnTo>
                  <a:lnTo>
                    <a:pt x="368052" y="72240"/>
                  </a:lnTo>
                  <a:lnTo>
                    <a:pt x="371185" y="73958"/>
                  </a:lnTo>
                  <a:lnTo>
                    <a:pt x="373603" y="74139"/>
                  </a:lnTo>
                  <a:lnTo>
                    <a:pt x="375532" y="73467"/>
                  </a:lnTo>
                  <a:lnTo>
                    <a:pt x="376856" y="73058"/>
                  </a:lnTo>
                  <a:lnTo>
                    <a:pt x="377674" y="73713"/>
                  </a:lnTo>
                  <a:lnTo>
                    <a:pt x="378430" y="75190"/>
                  </a:lnTo>
                  <a:lnTo>
                    <a:pt x="379689" y="76338"/>
                  </a:lnTo>
                  <a:lnTo>
                    <a:pt x="381138" y="76666"/>
                  </a:lnTo>
                  <a:lnTo>
                    <a:pt x="383223" y="76741"/>
                  </a:lnTo>
                  <a:lnTo>
                    <a:pt x="386845" y="78966"/>
                  </a:lnTo>
                  <a:lnTo>
                    <a:pt x="390250" y="81226"/>
                  </a:lnTo>
                  <a:lnTo>
                    <a:pt x="392379" y="81351"/>
                  </a:lnTo>
                  <a:lnTo>
                    <a:pt x="394185" y="80688"/>
                  </a:lnTo>
                  <a:lnTo>
                    <a:pt x="395780" y="80517"/>
                  </a:lnTo>
                  <a:lnTo>
                    <a:pt x="396886" y="81087"/>
                  </a:lnTo>
                  <a:lnTo>
                    <a:pt x="397201" y="82069"/>
                  </a:lnTo>
                  <a:lnTo>
                    <a:pt x="396381" y="83378"/>
                  </a:lnTo>
                  <a:lnTo>
                    <a:pt x="396381" y="85258"/>
                  </a:lnTo>
                  <a:lnTo>
                    <a:pt x="397892" y="87055"/>
                  </a:lnTo>
                  <a:lnTo>
                    <a:pt x="397940" y="88820"/>
                  </a:lnTo>
                  <a:lnTo>
                    <a:pt x="397508" y="90413"/>
                  </a:lnTo>
                  <a:lnTo>
                    <a:pt x="396651" y="91880"/>
                  </a:lnTo>
                  <a:lnTo>
                    <a:pt x="394580" y="93894"/>
                  </a:lnTo>
                  <a:lnTo>
                    <a:pt x="392664" y="95773"/>
                  </a:lnTo>
                  <a:lnTo>
                    <a:pt x="389784" y="96558"/>
                  </a:lnTo>
                  <a:lnTo>
                    <a:pt x="388171" y="97376"/>
                  </a:lnTo>
                  <a:lnTo>
                    <a:pt x="388594" y="98755"/>
                  </a:lnTo>
                  <a:lnTo>
                    <a:pt x="389648" y="100041"/>
                  </a:lnTo>
                  <a:lnTo>
                    <a:pt x="392090" y="101081"/>
                  </a:lnTo>
                  <a:lnTo>
                    <a:pt x="394863" y="101838"/>
                  </a:lnTo>
                  <a:lnTo>
                    <a:pt x="395182" y="102673"/>
                  </a:lnTo>
                  <a:lnTo>
                    <a:pt x="394759" y="103092"/>
                  </a:lnTo>
                  <a:lnTo>
                    <a:pt x="392982" y="103480"/>
                  </a:lnTo>
                  <a:lnTo>
                    <a:pt x="390522" y="103082"/>
                  </a:lnTo>
                  <a:lnTo>
                    <a:pt x="389704" y="103812"/>
                  </a:lnTo>
                  <a:lnTo>
                    <a:pt x="388570" y="105028"/>
                  </a:lnTo>
                  <a:lnTo>
                    <a:pt x="387815" y="107215"/>
                  </a:lnTo>
                  <a:lnTo>
                    <a:pt x="387246" y="109239"/>
                  </a:lnTo>
                  <a:lnTo>
                    <a:pt x="389916" y="109788"/>
                  </a:lnTo>
                  <a:lnTo>
                    <a:pt x="391468" y="110614"/>
                  </a:lnTo>
                  <a:lnTo>
                    <a:pt x="391952" y="112276"/>
                  </a:lnTo>
                  <a:lnTo>
                    <a:pt x="392507" y="114123"/>
                  </a:lnTo>
                  <a:lnTo>
                    <a:pt x="392667" y="115785"/>
                  </a:lnTo>
                  <a:lnTo>
                    <a:pt x="391783" y="116592"/>
                  </a:lnTo>
                  <a:lnTo>
                    <a:pt x="391730" y="117418"/>
                  </a:lnTo>
                  <a:lnTo>
                    <a:pt x="392146" y="117824"/>
                  </a:lnTo>
                  <a:lnTo>
                    <a:pt x="393293" y="118008"/>
                  </a:lnTo>
                  <a:lnTo>
                    <a:pt x="394172" y="118377"/>
                  </a:lnTo>
                  <a:lnTo>
                    <a:pt x="394241" y="119253"/>
                  </a:lnTo>
                  <a:lnTo>
                    <a:pt x="392561" y="121220"/>
                  </a:lnTo>
                  <a:lnTo>
                    <a:pt x="390989" y="124979"/>
                  </a:lnTo>
                  <a:lnTo>
                    <a:pt x="390144" y="126978"/>
                  </a:lnTo>
                  <a:lnTo>
                    <a:pt x="390209" y="129146"/>
                  </a:lnTo>
                  <a:lnTo>
                    <a:pt x="389263" y="130350"/>
                  </a:lnTo>
                  <a:lnTo>
                    <a:pt x="387551" y="130452"/>
                  </a:lnTo>
                  <a:lnTo>
                    <a:pt x="381636" y="130662"/>
                  </a:lnTo>
                  <a:lnTo>
                    <a:pt x="376495" y="130559"/>
                  </a:lnTo>
                  <a:lnTo>
                    <a:pt x="374269" y="130247"/>
                  </a:lnTo>
                  <a:lnTo>
                    <a:pt x="370785" y="130060"/>
                  </a:lnTo>
                  <a:lnTo>
                    <a:pt x="369060" y="130570"/>
                  </a:lnTo>
                  <a:lnTo>
                    <a:pt x="366776" y="134029"/>
                  </a:lnTo>
                  <a:lnTo>
                    <a:pt x="365044" y="135384"/>
                  </a:lnTo>
                  <a:lnTo>
                    <a:pt x="362176" y="136607"/>
                  </a:lnTo>
                  <a:lnTo>
                    <a:pt x="359034" y="136957"/>
                  </a:lnTo>
                  <a:lnTo>
                    <a:pt x="357233" y="138383"/>
                  </a:lnTo>
                  <a:lnTo>
                    <a:pt x="356601" y="140618"/>
                  </a:lnTo>
                  <a:lnTo>
                    <a:pt x="356551" y="142598"/>
                  </a:lnTo>
                  <a:lnTo>
                    <a:pt x="356257" y="143586"/>
                  </a:lnTo>
                  <a:lnTo>
                    <a:pt x="355575" y="144452"/>
                  </a:lnTo>
                  <a:lnTo>
                    <a:pt x="355331" y="145068"/>
                  </a:lnTo>
                  <a:lnTo>
                    <a:pt x="355477" y="145747"/>
                  </a:lnTo>
                  <a:lnTo>
                    <a:pt x="356208" y="145994"/>
                  </a:lnTo>
                  <a:lnTo>
                    <a:pt x="357086" y="146303"/>
                  </a:lnTo>
                  <a:lnTo>
                    <a:pt x="357086" y="146797"/>
                  </a:lnTo>
                  <a:lnTo>
                    <a:pt x="356745" y="147414"/>
                  </a:lnTo>
                  <a:lnTo>
                    <a:pt x="355769" y="148092"/>
                  </a:lnTo>
                  <a:lnTo>
                    <a:pt x="355331" y="149141"/>
                  </a:lnTo>
                  <a:lnTo>
                    <a:pt x="355430" y="150249"/>
                  </a:lnTo>
                  <a:lnTo>
                    <a:pt x="355618" y="151483"/>
                  </a:lnTo>
                  <a:lnTo>
                    <a:pt x="354821" y="151796"/>
                  </a:lnTo>
                  <a:lnTo>
                    <a:pt x="347091" y="151360"/>
                  </a:lnTo>
                  <a:lnTo>
                    <a:pt x="340781" y="151954"/>
                  </a:lnTo>
                  <a:lnTo>
                    <a:pt x="336281" y="156355"/>
                  </a:lnTo>
                  <a:lnTo>
                    <a:pt x="333599" y="156343"/>
                  </a:lnTo>
                  <a:lnTo>
                    <a:pt x="329818" y="157489"/>
                  </a:lnTo>
                  <a:lnTo>
                    <a:pt x="327263" y="158912"/>
                  </a:lnTo>
                  <a:lnTo>
                    <a:pt x="324229" y="161995"/>
                  </a:lnTo>
                  <a:lnTo>
                    <a:pt x="321882" y="160611"/>
                  </a:lnTo>
                  <a:lnTo>
                    <a:pt x="319010" y="160651"/>
                  </a:lnTo>
                  <a:lnTo>
                    <a:pt x="316207" y="161490"/>
                  </a:lnTo>
                  <a:lnTo>
                    <a:pt x="312834" y="163547"/>
                  </a:lnTo>
                  <a:lnTo>
                    <a:pt x="310958" y="163911"/>
                  </a:lnTo>
                  <a:lnTo>
                    <a:pt x="307205" y="163319"/>
                  </a:lnTo>
                  <a:lnTo>
                    <a:pt x="302832" y="164500"/>
                  </a:lnTo>
                  <a:lnTo>
                    <a:pt x="293391" y="171244"/>
                  </a:lnTo>
                  <a:lnTo>
                    <a:pt x="290217" y="176160"/>
                  </a:lnTo>
                  <a:lnTo>
                    <a:pt x="289061" y="177121"/>
                  </a:lnTo>
                  <a:lnTo>
                    <a:pt x="287468" y="178319"/>
                  </a:lnTo>
                  <a:lnTo>
                    <a:pt x="285764" y="178924"/>
                  </a:lnTo>
                  <a:lnTo>
                    <a:pt x="284864" y="178868"/>
                  </a:lnTo>
                  <a:lnTo>
                    <a:pt x="289357" y="175378"/>
                  </a:lnTo>
                  <a:lnTo>
                    <a:pt x="290737" y="174068"/>
                  </a:lnTo>
                  <a:lnTo>
                    <a:pt x="290975" y="173101"/>
                  </a:lnTo>
                  <a:lnTo>
                    <a:pt x="290998" y="171541"/>
                  </a:lnTo>
                  <a:lnTo>
                    <a:pt x="289636" y="169601"/>
                  </a:lnTo>
                  <a:lnTo>
                    <a:pt x="285958" y="174407"/>
                  </a:lnTo>
                  <a:lnTo>
                    <a:pt x="283868" y="175104"/>
                  </a:lnTo>
                  <a:lnTo>
                    <a:pt x="281216" y="176548"/>
                  </a:lnTo>
                  <a:lnTo>
                    <a:pt x="281087" y="179764"/>
                  </a:lnTo>
                  <a:lnTo>
                    <a:pt x="281387" y="182146"/>
                  </a:lnTo>
                  <a:lnTo>
                    <a:pt x="282477" y="185142"/>
                  </a:lnTo>
                  <a:lnTo>
                    <a:pt x="285047" y="190042"/>
                  </a:lnTo>
                  <a:lnTo>
                    <a:pt x="290295" y="197027"/>
                  </a:lnTo>
                  <a:lnTo>
                    <a:pt x="292810" y="199588"/>
                  </a:lnTo>
                  <a:lnTo>
                    <a:pt x="294659" y="200611"/>
                  </a:lnTo>
                  <a:lnTo>
                    <a:pt x="296881" y="200759"/>
                  </a:lnTo>
                  <a:lnTo>
                    <a:pt x="301147" y="198607"/>
                  </a:lnTo>
                  <a:lnTo>
                    <a:pt x="302972" y="198271"/>
                  </a:lnTo>
                  <a:lnTo>
                    <a:pt x="306939" y="199092"/>
                  </a:lnTo>
                  <a:lnTo>
                    <a:pt x="308360" y="197653"/>
                  </a:lnTo>
                  <a:lnTo>
                    <a:pt x="310424" y="196858"/>
                  </a:lnTo>
                  <a:lnTo>
                    <a:pt x="313074" y="196757"/>
                  </a:lnTo>
                  <a:lnTo>
                    <a:pt x="316097" y="197402"/>
                  </a:lnTo>
                  <a:lnTo>
                    <a:pt x="319368" y="198492"/>
                  </a:lnTo>
                  <a:lnTo>
                    <a:pt x="318025" y="200955"/>
                  </a:lnTo>
                  <a:lnTo>
                    <a:pt x="316622" y="202913"/>
                  </a:lnTo>
                  <a:lnTo>
                    <a:pt x="316127" y="205078"/>
                  </a:lnTo>
                  <a:lnTo>
                    <a:pt x="315352" y="207482"/>
                  </a:lnTo>
                  <a:lnTo>
                    <a:pt x="311737" y="208560"/>
                  </a:lnTo>
                  <a:lnTo>
                    <a:pt x="307865" y="208428"/>
                  </a:lnTo>
                  <a:lnTo>
                    <a:pt x="303782" y="209125"/>
                  </a:lnTo>
                  <a:lnTo>
                    <a:pt x="302311" y="208187"/>
                  </a:lnTo>
                  <a:lnTo>
                    <a:pt x="301335" y="207333"/>
                  </a:lnTo>
                  <a:lnTo>
                    <a:pt x="299524" y="206481"/>
                  </a:lnTo>
                  <a:lnTo>
                    <a:pt x="297135" y="206006"/>
                  </a:lnTo>
                  <a:lnTo>
                    <a:pt x="294991" y="206577"/>
                  </a:lnTo>
                  <a:lnTo>
                    <a:pt x="292454" y="209860"/>
                  </a:lnTo>
                  <a:lnTo>
                    <a:pt x="287965" y="212102"/>
                  </a:lnTo>
                  <a:lnTo>
                    <a:pt x="286481" y="214659"/>
                  </a:lnTo>
                  <a:lnTo>
                    <a:pt x="282061" y="214088"/>
                  </a:lnTo>
                  <a:lnTo>
                    <a:pt x="278282" y="214536"/>
                  </a:lnTo>
                  <a:lnTo>
                    <a:pt x="272821" y="216866"/>
                  </a:lnTo>
                  <a:lnTo>
                    <a:pt x="268660" y="221856"/>
                  </a:lnTo>
                  <a:lnTo>
                    <a:pt x="264075" y="224972"/>
                  </a:lnTo>
                  <a:lnTo>
                    <a:pt x="260439" y="225957"/>
                  </a:lnTo>
                  <a:lnTo>
                    <a:pt x="257027" y="225649"/>
                  </a:lnTo>
                  <a:lnTo>
                    <a:pt x="254820" y="224717"/>
                  </a:lnTo>
                  <a:lnTo>
                    <a:pt x="250283" y="221442"/>
                  </a:lnTo>
                  <a:lnTo>
                    <a:pt x="250549" y="220267"/>
                  </a:lnTo>
                  <a:lnTo>
                    <a:pt x="251182" y="219674"/>
                  </a:lnTo>
                  <a:lnTo>
                    <a:pt x="252039" y="217988"/>
                  </a:lnTo>
                  <a:lnTo>
                    <a:pt x="253855" y="211788"/>
                  </a:lnTo>
                  <a:lnTo>
                    <a:pt x="253611" y="209776"/>
                  </a:lnTo>
                  <a:lnTo>
                    <a:pt x="252594" y="206600"/>
                  </a:lnTo>
                  <a:lnTo>
                    <a:pt x="248996" y="204131"/>
                  </a:lnTo>
                  <a:lnTo>
                    <a:pt x="246100" y="204599"/>
                  </a:lnTo>
                  <a:lnTo>
                    <a:pt x="244451" y="203941"/>
                  </a:lnTo>
                  <a:lnTo>
                    <a:pt x="238519" y="199738"/>
                  </a:lnTo>
                  <a:lnTo>
                    <a:pt x="235291" y="199440"/>
                  </a:lnTo>
                  <a:lnTo>
                    <a:pt x="231723" y="200288"/>
                  </a:lnTo>
                  <a:lnTo>
                    <a:pt x="230408" y="199676"/>
                  </a:lnTo>
                  <a:lnTo>
                    <a:pt x="229439" y="198210"/>
                  </a:lnTo>
                  <a:lnTo>
                    <a:pt x="236515" y="193012"/>
                  </a:lnTo>
                  <a:lnTo>
                    <a:pt x="243464" y="188714"/>
                  </a:lnTo>
                  <a:lnTo>
                    <a:pt x="246511" y="188272"/>
                  </a:lnTo>
                  <a:lnTo>
                    <a:pt x="250627" y="186269"/>
                  </a:lnTo>
                  <a:lnTo>
                    <a:pt x="255019" y="183259"/>
                  </a:lnTo>
                  <a:lnTo>
                    <a:pt x="254397" y="180890"/>
                  </a:lnTo>
                  <a:lnTo>
                    <a:pt x="253455" y="179138"/>
                  </a:lnTo>
                  <a:lnTo>
                    <a:pt x="251348" y="179619"/>
                  </a:lnTo>
                  <a:lnTo>
                    <a:pt x="249823" y="180206"/>
                  </a:lnTo>
                  <a:lnTo>
                    <a:pt x="246144" y="178325"/>
                  </a:lnTo>
                  <a:lnTo>
                    <a:pt x="244790" y="176940"/>
                  </a:lnTo>
                  <a:lnTo>
                    <a:pt x="239031" y="178377"/>
                  </a:lnTo>
                  <a:lnTo>
                    <a:pt x="235826" y="178164"/>
                  </a:lnTo>
                  <a:lnTo>
                    <a:pt x="228748" y="179485"/>
                  </a:lnTo>
                  <a:lnTo>
                    <a:pt x="225500" y="178195"/>
                  </a:lnTo>
                  <a:lnTo>
                    <a:pt x="218996" y="174580"/>
                  </a:lnTo>
                  <a:lnTo>
                    <a:pt x="216551" y="173853"/>
                  </a:lnTo>
                  <a:lnTo>
                    <a:pt x="214474" y="174007"/>
                  </a:lnTo>
                  <a:lnTo>
                    <a:pt x="213340" y="172817"/>
                  </a:lnTo>
                  <a:lnTo>
                    <a:pt x="214731" y="172221"/>
                  </a:lnTo>
                  <a:lnTo>
                    <a:pt x="216346" y="172151"/>
                  </a:lnTo>
                  <a:lnTo>
                    <a:pt x="218022" y="171715"/>
                  </a:lnTo>
                  <a:lnTo>
                    <a:pt x="218495" y="171084"/>
                  </a:lnTo>
                  <a:lnTo>
                    <a:pt x="218394" y="169897"/>
                  </a:lnTo>
                  <a:lnTo>
                    <a:pt x="215016" y="168996"/>
                  </a:lnTo>
                  <a:lnTo>
                    <a:pt x="211874" y="168737"/>
                  </a:lnTo>
                  <a:lnTo>
                    <a:pt x="209883" y="167669"/>
                  </a:lnTo>
                  <a:lnTo>
                    <a:pt x="208363" y="166446"/>
                  </a:lnTo>
                  <a:lnTo>
                    <a:pt x="211926" y="166427"/>
                  </a:lnTo>
                  <a:lnTo>
                    <a:pt x="215506" y="167352"/>
                  </a:lnTo>
                  <a:lnTo>
                    <a:pt x="221112" y="167693"/>
                  </a:lnTo>
                  <a:lnTo>
                    <a:pt x="226195" y="168649"/>
                  </a:lnTo>
                  <a:lnTo>
                    <a:pt x="227469" y="167460"/>
                  </a:lnTo>
                  <a:lnTo>
                    <a:pt x="230423" y="165399"/>
                  </a:lnTo>
                  <a:lnTo>
                    <a:pt x="230987" y="164742"/>
                  </a:lnTo>
                  <a:lnTo>
                    <a:pt x="226035" y="166153"/>
                  </a:lnTo>
                  <a:lnTo>
                    <a:pt x="221019" y="165253"/>
                  </a:lnTo>
                  <a:lnTo>
                    <a:pt x="219186" y="163995"/>
                  </a:lnTo>
                  <a:lnTo>
                    <a:pt x="217637" y="162151"/>
                  </a:lnTo>
                  <a:lnTo>
                    <a:pt x="216987" y="160047"/>
                  </a:lnTo>
                  <a:lnTo>
                    <a:pt x="217411" y="158085"/>
                  </a:lnTo>
                  <a:lnTo>
                    <a:pt x="216869" y="154539"/>
                  </a:lnTo>
                  <a:lnTo>
                    <a:pt x="215215" y="151380"/>
                  </a:lnTo>
                  <a:lnTo>
                    <a:pt x="214628" y="149645"/>
                  </a:lnTo>
                  <a:lnTo>
                    <a:pt x="212880" y="148089"/>
                  </a:lnTo>
                  <a:lnTo>
                    <a:pt x="214599" y="151607"/>
                  </a:lnTo>
                  <a:lnTo>
                    <a:pt x="215241" y="153945"/>
                  </a:lnTo>
                  <a:lnTo>
                    <a:pt x="216275" y="156097"/>
                  </a:lnTo>
                  <a:lnTo>
                    <a:pt x="216031" y="161794"/>
                  </a:lnTo>
                  <a:lnTo>
                    <a:pt x="215394" y="163793"/>
                  </a:lnTo>
                  <a:lnTo>
                    <a:pt x="213332" y="164297"/>
                  </a:lnTo>
                  <a:lnTo>
                    <a:pt x="210622" y="163997"/>
                  </a:lnTo>
                  <a:lnTo>
                    <a:pt x="207860" y="163376"/>
                  </a:lnTo>
                  <a:lnTo>
                    <a:pt x="208551" y="160245"/>
                  </a:lnTo>
                  <a:lnTo>
                    <a:pt x="207080" y="161328"/>
                  </a:lnTo>
                  <a:lnTo>
                    <a:pt x="205003" y="164375"/>
                  </a:lnTo>
                  <a:lnTo>
                    <a:pt x="203176" y="164829"/>
                  </a:lnTo>
                  <a:lnTo>
                    <a:pt x="199119" y="164496"/>
                  </a:lnTo>
                  <a:lnTo>
                    <a:pt x="191589" y="166510"/>
                  </a:lnTo>
                  <a:lnTo>
                    <a:pt x="191071" y="168702"/>
                  </a:lnTo>
                  <a:lnTo>
                    <a:pt x="189939" y="171665"/>
                  </a:lnTo>
                  <a:lnTo>
                    <a:pt x="188847" y="173389"/>
                  </a:lnTo>
                  <a:lnTo>
                    <a:pt x="188503" y="174428"/>
                  </a:lnTo>
                  <a:lnTo>
                    <a:pt x="185292" y="178886"/>
                  </a:lnTo>
                  <a:lnTo>
                    <a:pt x="184882" y="179307"/>
                  </a:lnTo>
                  <a:lnTo>
                    <a:pt x="178825" y="185475"/>
                  </a:lnTo>
                  <a:lnTo>
                    <a:pt x="178054" y="185938"/>
                  </a:lnTo>
                  <a:lnTo>
                    <a:pt x="174128" y="187371"/>
                  </a:lnTo>
                  <a:lnTo>
                    <a:pt x="171807" y="188626"/>
                  </a:lnTo>
                  <a:lnTo>
                    <a:pt x="170028" y="189186"/>
                  </a:lnTo>
                  <a:lnTo>
                    <a:pt x="167017" y="188563"/>
                  </a:lnTo>
                  <a:lnTo>
                    <a:pt x="165765" y="189451"/>
                  </a:lnTo>
                  <a:lnTo>
                    <a:pt x="165173" y="190550"/>
                  </a:lnTo>
                  <a:lnTo>
                    <a:pt x="165162" y="192821"/>
                  </a:lnTo>
                  <a:lnTo>
                    <a:pt x="166691" y="194452"/>
                  </a:lnTo>
                  <a:lnTo>
                    <a:pt x="167944" y="199870"/>
                  </a:lnTo>
                  <a:lnTo>
                    <a:pt x="167477" y="202156"/>
                  </a:lnTo>
                  <a:lnTo>
                    <a:pt x="166285" y="200676"/>
                  </a:lnTo>
                  <a:lnTo>
                    <a:pt x="164422" y="199116"/>
                  </a:lnTo>
                  <a:lnTo>
                    <a:pt x="160796" y="197775"/>
                  </a:lnTo>
                  <a:lnTo>
                    <a:pt x="156812" y="198234"/>
                  </a:lnTo>
                  <a:lnTo>
                    <a:pt x="152476" y="200494"/>
                  </a:lnTo>
                  <a:lnTo>
                    <a:pt x="149533" y="201334"/>
                  </a:lnTo>
                  <a:lnTo>
                    <a:pt x="147984" y="200754"/>
                  </a:lnTo>
                  <a:lnTo>
                    <a:pt x="147043" y="200787"/>
                  </a:lnTo>
                  <a:lnTo>
                    <a:pt x="146708" y="201435"/>
                  </a:lnTo>
                  <a:lnTo>
                    <a:pt x="146780" y="201965"/>
                  </a:lnTo>
                  <a:lnTo>
                    <a:pt x="147257" y="202376"/>
                  </a:lnTo>
                  <a:lnTo>
                    <a:pt x="147187" y="202676"/>
                  </a:lnTo>
                  <a:lnTo>
                    <a:pt x="146579" y="202863"/>
                  </a:lnTo>
                  <a:lnTo>
                    <a:pt x="139736" y="201272"/>
                  </a:lnTo>
                  <a:lnTo>
                    <a:pt x="136782" y="199766"/>
                  </a:lnTo>
                  <a:lnTo>
                    <a:pt x="134456" y="196930"/>
                  </a:lnTo>
                  <a:lnTo>
                    <a:pt x="135613" y="196012"/>
                  </a:lnTo>
                  <a:lnTo>
                    <a:pt x="136620" y="195608"/>
                  </a:lnTo>
                  <a:lnTo>
                    <a:pt x="140181" y="195372"/>
                  </a:lnTo>
                  <a:lnTo>
                    <a:pt x="140792" y="195082"/>
                  </a:lnTo>
                  <a:lnTo>
                    <a:pt x="140852" y="194427"/>
                  </a:lnTo>
                  <a:lnTo>
                    <a:pt x="141118" y="193579"/>
                  </a:lnTo>
                  <a:lnTo>
                    <a:pt x="141023" y="192330"/>
                  </a:lnTo>
                  <a:lnTo>
                    <a:pt x="140627" y="191011"/>
                  </a:lnTo>
                  <a:lnTo>
                    <a:pt x="142191" y="189084"/>
                  </a:lnTo>
                  <a:lnTo>
                    <a:pt x="144519" y="187484"/>
                  </a:lnTo>
                  <a:lnTo>
                    <a:pt x="145883" y="185881"/>
                  </a:lnTo>
                  <a:lnTo>
                    <a:pt x="146093" y="183532"/>
                  </a:lnTo>
                  <a:lnTo>
                    <a:pt x="148542" y="182387"/>
                  </a:lnTo>
                  <a:lnTo>
                    <a:pt x="150714" y="180418"/>
                  </a:lnTo>
                  <a:lnTo>
                    <a:pt x="151247" y="178270"/>
                  </a:lnTo>
                  <a:lnTo>
                    <a:pt x="152007" y="176920"/>
                  </a:lnTo>
                  <a:lnTo>
                    <a:pt x="150625" y="173821"/>
                  </a:lnTo>
                  <a:lnTo>
                    <a:pt x="150334" y="171775"/>
                  </a:lnTo>
                  <a:lnTo>
                    <a:pt x="150265" y="170059"/>
                  </a:lnTo>
                  <a:lnTo>
                    <a:pt x="150949" y="169105"/>
                  </a:lnTo>
                  <a:lnTo>
                    <a:pt x="152973" y="168036"/>
                  </a:lnTo>
                  <a:lnTo>
                    <a:pt x="155104" y="167207"/>
                  </a:lnTo>
                  <a:lnTo>
                    <a:pt x="155987" y="167288"/>
                  </a:lnTo>
                  <a:lnTo>
                    <a:pt x="156309" y="167816"/>
                  </a:lnTo>
                  <a:lnTo>
                    <a:pt x="156393" y="171301"/>
                  </a:lnTo>
                  <a:lnTo>
                    <a:pt x="156819" y="171367"/>
                  </a:lnTo>
                  <a:lnTo>
                    <a:pt x="157499" y="170933"/>
                  </a:lnTo>
                  <a:lnTo>
                    <a:pt x="158611" y="168881"/>
                  </a:lnTo>
                  <a:lnTo>
                    <a:pt x="159377" y="169478"/>
                  </a:lnTo>
                  <a:lnTo>
                    <a:pt x="160556" y="169705"/>
                  </a:lnTo>
                  <a:lnTo>
                    <a:pt x="161440" y="169176"/>
                  </a:lnTo>
                  <a:lnTo>
                    <a:pt x="162014" y="169237"/>
                  </a:lnTo>
                  <a:lnTo>
                    <a:pt x="162726" y="169767"/>
                  </a:lnTo>
                  <a:lnTo>
                    <a:pt x="164143" y="170513"/>
                  </a:lnTo>
                  <a:lnTo>
                    <a:pt x="165467" y="170761"/>
                  </a:lnTo>
                  <a:lnTo>
                    <a:pt x="166564" y="170264"/>
                  </a:lnTo>
                  <a:lnTo>
                    <a:pt x="167499" y="169377"/>
                  </a:lnTo>
                  <a:lnTo>
                    <a:pt x="168497" y="169680"/>
                  </a:lnTo>
                  <a:lnTo>
                    <a:pt x="170397" y="172100"/>
                  </a:lnTo>
                  <a:lnTo>
                    <a:pt x="171284" y="171832"/>
                  </a:lnTo>
                  <a:lnTo>
                    <a:pt x="175655" y="171343"/>
                  </a:lnTo>
                  <a:lnTo>
                    <a:pt x="176359" y="170685"/>
                  </a:lnTo>
                  <a:lnTo>
                    <a:pt x="176879" y="170088"/>
                  </a:lnTo>
                  <a:lnTo>
                    <a:pt x="172308" y="166875"/>
                  </a:lnTo>
                  <a:lnTo>
                    <a:pt x="172539" y="164481"/>
                  </a:lnTo>
                  <a:lnTo>
                    <a:pt x="172710" y="161734"/>
                  </a:lnTo>
                  <a:lnTo>
                    <a:pt x="172170" y="160102"/>
                  </a:lnTo>
                  <a:lnTo>
                    <a:pt x="171280" y="158807"/>
                  </a:lnTo>
                  <a:lnTo>
                    <a:pt x="167784" y="157302"/>
                  </a:lnTo>
                  <a:lnTo>
                    <a:pt x="165087" y="155743"/>
                  </a:lnTo>
                  <a:lnTo>
                    <a:pt x="164517" y="155040"/>
                  </a:lnTo>
                  <a:lnTo>
                    <a:pt x="164443" y="154128"/>
                  </a:lnTo>
                  <a:lnTo>
                    <a:pt x="164329" y="152710"/>
                  </a:lnTo>
                  <a:lnTo>
                    <a:pt x="163258" y="151492"/>
                  </a:lnTo>
                  <a:lnTo>
                    <a:pt x="163167" y="150461"/>
                  </a:lnTo>
                  <a:lnTo>
                    <a:pt x="163850" y="148853"/>
                  </a:lnTo>
                  <a:lnTo>
                    <a:pt x="164016" y="147139"/>
                  </a:lnTo>
                  <a:lnTo>
                    <a:pt x="163791" y="146462"/>
                  </a:lnTo>
                  <a:lnTo>
                    <a:pt x="163161" y="145910"/>
                  </a:lnTo>
                  <a:lnTo>
                    <a:pt x="161945" y="145856"/>
                  </a:lnTo>
                  <a:lnTo>
                    <a:pt x="160347" y="144865"/>
                  </a:lnTo>
                  <a:lnTo>
                    <a:pt x="159250" y="143529"/>
                  </a:lnTo>
                  <a:lnTo>
                    <a:pt x="156305" y="141602"/>
                  </a:lnTo>
                  <a:lnTo>
                    <a:pt x="155402" y="141288"/>
                  </a:lnTo>
                  <a:lnTo>
                    <a:pt x="154851" y="140333"/>
                  </a:lnTo>
                  <a:lnTo>
                    <a:pt x="154588" y="139192"/>
                  </a:lnTo>
                  <a:lnTo>
                    <a:pt x="155206" y="137774"/>
                  </a:lnTo>
                  <a:lnTo>
                    <a:pt x="155983" y="135590"/>
                  </a:lnTo>
                  <a:lnTo>
                    <a:pt x="156529" y="133539"/>
                  </a:lnTo>
                  <a:lnTo>
                    <a:pt x="156538" y="132316"/>
                  </a:lnTo>
                  <a:lnTo>
                    <a:pt x="156177" y="129290"/>
                  </a:lnTo>
                  <a:lnTo>
                    <a:pt x="154642" y="126975"/>
                  </a:lnTo>
                  <a:lnTo>
                    <a:pt x="153925" y="126668"/>
                  </a:lnTo>
                  <a:lnTo>
                    <a:pt x="152686" y="127320"/>
                  </a:lnTo>
                  <a:lnTo>
                    <a:pt x="151279" y="127865"/>
                  </a:lnTo>
                  <a:lnTo>
                    <a:pt x="150170" y="127354"/>
                  </a:lnTo>
                  <a:lnTo>
                    <a:pt x="148902" y="126098"/>
                  </a:lnTo>
                  <a:lnTo>
                    <a:pt x="146868" y="122599"/>
                  </a:lnTo>
                  <a:lnTo>
                    <a:pt x="143061" y="121898"/>
                  </a:lnTo>
                  <a:lnTo>
                    <a:pt x="141487" y="121731"/>
                  </a:lnTo>
                  <a:lnTo>
                    <a:pt x="139997" y="123420"/>
                  </a:lnTo>
                  <a:lnTo>
                    <a:pt x="139531" y="122907"/>
                  </a:lnTo>
                  <a:lnTo>
                    <a:pt x="139112" y="121828"/>
                  </a:lnTo>
                  <a:lnTo>
                    <a:pt x="138326" y="121397"/>
                  </a:lnTo>
                  <a:lnTo>
                    <a:pt x="137287" y="121897"/>
                  </a:lnTo>
                  <a:lnTo>
                    <a:pt x="136987" y="121416"/>
                  </a:lnTo>
                  <a:lnTo>
                    <a:pt x="137434" y="119957"/>
                  </a:lnTo>
                  <a:lnTo>
                    <a:pt x="136192" y="119235"/>
                  </a:lnTo>
                  <a:lnTo>
                    <a:pt x="133268" y="119251"/>
                  </a:lnTo>
                  <a:lnTo>
                    <a:pt x="131714" y="118713"/>
                  </a:lnTo>
                  <a:lnTo>
                    <a:pt x="131528" y="117615"/>
                  </a:lnTo>
                  <a:lnTo>
                    <a:pt x="130608" y="116894"/>
                  </a:lnTo>
                  <a:lnTo>
                    <a:pt x="128947" y="116547"/>
                  </a:lnTo>
                  <a:lnTo>
                    <a:pt x="127339" y="115649"/>
                  </a:lnTo>
                  <a:lnTo>
                    <a:pt x="125778" y="114203"/>
                  </a:lnTo>
                  <a:lnTo>
                    <a:pt x="123443" y="113260"/>
                  </a:lnTo>
                  <a:lnTo>
                    <a:pt x="120331" y="112824"/>
                  </a:lnTo>
                  <a:lnTo>
                    <a:pt x="120077" y="112668"/>
                  </a:lnTo>
                  <a:lnTo>
                    <a:pt x="119790" y="112460"/>
                  </a:lnTo>
                  <a:lnTo>
                    <a:pt x="117781" y="113443"/>
                  </a:lnTo>
                  <a:lnTo>
                    <a:pt x="116574" y="114221"/>
                  </a:lnTo>
                  <a:lnTo>
                    <a:pt x="115095" y="113737"/>
                  </a:lnTo>
                  <a:lnTo>
                    <a:pt x="112698" y="115473"/>
                  </a:lnTo>
                  <a:lnTo>
                    <a:pt x="107833" y="115563"/>
                  </a:lnTo>
                  <a:lnTo>
                    <a:pt x="105447" y="115459"/>
                  </a:lnTo>
                  <a:lnTo>
                    <a:pt x="104263" y="115028"/>
                  </a:lnTo>
                  <a:lnTo>
                    <a:pt x="99694" y="117662"/>
                  </a:lnTo>
                  <a:lnTo>
                    <a:pt x="99219" y="118632"/>
                  </a:lnTo>
                  <a:lnTo>
                    <a:pt x="98191" y="118955"/>
                  </a:lnTo>
                  <a:lnTo>
                    <a:pt x="95315" y="119478"/>
                  </a:lnTo>
                  <a:lnTo>
                    <a:pt x="92292" y="120220"/>
                  </a:lnTo>
                  <a:lnTo>
                    <a:pt x="91657" y="122778"/>
                  </a:lnTo>
                  <a:lnTo>
                    <a:pt x="90756" y="124159"/>
                  </a:lnTo>
                  <a:lnTo>
                    <a:pt x="89131" y="126186"/>
                  </a:lnTo>
                  <a:lnTo>
                    <a:pt x="83514" y="126890"/>
                  </a:lnTo>
                  <a:lnTo>
                    <a:pt x="78662" y="127880"/>
                  </a:lnTo>
                  <a:lnTo>
                    <a:pt x="73687" y="128491"/>
                  </a:lnTo>
                  <a:lnTo>
                    <a:pt x="67171" y="130962"/>
                  </a:lnTo>
                  <a:lnTo>
                    <a:pt x="65053" y="133140"/>
                  </a:lnTo>
                  <a:lnTo>
                    <a:pt x="62959" y="133747"/>
                  </a:lnTo>
                  <a:lnTo>
                    <a:pt x="61063" y="133926"/>
                  </a:lnTo>
                  <a:lnTo>
                    <a:pt x="59836" y="132714"/>
                  </a:lnTo>
                  <a:lnTo>
                    <a:pt x="55703" y="129457"/>
                  </a:lnTo>
                  <a:lnTo>
                    <a:pt x="54109" y="127920"/>
                  </a:lnTo>
                  <a:lnTo>
                    <a:pt x="52013" y="127467"/>
                  </a:lnTo>
                  <a:lnTo>
                    <a:pt x="49733" y="127723"/>
                  </a:lnTo>
                  <a:lnTo>
                    <a:pt x="47543" y="128480"/>
                  </a:lnTo>
                  <a:lnTo>
                    <a:pt x="45239" y="128625"/>
                  </a:lnTo>
                  <a:lnTo>
                    <a:pt x="42630" y="127533"/>
                  </a:lnTo>
                  <a:lnTo>
                    <a:pt x="42356" y="127639"/>
                  </a:lnTo>
                  <a:lnTo>
                    <a:pt x="41350" y="127786"/>
                  </a:lnTo>
                  <a:lnTo>
                    <a:pt x="34874" y="126466"/>
                  </a:lnTo>
                  <a:lnTo>
                    <a:pt x="34278" y="126247"/>
                  </a:lnTo>
                  <a:lnTo>
                    <a:pt x="33991" y="126192"/>
                  </a:lnTo>
                  <a:lnTo>
                    <a:pt x="33099" y="126093"/>
                  </a:lnTo>
                  <a:lnTo>
                    <a:pt x="28223" y="126258"/>
                  </a:lnTo>
                  <a:lnTo>
                    <a:pt x="23677" y="123589"/>
                  </a:lnTo>
                  <a:lnTo>
                    <a:pt x="22280" y="123508"/>
                  </a:lnTo>
                  <a:lnTo>
                    <a:pt x="21205" y="124589"/>
                  </a:lnTo>
                  <a:lnTo>
                    <a:pt x="20408" y="125791"/>
                  </a:lnTo>
                  <a:lnTo>
                    <a:pt x="17270" y="126984"/>
                  </a:lnTo>
                  <a:lnTo>
                    <a:pt x="16469" y="127463"/>
                  </a:lnTo>
                  <a:lnTo>
                    <a:pt x="16014" y="127095"/>
                  </a:lnTo>
                  <a:lnTo>
                    <a:pt x="15802" y="126058"/>
                  </a:lnTo>
                  <a:lnTo>
                    <a:pt x="16040" y="125141"/>
                  </a:lnTo>
                  <a:lnTo>
                    <a:pt x="15575" y="124273"/>
                  </a:lnTo>
                  <a:lnTo>
                    <a:pt x="14381" y="123287"/>
                  </a:lnTo>
                  <a:lnTo>
                    <a:pt x="14092" y="122880"/>
                  </a:lnTo>
                  <a:lnTo>
                    <a:pt x="12598" y="122954"/>
                  </a:lnTo>
                  <a:lnTo>
                    <a:pt x="12190" y="123050"/>
                  </a:lnTo>
                  <a:lnTo>
                    <a:pt x="12040" y="123028"/>
                  </a:lnTo>
                  <a:lnTo>
                    <a:pt x="9963" y="122191"/>
                  </a:lnTo>
                  <a:lnTo>
                    <a:pt x="8585" y="120174"/>
                  </a:lnTo>
                  <a:lnTo>
                    <a:pt x="6456" y="119101"/>
                  </a:lnTo>
                  <a:lnTo>
                    <a:pt x="4828" y="118740"/>
                  </a:lnTo>
                  <a:lnTo>
                    <a:pt x="4087" y="117875"/>
                  </a:lnTo>
                  <a:lnTo>
                    <a:pt x="3610" y="116724"/>
                  </a:lnTo>
                  <a:lnTo>
                    <a:pt x="3102" y="115854"/>
                  </a:lnTo>
                  <a:lnTo>
                    <a:pt x="3042" y="115772"/>
                  </a:lnTo>
                  <a:lnTo>
                    <a:pt x="2695" y="114455"/>
                  </a:lnTo>
                  <a:lnTo>
                    <a:pt x="2196" y="114319"/>
                  </a:lnTo>
                  <a:lnTo>
                    <a:pt x="2107" y="114284"/>
                  </a:lnTo>
                  <a:lnTo>
                    <a:pt x="0" y="114513"/>
                  </a:lnTo>
                  <a:lnTo>
                    <a:pt x="244" y="109884"/>
                  </a:lnTo>
                  <a:lnTo>
                    <a:pt x="3612" y="106550"/>
                  </a:lnTo>
                  <a:lnTo>
                    <a:pt x="4439" y="104866"/>
                  </a:lnTo>
                  <a:lnTo>
                    <a:pt x="5696" y="101209"/>
                  </a:lnTo>
                  <a:lnTo>
                    <a:pt x="6638" y="99497"/>
                  </a:lnTo>
                  <a:lnTo>
                    <a:pt x="7769" y="98079"/>
                  </a:lnTo>
                  <a:lnTo>
                    <a:pt x="8674" y="96706"/>
                  </a:lnTo>
                  <a:lnTo>
                    <a:pt x="8996" y="95526"/>
                  </a:lnTo>
                  <a:lnTo>
                    <a:pt x="9909" y="95398"/>
                  </a:lnTo>
                  <a:lnTo>
                    <a:pt x="12591" y="96462"/>
                  </a:lnTo>
                  <a:lnTo>
                    <a:pt x="14990" y="97009"/>
                  </a:lnTo>
                  <a:lnTo>
                    <a:pt x="15653" y="96491"/>
                  </a:lnTo>
                  <a:lnTo>
                    <a:pt x="15925" y="95811"/>
                  </a:lnTo>
                  <a:lnTo>
                    <a:pt x="15815" y="95282"/>
                  </a:lnTo>
                  <a:lnTo>
                    <a:pt x="13893" y="93712"/>
                  </a:lnTo>
                  <a:lnTo>
                    <a:pt x="12688" y="92712"/>
                  </a:lnTo>
                  <a:lnTo>
                    <a:pt x="12615" y="92097"/>
                  </a:lnTo>
                  <a:lnTo>
                    <a:pt x="13049" y="90717"/>
                  </a:lnTo>
                  <a:lnTo>
                    <a:pt x="13280" y="89165"/>
                  </a:lnTo>
                  <a:lnTo>
                    <a:pt x="13003" y="87486"/>
                  </a:lnTo>
                  <a:lnTo>
                    <a:pt x="11693" y="83762"/>
                  </a:lnTo>
                  <a:lnTo>
                    <a:pt x="11444" y="82174"/>
                  </a:lnTo>
                  <a:lnTo>
                    <a:pt x="12699" y="80244"/>
                  </a:lnTo>
                  <a:lnTo>
                    <a:pt x="16780" y="75641"/>
                  </a:lnTo>
                  <a:lnTo>
                    <a:pt x="18141" y="73910"/>
                  </a:lnTo>
                  <a:lnTo>
                    <a:pt x="20000" y="71815"/>
                  </a:lnTo>
                  <a:lnTo>
                    <a:pt x="25044" y="66799"/>
                  </a:lnTo>
                  <a:lnTo>
                    <a:pt x="28232" y="63878"/>
                  </a:lnTo>
                  <a:lnTo>
                    <a:pt x="30389" y="62260"/>
                  </a:lnTo>
                  <a:lnTo>
                    <a:pt x="33548" y="59445"/>
                  </a:lnTo>
                  <a:lnTo>
                    <a:pt x="34934" y="57987"/>
                  </a:lnTo>
                  <a:lnTo>
                    <a:pt x="40704" y="57038"/>
                  </a:lnTo>
                  <a:lnTo>
                    <a:pt x="41419" y="55675"/>
                  </a:lnTo>
                  <a:lnTo>
                    <a:pt x="42473" y="54183"/>
                  </a:lnTo>
                  <a:lnTo>
                    <a:pt x="43297" y="53543"/>
                  </a:lnTo>
                  <a:lnTo>
                    <a:pt x="43403" y="51027"/>
                  </a:lnTo>
                  <a:lnTo>
                    <a:pt x="42332" y="47950"/>
                  </a:lnTo>
                  <a:lnTo>
                    <a:pt x="41471" y="46862"/>
                  </a:lnTo>
                  <a:lnTo>
                    <a:pt x="40832" y="46121"/>
                  </a:lnTo>
                  <a:lnTo>
                    <a:pt x="41244" y="45428"/>
                  </a:lnTo>
                  <a:lnTo>
                    <a:pt x="41883" y="45231"/>
                  </a:lnTo>
                  <a:lnTo>
                    <a:pt x="42671" y="45133"/>
                  </a:lnTo>
                  <a:lnTo>
                    <a:pt x="43647" y="44391"/>
                  </a:lnTo>
                  <a:lnTo>
                    <a:pt x="43427" y="43581"/>
                  </a:lnTo>
                  <a:lnTo>
                    <a:pt x="40994" y="41606"/>
                  </a:lnTo>
                  <a:lnTo>
                    <a:pt x="39940" y="40085"/>
                  </a:lnTo>
                  <a:lnTo>
                    <a:pt x="38290" y="36177"/>
                  </a:lnTo>
                  <a:lnTo>
                    <a:pt x="34945" y="32109"/>
                  </a:lnTo>
                  <a:lnTo>
                    <a:pt x="33889" y="30793"/>
                  </a:lnTo>
                  <a:lnTo>
                    <a:pt x="33738" y="29548"/>
                  </a:lnTo>
                  <a:lnTo>
                    <a:pt x="34226" y="28303"/>
                  </a:lnTo>
                  <a:lnTo>
                    <a:pt x="33766" y="26716"/>
                  </a:lnTo>
                  <a:lnTo>
                    <a:pt x="32581" y="24690"/>
                  </a:lnTo>
                  <a:lnTo>
                    <a:pt x="32768" y="24471"/>
                  </a:lnTo>
                  <a:lnTo>
                    <a:pt x="32654" y="21968"/>
                  </a:lnTo>
                  <a:lnTo>
                    <a:pt x="33496" y="21427"/>
                  </a:lnTo>
                  <a:lnTo>
                    <a:pt x="34826" y="21061"/>
                  </a:lnTo>
                  <a:lnTo>
                    <a:pt x="36703" y="21184"/>
                  </a:lnTo>
                  <a:lnTo>
                    <a:pt x="38307" y="21571"/>
                  </a:lnTo>
                  <a:lnTo>
                    <a:pt x="40229" y="22716"/>
                  </a:lnTo>
                  <a:lnTo>
                    <a:pt x="40829" y="22532"/>
                  </a:lnTo>
                  <a:lnTo>
                    <a:pt x="44114" y="20373"/>
                  </a:lnTo>
                  <a:lnTo>
                    <a:pt x="47502" y="17130"/>
                  </a:lnTo>
                  <a:lnTo>
                    <a:pt x="48467" y="15251"/>
                  </a:lnTo>
                  <a:lnTo>
                    <a:pt x="49311" y="14392"/>
                  </a:lnTo>
                  <a:lnTo>
                    <a:pt x="52259" y="13933"/>
                  </a:lnTo>
                  <a:lnTo>
                    <a:pt x="54826" y="13743"/>
                  </a:lnTo>
                  <a:lnTo>
                    <a:pt x="56459" y="13779"/>
                  </a:lnTo>
                  <a:lnTo>
                    <a:pt x="60467" y="13459"/>
                  </a:lnTo>
                  <a:lnTo>
                    <a:pt x="62842" y="13104"/>
                  </a:lnTo>
                  <a:lnTo>
                    <a:pt x="64896" y="12531"/>
                  </a:lnTo>
                  <a:lnTo>
                    <a:pt x="69329" y="12318"/>
                  </a:lnTo>
                  <a:lnTo>
                    <a:pt x="76252" y="12702"/>
                  </a:lnTo>
                  <a:lnTo>
                    <a:pt x="80795" y="12729"/>
                  </a:lnTo>
                  <a:lnTo>
                    <a:pt x="83881" y="13034"/>
                  </a:lnTo>
                  <a:lnTo>
                    <a:pt x="91439" y="14761"/>
                  </a:lnTo>
                  <a:lnTo>
                    <a:pt x="94252" y="15074"/>
                  </a:lnTo>
                  <a:lnTo>
                    <a:pt x="95559" y="15988"/>
                  </a:lnTo>
                  <a:lnTo>
                    <a:pt x="98068" y="16328"/>
                  </a:lnTo>
                  <a:lnTo>
                    <a:pt x="102635" y="17248"/>
                  </a:lnTo>
                  <a:lnTo>
                    <a:pt x="106602" y="17741"/>
                  </a:lnTo>
                  <a:lnTo>
                    <a:pt x="109284" y="17539"/>
                  </a:lnTo>
                  <a:lnTo>
                    <a:pt x="110785" y="17798"/>
                  </a:lnTo>
                  <a:lnTo>
                    <a:pt x="113618" y="21877"/>
                  </a:lnTo>
                  <a:lnTo>
                    <a:pt x="114196" y="22353"/>
                  </a:lnTo>
                  <a:lnTo>
                    <a:pt x="115332" y="22449"/>
                  </a:lnTo>
                  <a:lnTo>
                    <a:pt x="117647" y="22097"/>
                  </a:lnTo>
                  <a:lnTo>
                    <a:pt x="120943" y="22229"/>
                  </a:lnTo>
                  <a:lnTo>
                    <a:pt x="122897" y="23088"/>
                  </a:lnTo>
                  <a:lnTo>
                    <a:pt x="122610" y="25513"/>
                  </a:lnTo>
                  <a:lnTo>
                    <a:pt x="123123" y="25864"/>
                  </a:lnTo>
                  <a:lnTo>
                    <a:pt x="124037" y="25729"/>
                  </a:lnTo>
                  <a:lnTo>
                    <a:pt x="125088" y="24360"/>
                  </a:lnTo>
                  <a:lnTo>
                    <a:pt x="125972" y="22940"/>
                  </a:lnTo>
                  <a:lnTo>
                    <a:pt x="126630" y="22501"/>
                  </a:lnTo>
                  <a:lnTo>
                    <a:pt x="129995" y="23460"/>
                  </a:lnTo>
                  <a:lnTo>
                    <a:pt x="131532" y="23305"/>
                  </a:lnTo>
                  <a:lnTo>
                    <a:pt x="132951" y="22228"/>
                  </a:lnTo>
                  <a:lnTo>
                    <a:pt x="133821" y="22045"/>
                  </a:lnTo>
                  <a:lnTo>
                    <a:pt x="136205" y="22811"/>
                  </a:lnTo>
                  <a:lnTo>
                    <a:pt x="139146" y="23347"/>
                  </a:lnTo>
                  <a:lnTo>
                    <a:pt x="141522" y="23381"/>
                  </a:lnTo>
                  <a:lnTo>
                    <a:pt x="143003" y="23964"/>
                  </a:lnTo>
                  <a:lnTo>
                    <a:pt x="144080" y="26494"/>
                  </a:lnTo>
                  <a:lnTo>
                    <a:pt x="145020" y="27013"/>
                  </a:lnTo>
                  <a:lnTo>
                    <a:pt x="145927" y="27174"/>
                  </a:lnTo>
                  <a:lnTo>
                    <a:pt x="147298" y="24913"/>
                  </a:lnTo>
                  <a:lnTo>
                    <a:pt x="148542" y="24036"/>
                  </a:lnTo>
                  <a:lnTo>
                    <a:pt x="150267" y="23390"/>
                  </a:lnTo>
                  <a:lnTo>
                    <a:pt x="151377" y="23107"/>
                  </a:lnTo>
                  <a:lnTo>
                    <a:pt x="152158" y="22308"/>
                  </a:lnTo>
                  <a:lnTo>
                    <a:pt x="153212" y="21528"/>
                  </a:lnTo>
                  <a:lnTo>
                    <a:pt x="154126" y="21466"/>
                  </a:lnTo>
                  <a:lnTo>
                    <a:pt x="154868" y="21768"/>
                  </a:lnTo>
                  <a:lnTo>
                    <a:pt x="155721" y="22847"/>
                  </a:lnTo>
                  <a:lnTo>
                    <a:pt x="156965" y="25305"/>
                  </a:lnTo>
                  <a:lnTo>
                    <a:pt x="158477" y="27771"/>
                  </a:lnTo>
                  <a:lnTo>
                    <a:pt x="159531" y="28666"/>
                  </a:lnTo>
                  <a:lnTo>
                    <a:pt x="162254" y="27909"/>
                  </a:lnTo>
                  <a:lnTo>
                    <a:pt x="164100" y="27139"/>
                  </a:lnTo>
                  <a:lnTo>
                    <a:pt x="167482" y="26993"/>
                  </a:lnTo>
                  <a:lnTo>
                    <a:pt x="171964" y="26451"/>
                  </a:lnTo>
                  <a:lnTo>
                    <a:pt x="175392" y="25745"/>
                  </a:lnTo>
                  <a:lnTo>
                    <a:pt x="177536" y="25867"/>
                  </a:lnTo>
                  <a:lnTo>
                    <a:pt x="178836" y="26650"/>
                  </a:lnTo>
                  <a:lnTo>
                    <a:pt x="180814" y="28166"/>
                  </a:lnTo>
                  <a:lnTo>
                    <a:pt x="181354" y="30339"/>
                  </a:lnTo>
                  <a:lnTo>
                    <a:pt x="183921" y="31841"/>
                  </a:lnTo>
                  <a:lnTo>
                    <a:pt x="186022" y="32112"/>
                  </a:lnTo>
                  <a:lnTo>
                    <a:pt x="186739" y="30549"/>
                  </a:lnTo>
                  <a:lnTo>
                    <a:pt x="187968" y="29462"/>
                  </a:lnTo>
                  <a:lnTo>
                    <a:pt x="187508" y="27968"/>
                  </a:lnTo>
                  <a:lnTo>
                    <a:pt x="187301" y="26062"/>
                  </a:lnTo>
                  <a:lnTo>
                    <a:pt x="186380" y="24291"/>
                  </a:lnTo>
                  <a:lnTo>
                    <a:pt x="185767" y="22384"/>
                  </a:lnTo>
                  <a:lnTo>
                    <a:pt x="186892" y="19657"/>
                  </a:lnTo>
                  <a:lnTo>
                    <a:pt x="188121" y="17267"/>
                  </a:lnTo>
                  <a:lnTo>
                    <a:pt x="188736" y="15968"/>
                  </a:lnTo>
                  <a:lnTo>
                    <a:pt x="190682" y="13576"/>
                  </a:lnTo>
                  <a:lnTo>
                    <a:pt x="192682" y="11865"/>
                  </a:lnTo>
                  <a:lnTo>
                    <a:pt x="195666" y="9111"/>
                  </a:lnTo>
                  <a:lnTo>
                    <a:pt x="197847" y="8201"/>
                  </a:lnTo>
                  <a:lnTo>
                    <a:pt x="199818" y="8616"/>
                  </a:lnTo>
                  <a:lnTo>
                    <a:pt x="200913" y="8992"/>
                  </a:lnTo>
                  <a:lnTo>
                    <a:pt x="203744" y="7360"/>
                  </a:lnTo>
                  <a:lnTo>
                    <a:pt x="208780" y="7279"/>
                  </a:lnTo>
                  <a:lnTo>
                    <a:pt x="212973" y="7487"/>
                  </a:lnTo>
                  <a:lnTo>
                    <a:pt x="213394" y="7536"/>
                  </a:lnTo>
                  <a:lnTo>
                    <a:pt x="215455" y="8380"/>
                  </a:lnTo>
                  <a:lnTo>
                    <a:pt x="217627" y="9098"/>
                  </a:lnTo>
                  <a:lnTo>
                    <a:pt x="219125" y="9146"/>
                  </a:lnTo>
                  <a:lnTo>
                    <a:pt x="220909" y="8981"/>
                  </a:lnTo>
                  <a:lnTo>
                    <a:pt x="223000" y="8024"/>
                  </a:lnTo>
                  <a:lnTo>
                    <a:pt x="224459" y="7104"/>
                  </a:lnTo>
                  <a:lnTo>
                    <a:pt x="226232" y="2418"/>
                  </a:lnTo>
                  <a:lnTo>
                    <a:pt x="226858" y="1744"/>
                  </a:lnTo>
                  <a:lnTo>
                    <a:pt x="227834" y="1376"/>
                  </a:lnTo>
                  <a:lnTo>
                    <a:pt x="229437" y="1337"/>
                  </a:lnTo>
                  <a:lnTo>
                    <a:pt x="232477" y="2211"/>
                  </a:lnTo>
                  <a:lnTo>
                    <a:pt x="236038" y="2996"/>
                  </a:lnTo>
                  <a:lnTo>
                    <a:pt x="238100" y="2886"/>
                  </a:lnTo>
                  <a:lnTo>
                    <a:pt x="243600" y="390"/>
                  </a:lnTo>
                  <a:close/>
                </a:path>
              </a:pathLst>
            </a:custGeom>
            <a:solidFill>
              <a:srgbClr val="C7CDD0"/>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AT" sz="1600" err="1">
                <a:solidFill>
                  <a:schemeClr val="tx1"/>
                </a:solidFill>
                <a:latin typeface="Calibri" panose="020F0502020204030204" pitchFamily="34" charset="0"/>
                <a:cs typeface="Calibri" panose="020F0502020204030204" pitchFamily="34" charset="0"/>
              </a:endParaRPr>
            </a:p>
          </p:txBody>
        </p:sp>
        <p:sp>
          <p:nvSpPr>
            <p:cNvPr id="110" name="ee4p_VA_1_86241">
              <a:extLst>
                <a:ext uri="{FF2B5EF4-FFF2-40B4-BE49-F238E27FC236}">
                  <a16:creationId xmlns:a16="http://schemas.microsoft.com/office/drawing/2014/main" id="{8EC9E5E2-CF83-4A60-AD1F-3C9E820F82E7}"/>
                </a:ext>
              </a:extLst>
            </p:cNvPr>
            <p:cNvSpPr>
              <a:spLocks noChangeAspect="1"/>
            </p:cNvSpPr>
            <p:nvPr>
              <p:custDataLst>
                <p:tags r:id="rId48"/>
              </p:custDataLst>
            </p:nvPr>
          </p:nvSpPr>
          <p:spPr>
            <a:xfrm>
              <a:off x="6944779" y="3736205"/>
              <a:ext cx="782" cy="719"/>
            </a:xfrm>
            <a:custGeom>
              <a:avLst/>
              <a:gdLst/>
              <a:ahLst/>
              <a:cxnLst/>
              <a:rect l="0" t="0" r="0" b="0"/>
              <a:pathLst>
                <a:path w="258" h="231">
                  <a:moveTo>
                    <a:pt x="257" y="208"/>
                  </a:moveTo>
                  <a:lnTo>
                    <a:pt x="67" y="230"/>
                  </a:lnTo>
                  <a:lnTo>
                    <a:pt x="0" y="145"/>
                  </a:lnTo>
                  <a:lnTo>
                    <a:pt x="67" y="20"/>
                  </a:lnTo>
                  <a:lnTo>
                    <a:pt x="240" y="0"/>
                  </a:lnTo>
                  <a:close/>
                </a:path>
              </a:pathLst>
            </a:custGeom>
            <a:solidFill>
              <a:srgbClr val="C7CDD0"/>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AT" sz="1600" err="1">
                <a:solidFill>
                  <a:schemeClr val="tx1"/>
                </a:solidFill>
                <a:latin typeface="Calibri" panose="020F0502020204030204" pitchFamily="34" charset="0"/>
                <a:cs typeface="Calibri" panose="020F0502020204030204" pitchFamily="34" charset="0"/>
              </a:endParaRPr>
            </a:p>
          </p:txBody>
        </p:sp>
        <p:graphicFrame>
          <p:nvGraphicFramePr>
            <p:cNvPr id="111" name="ee4pMapWizardDataSheet_86241">
              <a:extLst>
                <a:ext uri="{FF2B5EF4-FFF2-40B4-BE49-F238E27FC236}">
                  <a16:creationId xmlns:a16="http://schemas.microsoft.com/office/drawing/2014/main" id="{B6E5D745-ADA3-42E2-9670-BA1A0D12E178}"/>
                </a:ext>
              </a:extLst>
            </p:cNvPr>
            <p:cNvGraphicFramePr>
              <a:graphicFrameLocks noChangeAspect="1"/>
            </p:cNvGraphicFramePr>
            <p:nvPr/>
          </p:nvGraphicFramePr>
          <p:xfrm>
            <a:off x="6636437" y="2556651"/>
            <a:ext cx="0" cy="0"/>
          </p:xfrm>
          <a:graphic>
            <a:graphicData uri="http://schemas.openxmlformats.org/presentationml/2006/ole">
              <mc:AlternateContent xmlns:mc="http://schemas.openxmlformats.org/markup-compatibility/2006">
                <mc:Choice xmlns:v="urn:schemas-microsoft-com:vml" Requires="v">
                  <p:oleObj name="Worksheet" showAsIcon="1" r:id="rId51" imgW="914400" imgH="792360" progId="Excel.Sheet.12">
                    <p:embed/>
                  </p:oleObj>
                </mc:Choice>
                <mc:Fallback>
                  <p:oleObj name="Worksheet" showAsIcon="1" r:id="rId51" imgW="914400" imgH="792360" progId="Excel.Sheet.12">
                    <p:embed/>
                    <p:pic>
                      <p:nvPicPr>
                        <p:cNvPr id="111" name="ee4pMapWizardDataSheet_86241">
                          <a:extLst>
                            <a:ext uri="{FF2B5EF4-FFF2-40B4-BE49-F238E27FC236}">
                              <a16:creationId xmlns:a16="http://schemas.microsoft.com/office/drawing/2014/main" id="{B6E5D745-ADA3-42E2-9670-BA1A0D12E178}"/>
                            </a:ext>
                          </a:extLst>
                        </p:cNvPr>
                        <p:cNvPicPr/>
                        <p:nvPr/>
                      </p:nvPicPr>
                      <p:blipFill>
                        <a:blip r:embed="rId52"/>
                        <a:stretch>
                          <a:fillRect/>
                        </a:stretch>
                      </p:blipFill>
                      <p:spPr>
                        <a:xfrm>
                          <a:off x="6636437" y="2556651"/>
                          <a:ext cx="0" cy="0"/>
                        </a:xfrm>
                        <a:prstGeom prst="rect">
                          <a:avLst/>
                        </a:prstGeom>
                      </p:spPr>
                    </p:pic>
                  </p:oleObj>
                </mc:Fallback>
              </mc:AlternateContent>
            </a:graphicData>
          </a:graphic>
        </p:graphicFrame>
      </p:grpSp>
      <p:grpSp>
        <p:nvGrpSpPr>
          <p:cNvPr id="6" name="Grafik 395">
            <a:extLst>
              <a:ext uri="{FF2B5EF4-FFF2-40B4-BE49-F238E27FC236}">
                <a16:creationId xmlns:a16="http://schemas.microsoft.com/office/drawing/2014/main" id="{D4B9F9A0-57B1-0003-59DB-284AFB682778}"/>
              </a:ext>
            </a:extLst>
          </p:cNvPr>
          <p:cNvGrpSpPr/>
          <p:nvPr/>
        </p:nvGrpSpPr>
        <p:grpSpPr>
          <a:xfrm>
            <a:off x="549611" y="3437567"/>
            <a:ext cx="197758" cy="225425"/>
            <a:chOff x="1222248" y="3880972"/>
            <a:chExt cx="540000" cy="540000"/>
          </a:xfrm>
        </p:grpSpPr>
        <p:sp>
          <p:nvSpPr>
            <p:cNvPr id="7" name="Freihandform: Form 6">
              <a:extLst>
                <a:ext uri="{FF2B5EF4-FFF2-40B4-BE49-F238E27FC236}">
                  <a16:creationId xmlns:a16="http://schemas.microsoft.com/office/drawing/2014/main" id="{81CF3204-5718-C713-2EF2-0C4A6828550C}"/>
                </a:ext>
              </a:extLst>
            </p:cNvPr>
            <p:cNvSpPr/>
            <p:nvPr/>
          </p:nvSpPr>
          <p:spPr>
            <a:xfrm>
              <a:off x="1222356" y="3914841"/>
              <a:ext cx="540822" cy="473101"/>
            </a:xfrm>
            <a:custGeom>
              <a:avLst/>
              <a:gdLst>
                <a:gd name="connsiteX0" fmla="*/ 205244 w 540822"/>
                <a:gd name="connsiteY0" fmla="*/ 473101 h 473101"/>
                <a:gd name="connsiteX1" fmla="*/ 197611 w 540822"/>
                <a:gd name="connsiteY1" fmla="*/ 469590 h 473101"/>
                <a:gd name="connsiteX2" fmla="*/ 2353 w 540822"/>
                <a:gd name="connsiteY2" fmla="*/ 243496 h 473101"/>
                <a:gd name="connsiteX3" fmla="*/ 3617 w 540822"/>
                <a:gd name="connsiteY3" fmla="*/ 229277 h 473101"/>
                <a:gd name="connsiteX4" fmla="*/ 15061 w 540822"/>
                <a:gd name="connsiteY4" fmla="*/ 228231 h 473101"/>
                <a:gd name="connsiteX5" fmla="*/ 203450 w 540822"/>
                <a:gd name="connsiteY5" fmla="*/ 337300 h 473101"/>
                <a:gd name="connsiteX6" fmla="*/ 523386 w 540822"/>
                <a:gd name="connsiteY6" fmla="*/ 3168 h 473101"/>
                <a:gd name="connsiteX7" fmla="*/ 537655 w 540822"/>
                <a:gd name="connsiteY7" fmla="*/ 2751 h 473101"/>
                <a:gd name="connsiteX8" fmla="*/ 538880 w 540822"/>
                <a:gd name="connsiteY8" fmla="*/ 16048 h 473101"/>
                <a:gd name="connsiteX9" fmla="*/ 213449 w 540822"/>
                <a:gd name="connsiteY9" fmla="*/ 468884 h 473101"/>
                <a:gd name="connsiteX10" fmla="*/ 205702 w 540822"/>
                <a:gd name="connsiteY10" fmla="*/ 473082 h 473101"/>
                <a:gd name="connsiteX11" fmla="*/ 56849 w 540822"/>
                <a:gd name="connsiteY11" fmla="*/ 275706 h 473101"/>
                <a:gd name="connsiteX12" fmla="*/ 204519 w 540822"/>
                <a:gd name="connsiteY12" fmla="*/ 446693 h 473101"/>
                <a:gd name="connsiteX13" fmla="*/ 438760 w 540822"/>
                <a:gd name="connsiteY13" fmla="*/ 120689 h 473101"/>
                <a:gd name="connsiteX14" fmla="*/ 212552 w 540822"/>
                <a:gd name="connsiteY14" fmla="*/ 356935 h 473101"/>
                <a:gd name="connsiteX15" fmla="*/ 200187 w 540822"/>
                <a:gd name="connsiteY15" fmla="*/ 358690 h 47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40822" h="473101">
                  <a:moveTo>
                    <a:pt x="205244" y="473101"/>
                  </a:moveTo>
                  <a:cubicBezTo>
                    <a:pt x="202309" y="473101"/>
                    <a:pt x="199521" y="471819"/>
                    <a:pt x="197611" y="469590"/>
                  </a:cubicBezTo>
                  <a:lnTo>
                    <a:pt x="2353" y="243496"/>
                  </a:lnTo>
                  <a:cubicBezTo>
                    <a:pt x="-1225" y="239220"/>
                    <a:pt x="-659" y="232855"/>
                    <a:pt x="3617" y="229277"/>
                  </a:cubicBezTo>
                  <a:cubicBezTo>
                    <a:pt x="6841" y="226579"/>
                    <a:pt x="11401" y="226163"/>
                    <a:pt x="15061" y="228231"/>
                  </a:cubicBezTo>
                  <a:lnTo>
                    <a:pt x="203450" y="337300"/>
                  </a:lnTo>
                  <a:lnTo>
                    <a:pt x="523386" y="3168"/>
                  </a:lnTo>
                  <a:cubicBezTo>
                    <a:pt x="527212" y="-888"/>
                    <a:pt x="533600" y="-1074"/>
                    <a:pt x="537655" y="2751"/>
                  </a:cubicBezTo>
                  <a:cubicBezTo>
                    <a:pt x="541355" y="6242"/>
                    <a:pt x="541879" y="11940"/>
                    <a:pt x="538880" y="16048"/>
                  </a:cubicBezTo>
                  <a:lnTo>
                    <a:pt x="213449" y="468884"/>
                  </a:lnTo>
                  <a:cubicBezTo>
                    <a:pt x="211651" y="471403"/>
                    <a:pt x="208793" y="472952"/>
                    <a:pt x="205702" y="473082"/>
                  </a:cubicBezTo>
                  <a:close/>
                  <a:moveTo>
                    <a:pt x="56849" y="275706"/>
                  </a:moveTo>
                  <a:lnTo>
                    <a:pt x="204519" y="446693"/>
                  </a:lnTo>
                  <a:lnTo>
                    <a:pt x="438760" y="120689"/>
                  </a:lnTo>
                  <a:lnTo>
                    <a:pt x="212552" y="356935"/>
                  </a:lnTo>
                  <a:cubicBezTo>
                    <a:pt x="209327" y="360299"/>
                    <a:pt x="204221" y="361024"/>
                    <a:pt x="200187" y="358690"/>
                  </a:cubicBezTo>
                  <a:close/>
                </a:path>
              </a:pathLst>
            </a:custGeom>
            <a:solidFill>
              <a:srgbClr val="D7DC46"/>
            </a:solidFill>
            <a:ln w="1885" cap="flat">
              <a:noFill/>
              <a:prstDash val="solid"/>
              <a:miter/>
            </a:ln>
          </p:spPr>
          <p:txBody>
            <a:bodyPr rtlCol="0" anchor="ctr"/>
            <a:lstStyle/>
            <a:p>
              <a:endParaRPr lang="de-AT"/>
            </a:p>
          </p:txBody>
        </p:sp>
        <p:sp>
          <p:nvSpPr>
            <p:cNvPr id="8" name="Freihandform: Form 7">
              <a:extLst>
                <a:ext uri="{FF2B5EF4-FFF2-40B4-BE49-F238E27FC236}">
                  <a16:creationId xmlns:a16="http://schemas.microsoft.com/office/drawing/2014/main" id="{E19DC060-EA9A-96B8-5AB7-07012C4D4115}"/>
                </a:ext>
              </a:extLst>
            </p:cNvPr>
            <p:cNvSpPr/>
            <p:nvPr/>
          </p:nvSpPr>
          <p:spPr>
            <a:xfrm>
              <a:off x="1400028" y="3943411"/>
              <a:ext cx="20665" cy="100858"/>
            </a:xfrm>
            <a:custGeom>
              <a:avLst/>
              <a:gdLst>
                <a:gd name="connsiteX0" fmla="*/ 10323 w 20665"/>
                <a:gd name="connsiteY0" fmla="*/ 100858 h 100858"/>
                <a:gd name="connsiteX1" fmla="*/ 20665 w 20665"/>
                <a:gd name="connsiteY1" fmla="*/ 90535 h 100858"/>
                <a:gd name="connsiteX2" fmla="*/ 20665 w 20665"/>
                <a:gd name="connsiteY2" fmla="*/ 9898 h 100858"/>
                <a:gd name="connsiteX3" fmla="*/ 9888 w 20665"/>
                <a:gd name="connsiteY3" fmla="*/ 10 h 100858"/>
                <a:gd name="connsiteX4" fmla="*/ 0 w 20665"/>
                <a:gd name="connsiteY4" fmla="*/ 9898 h 100858"/>
                <a:gd name="connsiteX5" fmla="*/ 0 w 20665"/>
                <a:gd name="connsiteY5" fmla="*/ 90535 h 100858"/>
                <a:gd name="connsiteX6" fmla="*/ 10323 w 20665"/>
                <a:gd name="connsiteY6" fmla="*/ 100858 h 100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65" h="100858">
                  <a:moveTo>
                    <a:pt x="10323" y="100858"/>
                  </a:moveTo>
                  <a:cubicBezTo>
                    <a:pt x="16026" y="100858"/>
                    <a:pt x="20654" y="96240"/>
                    <a:pt x="20665" y="90535"/>
                  </a:cubicBezTo>
                  <a:lnTo>
                    <a:pt x="20665" y="9898"/>
                  </a:lnTo>
                  <a:cubicBezTo>
                    <a:pt x="20419" y="4192"/>
                    <a:pt x="15595" y="-236"/>
                    <a:pt x="9888" y="10"/>
                  </a:cubicBezTo>
                  <a:cubicBezTo>
                    <a:pt x="4526" y="240"/>
                    <a:pt x="231" y="4535"/>
                    <a:pt x="0" y="9898"/>
                  </a:cubicBezTo>
                  <a:lnTo>
                    <a:pt x="0" y="90535"/>
                  </a:lnTo>
                  <a:cubicBezTo>
                    <a:pt x="10" y="96232"/>
                    <a:pt x="4626" y="100848"/>
                    <a:pt x="10323" y="100858"/>
                  </a:cubicBezTo>
                  <a:close/>
                </a:path>
              </a:pathLst>
            </a:custGeom>
            <a:solidFill>
              <a:srgbClr val="D7DC46"/>
            </a:solidFill>
            <a:ln w="1885" cap="flat">
              <a:noFill/>
              <a:prstDash val="solid"/>
              <a:miter/>
            </a:ln>
          </p:spPr>
          <p:txBody>
            <a:bodyPr rtlCol="0" anchor="ctr"/>
            <a:lstStyle/>
            <a:p>
              <a:endParaRPr lang="de-AT"/>
            </a:p>
          </p:txBody>
        </p:sp>
        <p:sp>
          <p:nvSpPr>
            <p:cNvPr id="9" name="Freihandform: Form 8">
              <a:extLst>
                <a:ext uri="{FF2B5EF4-FFF2-40B4-BE49-F238E27FC236}">
                  <a16:creationId xmlns:a16="http://schemas.microsoft.com/office/drawing/2014/main" id="{64A2E94D-85A3-CC1F-8CE7-E30092608B51}"/>
                </a:ext>
              </a:extLst>
            </p:cNvPr>
            <p:cNvSpPr/>
            <p:nvPr/>
          </p:nvSpPr>
          <p:spPr>
            <a:xfrm>
              <a:off x="1256680" y="3985470"/>
              <a:ext cx="64541" cy="88297"/>
            </a:xfrm>
            <a:custGeom>
              <a:avLst/>
              <a:gdLst>
                <a:gd name="connsiteX0" fmla="*/ 45499 w 64541"/>
                <a:gd name="connsiteY0" fmla="*/ 83566 h 88297"/>
                <a:gd name="connsiteX1" fmla="*/ 59810 w 64541"/>
                <a:gd name="connsiteY1" fmla="*/ 86638 h 88297"/>
                <a:gd name="connsiteX2" fmla="*/ 62882 w 64541"/>
                <a:gd name="connsiteY2" fmla="*/ 72327 h 88297"/>
                <a:gd name="connsiteX3" fmla="*/ 33611 w 64541"/>
                <a:gd name="connsiteY3" fmla="*/ 27334 h 88297"/>
                <a:gd name="connsiteX4" fmla="*/ 18995 w 64541"/>
                <a:gd name="connsiteY4" fmla="*/ 4703 h 88297"/>
                <a:gd name="connsiteX5" fmla="*/ 4703 w 64541"/>
                <a:gd name="connsiteY5" fmla="*/ 1669 h 88297"/>
                <a:gd name="connsiteX6" fmla="*/ 1669 w 64541"/>
                <a:gd name="connsiteY6" fmla="*/ 15961 h 88297"/>
                <a:gd name="connsiteX7" fmla="*/ 45499 w 64541"/>
                <a:gd name="connsiteY7" fmla="*/ 83566 h 88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541" h="88297">
                  <a:moveTo>
                    <a:pt x="45499" y="83566"/>
                  </a:moveTo>
                  <a:cubicBezTo>
                    <a:pt x="48603" y="88367"/>
                    <a:pt x="55010" y="89741"/>
                    <a:pt x="59810" y="86638"/>
                  </a:cubicBezTo>
                  <a:cubicBezTo>
                    <a:pt x="64610" y="83535"/>
                    <a:pt x="65986" y="77128"/>
                    <a:pt x="62882" y="72327"/>
                  </a:cubicBezTo>
                  <a:lnTo>
                    <a:pt x="33611" y="27334"/>
                  </a:lnTo>
                  <a:lnTo>
                    <a:pt x="18995" y="4703"/>
                  </a:lnTo>
                  <a:cubicBezTo>
                    <a:pt x="15886" y="-81"/>
                    <a:pt x="9488" y="-1439"/>
                    <a:pt x="4703" y="1669"/>
                  </a:cubicBezTo>
                  <a:cubicBezTo>
                    <a:pt x="-81" y="4778"/>
                    <a:pt x="-1439" y="11177"/>
                    <a:pt x="1669" y="15961"/>
                  </a:cubicBezTo>
                  <a:cubicBezTo>
                    <a:pt x="2261" y="16992"/>
                    <a:pt x="44965" y="82765"/>
                    <a:pt x="45499" y="83566"/>
                  </a:cubicBezTo>
                  <a:close/>
                </a:path>
              </a:pathLst>
            </a:custGeom>
            <a:solidFill>
              <a:srgbClr val="D7DC46"/>
            </a:solidFill>
            <a:ln w="1885" cap="flat">
              <a:noFill/>
              <a:prstDash val="solid"/>
              <a:miter/>
            </a:ln>
          </p:spPr>
          <p:txBody>
            <a:bodyPr rtlCol="0" anchor="ctr"/>
            <a:lstStyle/>
            <a:p>
              <a:endParaRPr lang="de-AT"/>
            </a:p>
          </p:txBody>
        </p:sp>
        <p:sp>
          <p:nvSpPr>
            <p:cNvPr id="10" name="Freihandform: Form 9">
              <a:extLst>
                <a:ext uri="{FF2B5EF4-FFF2-40B4-BE49-F238E27FC236}">
                  <a16:creationId xmlns:a16="http://schemas.microsoft.com/office/drawing/2014/main" id="{8B971CB7-CF2A-6926-43F8-A15D0819D004}"/>
                </a:ext>
              </a:extLst>
            </p:cNvPr>
            <p:cNvSpPr/>
            <p:nvPr/>
          </p:nvSpPr>
          <p:spPr>
            <a:xfrm>
              <a:off x="1499347" y="3985461"/>
              <a:ext cx="64813" cy="88589"/>
            </a:xfrm>
            <a:custGeom>
              <a:avLst/>
              <a:gdLst>
                <a:gd name="connsiteX0" fmla="*/ 60066 w 64813"/>
                <a:gd name="connsiteY0" fmla="*/ 1679 h 88589"/>
                <a:gd name="connsiteX1" fmla="*/ 54456 w 64813"/>
                <a:gd name="connsiteY1" fmla="*/ 0 h 88589"/>
                <a:gd name="connsiteX2" fmla="*/ 45774 w 64813"/>
                <a:gd name="connsiteY2" fmla="*/ 4713 h 88589"/>
                <a:gd name="connsiteX3" fmla="*/ 31082 w 64813"/>
                <a:gd name="connsiteY3" fmla="*/ 27343 h 88589"/>
                <a:gd name="connsiteX4" fmla="*/ 1868 w 64813"/>
                <a:gd name="connsiteY4" fmla="*/ 72318 h 88589"/>
                <a:gd name="connsiteX5" fmla="*/ 4416 w 64813"/>
                <a:gd name="connsiteY5" fmla="*/ 86721 h 88589"/>
                <a:gd name="connsiteX6" fmla="*/ 18816 w 64813"/>
                <a:gd name="connsiteY6" fmla="*/ 84174 h 88589"/>
                <a:gd name="connsiteX7" fmla="*/ 19194 w 64813"/>
                <a:gd name="connsiteY7" fmla="*/ 83595 h 88589"/>
                <a:gd name="connsiteX8" fmla="*/ 39058 w 64813"/>
                <a:gd name="connsiteY8" fmla="*/ 53065 h 88589"/>
                <a:gd name="connsiteX9" fmla="*/ 63119 w 64813"/>
                <a:gd name="connsiteY9" fmla="*/ 16047 h 88589"/>
                <a:gd name="connsiteX10" fmla="*/ 60141 w 64813"/>
                <a:gd name="connsiteY10" fmla="*/ 1728 h 88589"/>
                <a:gd name="connsiteX11" fmla="*/ 60066 w 64813"/>
                <a:gd name="connsiteY11" fmla="*/ 1679 h 88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813" h="88589">
                  <a:moveTo>
                    <a:pt x="60066" y="1679"/>
                  </a:moveTo>
                  <a:cubicBezTo>
                    <a:pt x="58401" y="585"/>
                    <a:pt x="56450" y="1"/>
                    <a:pt x="54456" y="0"/>
                  </a:cubicBezTo>
                  <a:cubicBezTo>
                    <a:pt x="50953" y="5"/>
                    <a:pt x="47688" y="1777"/>
                    <a:pt x="45774" y="4713"/>
                  </a:cubicBezTo>
                  <a:lnTo>
                    <a:pt x="31082" y="27343"/>
                  </a:lnTo>
                  <a:lnTo>
                    <a:pt x="1868" y="72318"/>
                  </a:lnTo>
                  <a:cubicBezTo>
                    <a:pt x="-1406" y="76998"/>
                    <a:pt x="-265" y="83447"/>
                    <a:pt x="4416" y="86721"/>
                  </a:cubicBezTo>
                  <a:cubicBezTo>
                    <a:pt x="9095" y="89995"/>
                    <a:pt x="15544" y="88854"/>
                    <a:pt x="18816" y="84174"/>
                  </a:cubicBezTo>
                  <a:cubicBezTo>
                    <a:pt x="18950" y="83985"/>
                    <a:pt x="19076" y="83792"/>
                    <a:pt x="19194" y="83595"/>
                  </a:cubicBezTo>
                  <a:lnTo>
                    <a:pt x="39058" y="53065"/>
                  </a:lnTo>
                  <a:lnTo>
                    <a:pt x="63119" y="16047"/>
                  </a:lnTo>
                  <a:cubicBezTo>
                    <a:pt x="66251" y="11271"/>
                    <a:pt x="64919" y="4860"/>
                    <a:pt x="60141" y="1728"/>
                  </a:cubicBezTo>
                  <a:cubicBezTo>
                    <a:pt x="60116" y="1712"/>
                    <a:pt x="60091" y="1695"/>
                    <a:pt x="60066" y="1679"/>
                  </a:cubicBezTo>
                  <a:close/>
                </a:path>
              </a:pathLst>
            </a:custGeom>
            <a:solidFill>
              <a:srgbClr val="D7DC46"/>
            </a:solidFill>
            <a:ln w="1885" cap="flat">
              <a:noFill/>
              <a:prstDash val="solid"/>
              <a:miter/>
            </a:ln>
          </p:spPr>
          <p:txBody>
            <a:bodyPr rtlCol="0" anchor="ctr"/>
            <a:lstStyle/>
            <a:p>
              <a:endParaRPr lang="de-AT"/>
            </a:p>
          </p:txBody>
        </p:sp>
      </p:grpSp>
      <p:grpSp>
        <p:nvGrpSpPr>
          <p:cNvPr id="11" name="Grafik 395">
            <a:extLst>
              <a:ext uri="{FF2B5EF4-FFF2-40B4-BE49-F238E27FC236}">
                <a16:creationId xmlns:a16="http://schemas.microsoft.com/office/drawing/2014/main" id="{9228EB7A-E049-074A-139A-A232639345A1}"/>
              </a:ext>
            </a:extLst>
          </p:cNvPr>
          <p:cNvGrpSpPr/>
          <p:nvPr/>
        </p:nvGrpSpPr>
        <p:grpSpPr>
          <a:xfrm>
            <a:off x="537297" y="3825633"/>
            <a:ext cx="197758" cy="225425"/>
            <a:chOff x="1222248" y="3880972"/>
            <a:chExt cx="540000" cy="540000"/>
          </a:xfrm>
        </p:grpSpPr>
        <p:sp>
          <p:nvSpPr>
            <p:cNvPr id="12" name="Freihandform: Form 11">
              <a:extLst>
                <a:ext uri="{FF2B5EF4-FFF2-40B4-BE49-F238E27FC236}">
                  <a16:creationId xmlns:a16="http://schemas.microsoft.com/office/drawing/2014/main" id="{61BC84B8-1B6B-A962-FC0A-17DA737A81B6}"/>
                </a:ext>
              </a:extLst>
            </p:cNvPr>
            <p:cNvSpPr/>
            <p:nvPr/>
          </p:nvSpPr>
          <p:spPr>
            <a:xfrm>
              <a:off x="1222356" y="3914841"/>
              <a:ext cx="540822" cy="473101"/>
            </a:xfrm>
            <a:custGeom>
              <a:avLst/>
              <a:gdLst>
                <a:gd name="connsiteX0" fmla="*/ 205244 w 540822"/>
                <a:gd name="connsiteY0" fmla="*/ 473101 h 473101"/>
                <a:gd name="connsiteX1" fmla="*/ 197611 w 540822"/>
                <a:gd name="connsiteY1" fmla="*/ 469590 h 473101"/>
                <a:gd name="connsiteX2" fmla="*/ 2353 w 540822"/>
                <a:gd name="connsiteY2" fmla="*/ 243496 h 473101"/>
                <a:gd name="connsiteX3" fmla="*/ 3617 w 540822"/>
                <a:gd name="connsiteY3" fmla="*/ 229277 h 473101"/>
                <a:gd name="connsiteX4" fmla="*/ 15061 w 540822"/>
                <a:gd name="connsiteY4" fmla="*/ 228231 h 473101"/>
                <a:gd name="connsiteX5" fmla="*/ 203450 w 540822"/>
                <a:gd name="connsiteY5" fmla="*/ 337300 h 473101"/>
                <a:gd name="connsiteX6" fmla="*/ 523386 w 540822"/>
                <a:gd name="connsiteY6" fmla="*/ 3168 h 473101"/>
                <a:gd name="connsiteX7" fmla="*/ 537655 w 540822"/>
                <a:gd name="connsiteY7" fmla="*/ 2751 h 473101"/>
                <a:gd name="connsiteX8" fmla="*/ 538880 w 540822"/>
                <a:gd name="connsiteY8" fmla="*/ 16048 h 473101"/>
                <a:gd name="connsiteX9" fmla="*/ 213449 w 540822"/>
                <a:gd name="connsiteY9" fmla="*/ 468884 h 473101"/>
                <a:gd name="connsiteX10" fmla="*/ 205702 w 540822"/>
                <a:gd name="connsiteY10" fmla="*/ 473082 h 473101"/>
                <a:gd name="connsiteX11" fmla="*/ 56849 w 540822"/>
                <a:gd name="connsiteY11" fmla="*/ 275706 h 473101"/>
                <a:gd name="connsiteX12" fmla="*/ 204519 w 540822"/>
                <a:gd name="connsiteY12" fmla="*/ 446693 h 473101"/>
                <a:gd name="connsiteX13" fmla="*/ 438760 w 540822"/>
                <a:gd name="connsiteY13" fmla="*/ 120689 h 473101"/>
                <a:gd name="connsiteX14" fmla="*/ 212552 w 540822"/>
                <a:gd name="connsiteY14" fmla="*/ 356935 h 473101"/>
                <a:gd name="connsiteX15" fmla="*/ 200187 w 540822"/>
                <a:gd name="connsiteY15" fmla="*/ 358690 h 47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40822" h="473101">
                  <a:moveTo>
                    <a:pt x="205244" y="473101"/>
                  </a:moveTo>
                  <a:cubicBezTo>
                    <a:pt x="202309" y="473101"/>
                    <a:pt x="199521" y="471819"/>
                    <a:pt x="197611" y="469590"/>
                  </a:cubicBezTo>
                  <a:lnTo>
                    <a:pt x="2353" y="243496"/>
                  </a:lnTo>
                  <a:cubicBezTo>
                    <a:pt x="-1225" y="239220"/>
                    <a:pt x="-659" y="232855"/>
                    <a:pt x="3617" y="229277"/>
                  </a:cubicBezTo>
                  <a:cubicBezTo>
                    <a:pt x="6841" y="226579"/>
                    <a:pt x="11401" y="226163"/>
                    <a:pt x="15061" y="228231"/>
                  </a:cubicBezTo>
                  <a:lnTo>
                    <a:pt x="203450" y="337300"/>
                  </a:lnTo>
                  <a:lnTo>
                    <a:pt x="523386" y="3168"/>
                  </a:lnTo>
                  <a:cubicBezTo>
                    <a:pt x="527212" y="-888"/>
                    <a:pt x="533600" y="-1074"/>
                    <a:pt x="537655" y="2751"/>
                  </a:cubicBezTo>
                  <a:cubicBezTo>
                    <a:pt x="541355" y="6242"/>
                    <a:pt x="541879" y="11940"/>
                    <a:pt x="538880" y="16048"/>
                  </a:cubicBezTo>
                  <a:lnTo>
                    <a:pt x="213449" y="468884"/>
                  </a:lnTo>
                  <a:cubicBezTo>
                    <a:pt x="211651" y="471403"/>
                    <a:pt x="208793" y="472952"/>
                    <a:pt x="205702" y="473082"/>
                  </a:cubicBezTo>
                  <a:close/>
                  <a:moveTo>
                    <a:pt x="56849" y="275706"/>
                  </a:moveTo>
                  <a:lnTo>
                    <a:pt x="204519" y="446693"/>
                  </a:lnTo>
                  <a:lnTo>
                    <a:pt x="438760" y="120689"/>
                  </a:lnTo>
                  <a:lnTo>
                    <a:pt x="212552" y="356935"/>
                  </a:lnTo>
                  <a:cubicBezTo>
                    <a:pt x="209327" y="360299"/>
                    <a:pt x="204221" y="361024"/>
                    <a:pt x="200187" y="358690"/>
                  </a:cubicBezTo>
                  <a:close/>
                </a:path>
              </a:pathLst>
            </a:custGeom>
            <a:solidFill>
              <a:srgbClr val="D7DC46"/>
            </a:solidFill>
            <a:ln w="1885" cap="flat">
              <a:noFill/>
              <a:prstDash val="solid"/>
              <a:miter/>
            </a:ln>
          </p:spPr>
          <p:txBody>
            <a:bodyPr rtlCol="0" anchor="ctr"/>
            <a:lstStyle/>
            <a:p>
              <a:endParaRPr lang="de-AT"/>
            </a:p>
          </p:txBody>
        </p:sp>
        <p:sp>
          <p:nvSpPr>
            <p:cNvPr id="13" name="Freihandform: Form 12">
              <a:extLst>
                <a:ext uri="{FF2B5EF4-FFF2-40B4-BE49-F238E27FC236}">
                  <a16:creationId xmlns:a16="http://schemas.microsoft.com/office/drawing/2014/main" id="{B8219303-E8FA-D493-8182-B0F3AFF1B6B1}"/>
                </a:ext>
              </a:extLst>
            </p:cNvPr>
            <p:cNvSpPr/>
            <p:nvPr/>
          </p:nvSpPr>
          <p:spPr>
            <a:xfrm>
              <a:off x="1400028" y="3943411"/>
              <a:ext cx="20665" cy="100858"/>
            </a:xfrm>
            <a:custGeom>
              <a:avLst/>
              <a:gdLst>
                <a:gd name="connsiteX0" fmla="*/ 10323 w 20665"/>
                <a:gd name="connsiteY0" fmla="*/ 100858 h 100858"/>
                <a:gd name="connsiteX1" fmla="*/ 20665 w 20665"/>
                <a:gd name="connsiteY1" fmla="*/ 90535 h 100858"/>
                <a:gd name="connsiteX2" fmla="*/ 20665 w 20665"/>
                <a:gd name="connsiteY2" fmla="*/ 9898 h 100858"/>
                <a:gd name="connsiteX3" fmla="*/ 9888 w 20665"/>
                <a:gd name="connsiteY3" fmla="*/ 10 h 100858"/>
                <a:gd name="connsiteX4" fmla="*/ 0 w 20665"/>
                <a:gd name="connsiteY4" fmla="*/ 9898 h 100858"/>
                <a:gd name="connsiteX5" fmla="*/ 0 w 20665"/>
                <a:gd name="connsiteY5" fmla="*/ 90535 h 100858"/>
                <a:gd name="connsiteX6" fmla="*/ 10323 w 20665"/>
                <a:gd name="connsiteY6" fmla="*/ 100858 h 100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65" h="100858">
                  <a:moveTo>
                    <a:pt x="10323" y="100858"/>
                  </a:moveTo>
                  <a:cubicBezTo>
                    <a:pt x="16026" y="100858"/>
                    <a:pt x="20654" y="96240"/>
                    <a:pt x="20665" y="90535"/>
                  </a:cubicBezTo>
                  <a:lnTo>
                    <a:pt x="20665" y="9898"/>
                  </a:lnTo>
                  <a:cubicBezTo>
                    <a:pt x="20419" y="4192"/>
                    <a:pt x="15595" y="-236"/>
                    <a:pt x="9888" y="10"/>
                  </a:cubicBezTo>
                  <a:cubicBezTo>
                    <a:pt x="4526" y="240"/>
                    <a:pt x="231" y="4535"/>
                    <a:pt x="0" y="9898"/>
                  </a:cubicBezTo>
                  <a:lnTo>
                    <a:pt x="0" y="90535"/>
                  </a:lnTo>
                  <a:cubicBezTo>
                    <a:pt x="10" y="96232"/>
                    <a:pt x="4626" y="100848"/>
                    <a:pt x="10323" y="100858"/>
                  </a:cubicBezTo>
                  <a:close/>
                </a:path>
              </a:pathLst>
            </a:custGeom>
            <a:solidFill>
              <a:srgbClr val="D7DC46"/>
            </a:solidFill>
            <a:ln w="1885" cap="flat">
              <a:noFill/>
              <a:prstDash val="solid"/>
              <a:miter/>
            </a:ln>
          </p:spPr>
          <p:txBody>
            <a:bodyPr rtlCol="0" anchor="ctr"/>
            <a:lstStyle/>
            <a:p>
              <a:endParaRPr lang="de-AT"/>
            </a:p>
          </p:txBody>
        </p:sp>
        <p:sp>
          <p:nvSpPr>
            <p:cNvPr id="14" name="Freihandform: Form 13">
              <a:extLst>
                <a:ext uri="{FF2B5EF4-FFF2-40B4-BE49-F238E27FC236}">
                  <a16:creationId xmlns:a16="http://schemas.microsoft.com/office/drawing/2014/main" id="{720F79B3-3043-46DF-68A4-88826427ACCD}"/>
                </a:ext>
              </a:extLst>
            </p:cNvPr>
            <p:cNvSpPr/>
            <p:nvPr/>
          </p:nvSpPr>
          <p:spPr>
            <a:xfrm>
              <a:off x="1256680" y="3985470"/>
              <a:ext cx="64541" cy="88297"/>
            </a:xfrm>
            <a:custGeom>
              <a:avLst/>
              <a:gdLst>
                <a:gd name="connsiteX0" fmla="*/ 45499 w 64541"/>
                <a:gd name="connsiteY0" fmla="*/ 83566 h 88297"/>
                <a:gd name="connsiteX1" fmla="*/ 59810 w 64541"/>
                <a:gd name="connsiteY1" fmla="*/ 86638 h 88297"/>
                <a:gd name="connsiteX2" fmla="*/ 62882 w 64541"/>
                <a:gd name="connsiteY2" fmla="*/ 72327 h 88297"/>
                <a:gd name="connsiteX3" fmla="*/ 33611 w 64541"/>
                <a:gd name="connsiteY3" fmla="*/ 27334 h 88297"/>
                <a:gd name="connsiteX4" fmla="*/ 18995 w 64541"/>
                <a:gd name="connsiteY4" fmla="*/ 4703 h 88297"/>
                <a:gd name="connsiteX5" fmla="*/ 4703 w 64541"/>
                <a:gd name="connsiteY5" fmla="*/ 1669 h 88297"/>
                <a:gd name="connsiteX6" fmla="*/ 1669 w 64541"/>
                <a:gd name="connsiteY6" fmla="*/ 15961 h 88297"/>
                <a:gd name="connsiteX7" fmla="*/ 45499 w 64541"/>
                <a:gd name="connsiteY7" fmla="*/ 83566 h 88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541" h="88297">
                  <a:moveTo>
                    <a:pt x="45499" y="83566"/>
                  </a:moveTo>
                  <a:cubicBezTo>
                    <a:pt x="48603" y="88367"/>
                    <a:pt x="55010" y="89741"/>
                    <a:pt x="59810" y="86638"/>
                  </a:cubicBezTo>
                  <a:cubicBezTo>
                    <a:pt x="64610" y="83535"/>
                    <a:pt x="65986" y="77128"/>
                    <a:pt x="62882" y="72327"/>
                  </a:cubicBezTo>
                  <a:lnTo>
                    <a:pt x="33611" y="27334"/>
                  </a:lnTo>
                  <a:lnTo>
                    <a:pt x="18995" y="4703"/>
                  </a:lnTo>
                  <a:cubicBezTo>
                    <a:pt x="15886" y="-81"/>
                    <a:pt x="9488" y="-1439"/>
                    <a:pt x="4703" y="1669"/>
                  </a:cubicBezTo>
                  <a:cubicBezTo>
                    <a:pt x="-81" y="4778"/>
                    <a:pt x="-1439" y="11177"/>
                    <a:pt x="1669" y="15961"/>
                  </a:cubicBezTo>
                  <a:cubicBezTo>
                    <a:pt x="2261" y="16992"/>
                    <a:pt x="44965" y="82765"/>
                    <a:pt x="45499" y="83566"/>
                  </a:cubicBezTo>
                  <a:close/>
                </a:path>
              </a:pathLst>
            </a:custGeom>
            <a:solidFill>
              <a:srgbClr val="D7DC46"/>
            </a:solidFill>
            <a:ln w="1885" cap="flat">
              <a:noFill/>
              <a:prstDash val="solid"/>
              <a:miter/>
            </a:ln>
          </p:spPr>
          <p:txBody>
            <a:bodyPr rtlCol="0" anchor="ctr"/>
            <a:lstStyle/>
            <a:p>
              <a:endParaRPr lang="de-AT"/>
            </a:p>
          </p:txBody>
        </p:sp>
        <p:sp>
          <p:nvSpPr>
            <p:cNvPr id="15" name="Freihandform: Form 14">
              <a:extLst>
                <a:ext uri="{FF2B5EF4-FFF2-40B4-BE49-F238E27FC236}">
                  <a16:creationId xmlns:a16="http://schemas.microsoft.com/office/drawing/2014/main" id="{88622F7F-FCF9-90D3-8D69-4C8C136477DB}"/>
                </a:ext>
              </a:extLst>
            </p:cNvPr>
            <p:cNvSpPr/>
            <p:nvPr/>
          </p:nvSpPr>
          <p:spPr>
            <a:xfrm>
              <a:off x="1499347" y="3985461"/>
              <a:ext cx="64813" cy="88589"/>
            </a:xfrm>
            <a:custGeom>
              <a:avLst/>
              <a:gdLst>
                <a:gd name="connsiteX0" fmla="*/ 60066 w 64813"/>
                <a:gd name="connsiteY0" fmla="*/ 1679 h 88589"/>
                <a:gd name="connsiteX1" fmla="*/ 54456 w 64813"/>
                <a:gd name="connsiteY1" fmla="*/ 0 h 88589"/>
                <a:gd name="connsiteX2" fmla="*/ 45774 w 64813"/>
                <a:gd name="connsiteY2" fmla="*/ 4713 h 88589"/>
                <a:gd name="connsiteX3" fmla="*/ 31082 w 64813"/>
                <a:gd name="connsiteY3" fmla="*/ 27343 h 88589"/>
                <a:gd name="connsiteX4" fmla="*/ 1868 w 64813"/>
                <a:gd name="connsiteY4" fmla="*/ 72318 h 88589"/>
                <a:gd name="connsiteX5" fmla="*/ 4416 w 64813"/>
                <a:gd name="connsiteY5" fmla="*/ 86721 h 88589"/>
                <a:gd name="connsiteX6" fmla="*/ 18816 w 64813"/>
                <a:gd name="connsiteY6" fmla="*/ 84174 h 88589"/>
                <a:gd name="connsiteX7" fmla="*/ 19194 w 64813"/>
                <a:gd name="connsiteY7" fmla="*/ 83595 h 88589"/>
                <a:gd name="connsiteX8" fmla="*/ 39058 w 64813"/>
                <a:gd name="connsiteY8" fmla="*/ 53065 h 88589"/>
                <a:gd name="connsiteX9" fmla="*/ 63119 w 64813"/>
                <a:gd name="connsiteY9" fmla="*/ 16047 h 88589"/>
                <a:gd name="connsiteX10" fmla="*/ 60141 w 64813"/>
                <a:gd name="connsiteY10" fmla="*/ 1728 h 88589"/>
                <a:gd name="connsiteX11" fmla="*/ 60066 w 64813"/>
                <a:gd name="connsiteY11" fmla="*/ 1679 h 88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813" h="88589">
                  <a:moveTo>
                    <a:pt x="60066" y="1679"/>
                  </a:moveTo>
                  <a:cubicBezTo>
                    <a:pt x="58401" y="585"/>
                    <a:pt x="56450" y="1"/>
                    <a:pt x="54456" y="0"/>
                  </a:cubicBezTo>
                  <a:cubicBezTo>
                    <a:pt x="50953" y="5"/>
                    <a:pt x="47688" y="1777"/>
                    <a:pt x="45774" y="4713"/>
                  </a:cubicBezTo>
                  <a:lnTo>
                    <a:pt x="31082" y="27343"/>
                  </a:lnTo>
                  <a:lnTo>
                    <a:pt x="1868" y="72318"/>
                  </a:lnTo>
                  <a:cubicBezTo>
                    <a:pt x="-1406" y="76998"/>
                    <a:pt x="-265" y="83447"/>
                    <a:pt x="4416" y="86721"/>
                  </a:cubicBezTo>
                  <a:cubicBezTo>
                    <a:pt x="9095" y="89995"/>
                    <a:pt x="15544" y="88854"/>
                    <a:pt x="18816" y="84174"/>
                  </a:cubicBezTo>
                  <a:cubicBezTo>
                    <a:pt x="18950" y="83985"/>
                    <a:pt x="19076" y="83792"/>
                    <a:pt x="19194" y="83595"/>
                  </a:cubicBezTo>
                  <a:lnTo>
                    <a:pt x="39058" y="53065"/>
                  </a:lnTo>
                  <a:lnTo>
                    <a:pt x="63119" y="16047"/>
                  </a:lnTo>
                  <a:cubicBezTo>
                    <a:pt x="66251" y="11271"/>
                    <a:pt x="64919" y="4860"/>
                    <a:pt x="60141" y="1728"/>
                  </a:cubicBezTo>
                  <a:cubicBezTo>
                    <a:pt x="60116" y="1712"/>
                    <a:pt x="60091" y="1695"/>
                    <a:pt x="60066" y="1679"/>
                  </a:cubicBezTo>
                  <a:close/>
                </a:path>
              </a:pathLst>
            </a:custGeom>
            <a:solidFill>
              <a:srgbClr val="D7DC46"/>
            </a:solidFill>
            <a:ln w="1885" cap="flat">
              <a:noFill/>
              <a:prstDash val="solid"/>
              <a:miter/>
            </a:ln>
          </p:spPr>
          <p:txBody>
            <a:bodyPr rtlCol="0" anchor="ctr"/>
            <a:lstStyle/>
            <a:p>
              <a:endParaRPr lang="de-AT"/>
            </a:p>
          </p:txBody>
        </p:sp>
      </p:grpSp>
      <p:grpSp>
        <p:nvGrpSpPr>
          <p:cNvPr id="16" name="Grafik 395">
            <a:extLst>
              <a:ext uri="{FF2B5EF4-FFF2-40B4-BE49-F238E27FC236}">
                <a16:creationId xmlns:a16="http://schemas.microsoft.com/office/drawing/2014/main" id="{9AF6F59B-3695-C87E-0E32-243BC589B29A}"/>
              </a:ext>
            </a:extLst>
          </p:cNvPr>
          <p:cNvGrpSpPr/>
          <p:nvPr/>
        </p:nvGrpSpPr>
        <p:grpSpPr>
          <a:xfrm>
            <a:off x="549634" y="4213298"/>
            <a:ext cx="197758" cy="225425"/>
            <a:chOff x="1222248" y="3880972"/>
            <a:chExt cx="540000" cy="540000"/>
          </a:xfrm>
        </p:grpSpPr>
        <p:sp>
          <p:nvSpPr>
            <p:cNvPr id="17" name="Freihandform: Form 16">
              <a:extLst>
                <a:ext uri="{FF2B5EF4-FFF2-40B4-BE49-F238E27FC236}">
                  <a16:creationId xmlns:a16="http://schemas.microsoft.com/office/drawing/2014/main" id="{E4EBA740-E5FA-325D-DF2E-A8625C9F4EEE}"/>
                </a:ext>
              </a:extLst>
            </p:cNvPr>
            <p:cNvSpPr/>
            <p:nvPr/>
          </p:nvSpPr>
          <p:spPr>
            <a:xfrm>
              <a:off x="1222356" y="3914841"/>
              <a:ext cx="540822" cy="473101"/>
            </a:xfrm>
            <a:custGeom>
              <a:avLst/>
              <a:gdLst>
                <a:gd name="connsiteX0" fmla="*/ 205244 w 540822"/>
                <a:gd name="connsiteY0" fmla="*/ 473101 h 473101"/>
                <a:gd name="connsiteX1" fmla="*/ 197611 w 540822"/>
                <a:gd name="connsiteY1" fmla="*/ 469590 h 473101"/>
                <a:gd name="connsiteX2" fmla="*/ 2353 w 540822"/>
                <a:gd name="connsiteY2" fmla="*/ 243496 h 473101"/>
                <a:gd name="connsiteX3" fmla="*/ 3617 w 540822"/>
                <a:gd name="connsiteY3" fmla="*/ 229277 h 473101"/>
                <a:gd name="connsiteX4" fmla="*/ 15061 w 540822"/>
                <a:gd name="connsiteY4" fmla="*/ 228231 h 473101"/>
                <a:gd name="connsiteX5" fmla="*/ 203450 w 540822"/>
                <a:gd name="connsiteY5" fmla="*/ 337300 h 473101"/>
                <a:gd name="connsiteX6" fmla="*/ 523386 w 540822"/>
                <a:gd name="connsiteY6" fmla="*/ 3168 h 473101"/>
                <a:gd name="connsiteX7" fmla="*/ 537655 w 540822"/>
                <a:gd name="connsiteY7" fmla="*/ 2751 h 473101"/>
                <a:gd name="connsiteX8" fmla="*/ 538880 w 540822"/>
                <a:gd name="connsiteY8" fmla="*/ 16048 h 473101"/>
                <a:gd name="connsiteX9" fmla="*/ 213449 w 540822"/>
                <a:gd name="connsiteY9" fmla="*/ 468884 h 473101"/>
                <a:gd name="connsiteX10" fmla="*/ 205702 w 540822"/>
                <a:gd name="connsiteY10" fmla="*/ 473082 h 473101"/>
                <a:gd name="connsiteX11" fmla="*/ 56849 w 540822"/>
                <a:gd name="connsiteY11" fmla="*/ 275706 h 473101"/>
                <a:gd name="connsiteX12" fmla="*/ 204519 w 540822"/>
                <a:gd name="connsiteY12" fmla="*/ 446693 h 473101"/>
                <a:gd name="connsiteX13" fmla="*/ 438760 w 540822"/>
                <a:gd name="connsiteY13" fmla="*/ 120689 h 473101"/>
                <a:gd name="connsiteX14" fmla="*/ 212552 w 540822"/>
                <a:gd name="connsiteY14" fmla="*/ 356935 h 473101"/>
                <a:gd name="connsiteX15" fmla="*/ 200187 w 540822"/>
                <a:gd name="connsiteY15" fmla="*/ 358690 h 47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40822" h="473101">
                  <a:moveTo>
                    <a:pt x="205244" y="473101"/>
                  </a:moveTo>
                  <a:cubicBezTo>
                    <a:pt x="202309" y="473101"/>
                    <a:pt x="199521" y="471819"/>
                    <a:pt x="197611" y="469590"/>
                  </a:cubicBezTo>
                  <a:lnTo>
                    <a:pt x="2353" y="243496"/>
                  </a:lnTo>
                  <a:cubicBezTo>
                    <a:pt x="-1225" y="239220"/>
                    <a:pt x="-659" y="232855"/>
                    <a:pt x="3617" y="229277"/>
                  </a:cubicBezTo>
                  <a:cubicBezTo>
                    <a:pt x="6841" y="226579"/>
                    <a:pt x="11401" y="226163"/>
                    <a:pt x="15061" y="228231"/>
                  </a:cubicBezTo>
                  <a:lnTo>
                    <a:pt x="203450" y="337300"/>
                  </a:lnTo>
                  <a:lnTo>
                    <a:pt x="523386" y="3168"/>
                  </a:lnTo>
                  <a:cubicBezTo>
                    <a:pt x="527212" y="-888"/>
                    <a:pt x="533600" y="-1074"/>
                    <a:pt x="537655" y="2751"/>
                  </a:cubicBezTo>
                  <a:cubicBezTo>
                    <a:pt x="541355" y="6242"/>
                    <a:pt x="541879" y="11940"/>
                    <a:pt x="538880" y="16048"/>
                  </a:cubicBezTo>
                  <a:lnTo>
                    <a:pt x="213449" y="468884"/>
                  </a:lnTo>
                  <a:cubicBezTo>
                    <a:pt x="211651" y="471403"/>
                    <a:pt x="208793" y="472952"/>
                    <a:pt x="205702" y="473082"/>
                  </a:cubicBezTo>
                  <a:close/>
                  <a:moveTo>
                    <a:pt x="56849" y="275706"/>
                  </a:moveTo>
                  <a:lnTo>
                    <a:pt x="204519" y="446693"/>
                  </a:lnTo>
                  <a:lnTo>
                    <a:pt x="438760" y="120689"/>
                  </a:lnTo>
                  <a:lnTo>
                    <a:pt x="212552" y="356935"/>
                  </a:lnTo>
                  <a:cubicBezTo>
                    <a:pt x="209327" y="360299"/>
                    <a:pt x="204221" y="361024"/>
                    <a:pt x="200187" y="358690"/>
                  </a:cubicBezTo>
                  <a:close/>
                </a:path>
              </a:pathLst>
            </a:custGeom>
            <a:solidFill>
              <a:srgbClr val="D7DC46"/>
            </a:solidFill>
            <a:ln w="1885" cap="flat">
              <a:noFill/>
              <a:prstDash val="solid"/>
              <a:miter/>
            </a:ln>
          </p:spPr>
          <p:txBody>
            <a:bodyPr rtlCol="0" anchor="ctr"/>
            <a:lstStyle/>
            <a:p>
              <a:endParaRPr lang="de-AT"/>
            </a:p>
          </p:txBody>
        </p:sp>
        <p:sp>
          <p:nvSpPr>
            <p:cNvPr id="18" name="Freihandform: Form 17">
              <a:extLst>
                <a:ext uri="{FF2B5EF4-FFF2-40B4-BE49-F238E27FC236}">
                  <a16:creationId xmlns:a16="http://schemas.microsoft.com/office/drawing/2014/main" id="{B3021B14-BB17-C7FC-3B67-805F1002F2AA}"/>
                </a:ext>
              </a:extLst>
            </p:cNvPr>
            <p:cNvSpPr/>
            <p:nvPr/>
          </p:nvSpPr>
          <p:spPr>
            <a:xfrm>
              <a:off x="1400028" y="3943411"/>
              <a:ext cx="20665" cy="100858"/>
            </a:xfrm>
            <a:custGeom>
              <a:avLst/>
              <a:gdLst>
                <a:gd name="connsiteX0" fmla="*/ 10323 w 20665"/>
                <a:gd name="connsiteY0" fmla="*/ 100858 h 100858"/>
                <a:gd name="connsiteX1" fmla="*/ 20665 w 20665"/>
                <a:gd name="connsiteY1" fmla="*/ 90535 h 100858"/>
                <a:gd name="connsiteX2" fmla="*/ 20665 w 20665"/>
                <a:gd name="connsiteY2" fmla="*/ 9898 h 100858"/>
                <a:gd name="connsiteX3" fmla="*/ 9888 w 20665"/>
                <a:gd name="connsiteY3" fmla="*/ 10 h 100858"/>
                <a:gd name="connsiteX4" fmla="*/ 0 w 20665"/>
                <a:gd name="connsiteY4" fmla="*/ 9898 h 100858"/>
                <a:gd name="connsiteX5" fmla="*/ 0 w 20665"/>
                <a:gd name="connsiteY5" fmla="*/ 90535 h 100858"/>
                <a:gd name="connsiteX6" fmla="*/ 10323 w 20665"/>
                <a:gd name="connsiteY6" fmla="*/ 100858 h 100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65" h="100858">
                  <a:moveTo>
                    <a:pt x="10323" y="100858"/>
                  </a:moveTo>
                  <a:cubicBezTo>
                    <a:pt x="16026" y="100858"/>
                    <a:pt x="20654" y="96240"/>
                    <a:pt x="20665" y="90535"/>
                  </a:cubicBezTo>
                  <a:lnTo>
                    <a:pt x="20665" y="9898"/>
                  </a:lnTo>
                  <a:cubicBezTo>
                    <a:pt x="20419" y="4192"/>
                    <a:pt x="15595" y="-236"/>
                    <a:pt x="9888" y="10"/>
                  </a:cubicBezTo>
                  <a:cubicBezTo>
                    <a:pt x="4526" y="240"/>
                    <a:pt x="231" y="4535"/>
                    <a:pt x="0" y="9898"/>
                  </a:cubicBezTo>
                  <a:lnTo>
                    <a:pt x="0" y="90535"/>
                  </a:lnTo>
                  <a:cubicBezTo>
                    <a:pt x="10" y="96232"/>
                    <a:pt x="4626" y="100848"/>
                    <a:pt x="10323" y="100858"/>
                  </a:cubicBezTo>
                  <a:close/>
                </a:path>
              </a:pathLst>
            </a:custGeom>
            <a:solidFill>
              <a:srgbClr val="D7DC46"/>
            </a:solidFill>
            <a:ln w="1885" cap="flat">
              <a:noFill/>
              <a:prstDash val="solid"/>
              <a:miter/>
            </a:ln>
          </p:spPr>
          <p:txBody>
            <a:bodyPr rtlCol="0" anchor="ctr"/>
            <a:lstStyle/>
            <a:p>
              <a:endParaRPr lang="de-AT"/>
            </a:p>
          </p:txBody>
        </p:sp>
        <p:sp>
          <p:nvSpPr>
            <p:cNvPr id="19" name="Freihandform: Form 18">
              <a:extLst>
                <a:ext uri="{FF2B5EF4-FFF2-40B4-BE49-F238E27FC236}">
                  <a16:creationId xmlns:a16="http://schemas.microsoft.com/office/drawing/2014/main" id="{3023D402-9C7F-2663-7C76-EEAD86442536}"/>
                </a:ext>
              </a:extLst>
            </p:cNvPr>
            <p:cNvSpPr/>
            <p:nvPr/>
          </p:nvSpPr>
          <p:spPr>
            <a:xfrm>
              <a:off x="1256680" y="3985470"/>
              <a:ext cx="64541" cy="88297"/>
            </a:xfrm>
            <a:custGeom>
              <a:avLst/>
              <a:gdLst>
                <a:gd name="connsiteX0" fmla="*/ 45499 w 64541"/>
                <a:gd name="connsiteY0" fmla="*/ 83566 h 88297"/>
                <a:gd name="connsiteX1" fmla="*/ 59810 w 64541"/>
                <a:gd name="connsiteY1" fmla="*/ 86638 h 88297"/>
                <a:gd name="connsiteX2" fmla="*/ 62882 w 64541"/>
                <a:gd name="connsiteY2" fmla="*/ 72327 h 88297"/>
                <a:gd name="connsiteX3" fmla="*/ 33611 w 64541"/>
                <a:gd name="connsiteY3" fmla="*/ 27334 h 88297"/>
                <a:gd name="connsiteX4" fmla="*/ 18995 w 64541"/>
                <a:gd name="connsiteY4" fmla="*/ 4703 h 88297"/>
                <a:gd name="connsiteX5" fmla="*/ 4703 w 64541"/>
                <a:gd name="connsiteY5" fmla="*/ 1669 h 88297"/>
                <a:gd name="connsiteX6" fmla="*/ 1669 w 64541"/>
                <a:gd name="connsiteY6" fmla="*/ 15961 h 88297"/>
                <a:gd name="connsiteX7" fmla="*/ 45499 w 64541"/>
                <a:gd name="connsiteY7" fmla="*/ 83566 h 88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541" h="88297">
                  <a:moveTo>
                    <a:pt x="45499" y="83566"/>
                  </a:moveTo>
                  <a:cubicBezTo>
                    <a:pt x="48603" y="88367"/>
                    <a:pt x="55010" y="89741"/>
                    <a:pt x="59810" y="86638"/>
                  </a:cubicBezTo>
                  <a:cubicBezTo>
                    <a:pt x="64610" y="83535"/>
                    <a:pt x="65986" y="77128"/>
                    <a:pt x="62882" y="72327"/>
                  </a:cubicBezTo>
                  <a:lnTo>
                    <a:pt x="33611" y="27334"/>
                  </a:lnTo>
                  <a:lnTo>
                    <a:pt x="18995" y="4703"/>
                  </a:lnTo>
                  <a:cubicBezTo>
                    <a:pt x="15886" y="-81"/>
                    <a:pt x="9488" y="-1439"/>
                    <a:pt x="4703" y="1669"/>
                  </a:cubicBezTo>
                  <a:cubicBezTo>
                    <a:pt x="-81" y="4778"/>
                    <a:pt x="-1439" y="11177"/>
                    <a:pt x="1669" y="15961"/>
                  </a:cubicBezTo>
                  <a:cubicBezTo>
                    <a:pt x="2261" y="16992"/>
                    <a:pt x="44965" y="82765"/>
                    <a:pt x="45499" y="83566"/>
                  </a:cubicBezTo>
                  <a:close/>
                </a:path>
              </a:pathLst>
            </a:custGeom>
            <a:solidFill>
              <a:srgbClr val="D7DC46"/>
            </a:solidFill>
            <a:ln w="1885" cap="flat">
              <a:noFill/>
              <a:prstDash val="solid"/>
              <a:miter/>
            </a:ln>
          </p:spPr>
          <p:txBody>
            <a:bodyPr rtlCol="0" anchor="ctr"/>
            <a:lstStyle/>
            <a:p>
              <a:endParaRPr lang="de-AT"/>
            </a:p>
          </p:txBody>
        </p:sp>
        <p:sp>
          <p:nvSpPr>
            <p:cNvPr id="20" name="Freihandform: Form 19">
              <a:extLst>
                <a:ext uri="{FF2B5EF4-FFF2-40B4-BE49-F238E27FC236}">
                  <a16:creationId xmlns:a16="http://schemas.microsoft.com/office/drawing/2014/main" id="{7D545822-2429-7239-292C-3CE2129F0030}"/>
                </a:ext>
              </a:extLst>
            </p:cNvPr>
            <p:cNvSpPr/>
            <p:nvPr/>
          </p:nvSpPr>
          <p:spPr>
            <a:xfrm>
              <a:off x="1499347" y="3985461"/>
              <a:ext cx="64813" cy="88589"/>
            </a:xfrm>
            <a:custGeom>
              <a:avLst/>
              <a:gdLst>
                <a:gd name="connsiteX0" fmla="*/ 60066 w 64813"/>
                <a:gd name="connsiteY0" fmla="*/ 1679 h 88589"/>
                <a:gd name="connsiteX1" fmla="*/ 54456 w 64813"/>
                <a:gd name="connsiteY1" fmla="*/ 0 h 88589"/>
                <a:gd name="connsiteX2" fmla="*/ 45774 w 64813"/>
                <a:gd name="connsiteY2" fmla="*/ 4713 h 88589"/>
                <a:gd name="connsiteX3" fmla="*/ 31082 w 64813"/>
                <a:gd name="connsiteY3" fmla="*/ 27343 h 88589"/>
                <a:gd name="connsiteX4" fmla="*/ 1868 w 64813"/>
                <a:gd name="connsiteY4" fmla="*/ 72318 h 88589"/>
                <a:gd name="connsiteX5" fmla="*/ 4416 w 64813"/>
                <a:gd name="connsiteY5" fmla="*/ 86721 h 88589"/>
                <a:gd name="connsiteX6" fmla="*/ 18816 w 64813"/>
                <a:gd name="connsiteY6" fmla="*/ 84174 h 88589"/>
                <a:gd name="connsiteX7" fmla="*/ 19194 w 64813"/>
                <a:gd name="connsiteY7" fmla="*/ 83595 h 88589"/>
                <a:gd name="connsiteX8" fmla="*/ 39058 w 64813"/>
                <a:gd name="connsiteY8" fmla="*/ 53065 h 88589"/>
                <a:gd name="connsiteX9" fmla="*/ 63119 w 64813"/>
                <a:gd name="connsiteY9" fmla="*/ 16047 h 88589"/>
                <a:gd name="connsiteX10" fmla="*/ 60141 w 64813"/>
                <a:gd name="connsiteY10" fmla="*/ 1728 h 88589"/>
                <a:gd name="connsiteX11" fmla="*/ 60066 w 64813"/>
                <a:gd name="connsiteY11" fmla="*/ 1679 h 88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813" h="88589">
                  <a:moveTo>
                    <a:pt x="60066" y="1679"/>
                  </a:moveTo>
                  <a:cubicBezTo>
                    <a:pt x="58401" y="585"/>
                    <a:pt x="56450" y="1"/>
                    <a:pt x="54456" y="0"/>
                  </a:cubicBezTo>
                  <a:cubicBezTo>
                    <a:pt x="50953" y="5"/>
                    <a:pt x="47688" y="1777"/>
                    <a:pt x="45774" y="4713"/>
                  </a:cubicBezTo>
                  <a:lnTo>
                    <a:pt x="31082" y="27343"/>
                  </a:lnTo>
                  <a:lnTo>
                    <a:pt x="1868" y="72318"/>
                  </a:lnTo>
                  <a:cubicBezTo>
                    <a:pt x="-1406" y="76998"/>
                    <a:pt x="-265" y="83447"/>
                    <a:pt x="4416" y="86721"/>
                  </a:cubicBezTo>
                  <a:cubicBezTo>
                    <a:pt x="9095" y="89995"/>
                    <a:pt x="15544" y="88854"/>
                    <a:pt x="18816" y="84174"/>
                  </a:cubicBezTo>
                  <a:cubicBezTo>
                    <a:pt x="18950" y="83985"/>
                    <a:pt x="19076" y="83792"/>
                    <a:pt x="19194" y="83595"/>
                  </a:cubicBezTo>
                  <a:lnTo>
                    <a:pt x="39058" y="53065"/>
                  </a:lnTo>
                  <a:lnTo>
                    <a:pt x="63119" y="16047"/>
                  </a:lnTo>
                  <a:cubicBezTo>
                    <a:pt x="66251" y="11271"/>
                    <a:pt x="64919" y="4860"/>
                    <a:pt x="60141" y="1728"/>
                  </a:cubicBezTo>
                  <a:cubicBezTo>
                    <a:pt x="60116" y="1712"/>
                    <a:pt x="60091" y="1695"/>
                    <a:pt x="60066" y="1679"/>
                  </a:cubicBezTo>
                  <a:close/>
                </a:path>
              </a:pathLst>
            </a:custGeom>
            <a:solidFill>
              <a:srgbClr val="D7DC46"/>
            </a:solidFill>
            <a:ln w="1885" cap="flat">
              <a:noFill/>
              <a:prstDash val="solid"/>
              <a:miter/>
            </a:ln>
          </p:spPr>
          <p:txBody>
            <a:bodyPr rtlCol="0" anchor="ctr"/>
            <a:lstStyle/>
            <a:p>
              <a:endParaRPr lang="de-AT"/>
            </a:p>
          </p:txBody>
        </p:sp>
      </p:grpSp>
    </p:spTree>
    <p:extLst>
      <p:ext uri="{BB962C8B-B14F-4D97-AF65-F5344CB8AC3E}">
        <p14:creationId xmlns:p14="http://schemas.microsoft.com/office/powerpoint/2010/main" val="11297448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061AC1-DB6D-9BDC-CB40-2F2841162A11}"/>
            </a:ext>
          </a:extLst>
        </p:cNvPr>
        <p:cNvGrpSpPr/>
        <p:nvPr/>
      </p:nvGrpSpPr>
      <p:grpSpPr>
        <a:xfrm>
          <a:off x="0" y="0"/>
          <a:ext cx="0" cy="0"/>
          <a:chOff x="0" y="0"/>
          <a:chExt cx="0" cy="0"/>
        </a:xfrm>
      </p:grpSpPr>
      <p:pic>
        <p:nvPicPr>
          <p:cNvPr id="14" name="Grafik 13" descr="Ein Bild, das Grafiken, Schrift, Grafikdesign, Symbol enthält.&#10;&#10;KI-generierte Inhalte können fehlerhaft sein.">
            <a:extLst>
              <a:ext uri="{FF2B5EF4-FFF2-40B4-BE49-F238E27FC236}">
                <a16:creationId xmlns:a16="http://schemas.microsoft.com/office/drawing/2014/main" id="{23FE2A16-EE21-EC41-2DCF-23A78965BB6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8794" y="3094447"/>
            <a:ext cx="802137" cy="802137"/>
          </a:xfrm>
          <a:prstGeom prst="rect">
            <a:avLst/>
          </a:prstGeom>
        </p:spPr>
      </p:pic>
      <p:sp>
        <p:nvSpPr>
          <p:cNvPr id="2" name="Titel 1">
            <a:extLst>
              <a:ext uri="{FF2B5EF4-FFF2-40B4-BE49-F238E27FC236}">
                <a16:creationId xmlns:a16="http://schemas.microsoft.com/office/drawing/2014/main" id="{03A23B9D-D90C-954D-23AB-702569091CDF}"/>
              </a:ext>
            </a:extLst>
          </p:cNvPr>
          <p:cNvSpPr>
            <a:spLocks noGrp="1"/>
          </p:cNvSpPr>
          <p:nvPr>
            <p:ph type="title"/>
          </p:nvPr>
        </p:nvSpPr>
        <p:spPr>
          <a:xfrm>
            <a:off x="520699" y="432000"/>
            <a:ext cx="7302501" cy="591937"/>
          </a:xfrm>
        </p:spPr>
        <p:txBody>
          <a:bodyPr/>
          <a:lstStyle/>
          <a:p>
            <a:r>
              <a:rPr lang="en-US" dirty="0"/>
              <a:t>We use digital tools – “</a:t>
            </a:r>
            <a:r>
              <a:rPr lang="en-US" dirty="0" err="1"/>
              <a:t>digido</a:t>
            </a:r>
            <a:r>
              <a:rPr lang="en-US" dirty="0"/>
              <a:t>” - to optimize operations</a:t>
            </a:r>
            <a:endParaRPr lang="de-AT" dirty="0"/>
          </a:p>
        </p:txBody>
      </p:sp>
      <p:sp>
        <p:nvSpPr>
          <p:cNvPr id="16" name="Textfeld 15">
            <a:extLst>
              <a:ext uri="{FF2B5EF4-FFF2-40B4-BE49-F238E27FC236}">
                <a16:creationId xmlns:a16="http://schemas.microsoft.com/office/drawing/2014/main" id="{E2C804BC-1CFA-F17A-1A1B-8BC16B126374}"/>
              </a:ext>
            </a:extLst>
          </p:cNvPr>
          <p:cNvSpPr txBox="1"/>
          <p:nvPr/>
        </p:nvSpPr>
        <p:spPr>
          <a:xfrm>
            <a:off x="1563688" y="1541358"/>
            <a:ext cx="2830512" cy="1569660"/>
          </a:xfrm>
          <a:prstGeom prst="rect">
            <a:avLst/>
          </a:prstGeom>
          <a:noFill/>
        </p:spPr>
        <p:txBody>
          <a:bodyPr wrap="square" lIns="91440" tIns="45720" rIns="91440" bIns="45720" anchor="t">
            <a:spAutoFit/>
          </a:bodyPr>
          <a:lstStyle/>
          <a:p>
            <a:r>
              <a:rPr lang="en-US" sz="1600" b="1" dirty="0" err="1">
                <a:highlight>
                  <a:srgbClr val="D7DC46"/>
                </a:highlight>
              </a:rPr>
              <a:t>DiGiDO</a:t>
            </a:r>
            <a:r>
              <a:rPr lang="en-US" sz="1600" b="1" dirty="0">
                <a:highlight>
                  <a:srgbClr val="D7DC46"/>
                </a:highlight>
              </a:rPr>
              <a:t> Comprehensive Digital Platform</a:t>
            </a:r>
            <a:r>
              <a:rPr lang="de-AT" sz="1600" b="1" dirty="0">
                <a:highlight>
                  <a:srgbClr val="D7DC46"/>
                </a:highlight>
              </a:rPr>
              <a:t>:</a:t>
            </a:r>
            <a:r>
              <a:rPr lang="de-AT" sz="1600" b="1" dirty="0"/>
              <a:t> </a:t>
            </a:r>
            <a:r>
              <a:rPr lang="en-US" sz="1600" dirty="0" err="1"/>
              <a:t>DiGiDO</a:t>
            </a:r>
            <a:r>
              <a:rPr lang="en-US" sz="1600" dirty="0"/>
              <a:t> enables real-time data management across glass collection and recycling value chain.</a:t>
            </a:r>
          </a:p>
          <a:p>
            <a:endParaRPr lang="de-AT" sz="1600" dirty="0"/>
          </a:p>
        </p:txBody>
      </p:sp>
      <p:sp>
        <p:nvSpPr>
          <p:cNvPr id="18" name="Textfeld 17">
            <a:extLst>
              <a:ext uri="{FF2B5EF4-FFF2-40B4-BE49-F238E27FC236}">
                <a16:creationId xmlns:a16="http://schemas.microsoft.com/office/drawing/2014/main" id="{C2730556-FC3F-8990-D86E-DB3E90AE9BCA}"/>
              </a:ext>
            </a:extLst>
          </p:cNvPr>
          <p:cNvSpPr txBox="1"/>
          <p:nvPr/>
        </p:nvSpPr>
        <p:spPr>
          <a:xfrm>
            <a:off x="5759451" y="1535173"/>
            <a:ext cx="2830512" cy="1600438"/>
          </a:xfrm>
          <a:prstGeom prst="rect">
            <a:avLst/>
          </a:prstGeom>
          <a:noFill/>
        </p:spPr>
        <p:txBody>
          <a:bodyPr wrap="square">
            <a:spAutoFit/>
          </a:bodyPr>
          <a:lstStyle/>
          <a:p>
            <a:pPr>
              <a:spcBef>
                <a:spcPts val="1875"/>
              </a:spcBef>
            </a:pPr>
            <a:r>
              <a:rPr lang="en-US" sz="1600" b="1" dirty="0">
                <a:highlight>
                  <a:srgbClr val="D7DC46"/>
                </a:highlight>
              </a:rPr>
              <a:t>Stakeholder Integration:</a:t>
            </a:r>
          </a:p>
          <a:p>
            <a:pPr marL="0" lvl="1" indent="0">
              <a:buNone/>
            </a:pPr>
            <a:r>
              <a:rPr lang="en-US" sz="1600" dirty="0"/>
              <a:t>Supports coordination among waste collectors, sorting facilities, recyclers, and municipalities.</a:t>
            </a:r>
          </a:p>
          <a:p>
            <a:endParaRPr lang="de-AT" sz="1600" dirty="0"/>
          </a:p>
        </p:txBody>
      </p:sp>
      <p:sp>
        <p:nvSpPr>
          <p:cNvPr id="22" name="Textfeld 21">
            <a:extLst>
              <a:ext uri="{FF2B5EF4-FFF2-40B4-BE49-F238E27FC236}">
                <a16:creationId xmlns:a16="http://schemas.microsoft.com/office/drawing/2014/main" id="{5445EB08-F413-970D-34C8-1BD4A3AE376A}"/>
              </a:ext>
            </a:extLst>
          </p:cNvPr>
          <p:cNvSpPr txBox="1"/>
          <p:nvPr/>
        </p:nvSpPr>
        <p:spPr>
          <a:xfrm>
            <a:off x="5759451" y="3094447"/>
            <a:ext cx="2411267" cy="1569660"/>
          </a:xfrm>
          <a:prstGeom prst="rect">
            <a:avLst/>
          </a:prstGeom>
          <a:noFill/>
        </p:spPr>
        <p:txBody>
          <a:bodyPr wrap="square">
            <a:spAutoFit/>
          </a:bodyPr>
          <a:lstStyle/>
          <a:p>
            <a:r>
              <a:rPr lang="en-US" sz="1600" b="1" dirty="0">
                <a:highlight>
                  <a:srgbClr val="D7DC46"/>
                </a:highlight>
              </a:rPr>
              <a:t>Performance and Compliance</a:t>
            </a:r>
            <a:r>
              <a:rPr lang="de-AT" sz="1600" b="1" dirty="0">
                <a:highlight>
                  <a:srgbClr val="D7DC46"/>
                </a:highlight>
              </a:rPr>
              <a:t>: </a:t>
            </a:r>
            <a:r>
              <a:rPr lang="en-US" sz="1600" dirty="0"/>
              <a:t>Supports digital documentation, performance tracking and compliance reporting effectively.</a:t>
            </a:r>
          </a:p>
        </p:txBody>
      </p:sp>
      <p:sp>
        <p:nvSpPr>
          <p:cNvPr id="24" name="Textfeld 23">
            <a:extLst>
              <a:ext uri="{FF2B5EF4-FFF2-40B4-BE49-F238E27FC236}">
                <a16:creationId xmlns:a16="http://schemas.microsoft.com/office/drawing/2014/main" id="{F3EECDC8-3043-FE70-ED0A-4BBE776A2F7C}"/>
              </a:ext>
            </a:extLst>
          </p:cNvPr>
          <p:cNvSpPr txBox="1"/>
          <p:nvPr/>
        </p:nvSpPr>
        <p:spPr>
          <a:xfrm>
            <a:off x="1563687" y="3094447"/>
            <a:ext cx="2830513" cy="1323439"/>
          </a:xfrm>
          <a:prstGeom prst="rect">
            <a:avLst/>
          </a:prstGeom>
          <a:noFill/>
        </p:spPr>
        <p:txBody>
          <a:bodyPr wrap="square">
            <a:spAutoFit/>
          </a:bodyPr>
          <a:lstStyle/>
          <a:p>
            <a:r>
              <a:rPr lang="en-US" sz="1600" b="1" dirty="0">
                <a:highlight>
                  <a:srgbClr val="D7DC46"/>
                </a:highlight>
              </a:rPr>
              <a:t>Transparency and Traceability</a:t>
            </a:r>
            <a:r>
              <a:rPr lang="de-AT" sz="1600" b="1" dirty="0">
                <a:highlight>
                  <a:srgbClr val="D7DC46"/>
                </a:highlight>
              </a:rPr>
              <a:t>: </a:t>
            </a:r>
            <a:r>
              <a:rPr lang="en-US" sz="1600" dirty="0"/>
              <a:t>Ensures seamless data exchange for transparency and traceability in recycling operations.</a:t>
            </a:r>
          </a:p>
        </p:txBody>
      </p:sp>
      <p:grpSp>
        <p:nvGrpSpPr>
          <p:cNvPr id="4" name="Grafik 22">
            <a:extLst>
              <a:ext uri="{FF2B5EF4-FFF2-40B4-BE49-F238E27FC236}">
                <a16:creationId xmlns:a16="http://schemas.microsoft.com/office/drawing/2014/main" id="{99086246-83B4-3EEE-201E-B69494106661}"/>
              </a:ext>
            </a:extLst>
          </p:cNvPr>
          <p:cNvGrpSpPr/>
          <p:nvPr/>
        </p:nvGrpSpPr>
        <p:grpSpPr>
          <a:xfrm>
            <a:off x="4812254" y="3094447"/>
            <a:ext cx="801851" cy="802137"/>
            <a:chOff x="3575429" y="2497256"/>
            <a:chExt cx="540000" cy="540000"/>
          </a:xfrm>
          <a:solidFill>
            <a:srgbClr val="009252"/>
          </a:solidFill>
        </p:grpSpPr>
        <p:grpSp>
          <p:nvGrpSpPr>
            <p:cNvPr id="5" name="Grafik 22">
              <a:extLst>
                <a:ext uri="{FF2B5EF4-FFF2-40B4-BE49-F238E27FC236}">
                  <a16:creationId xmlns:a16="http://schemas.microsoft.com/office/drawing/2014/main" id="{FE1A52E2-959B-90E2-26AA-A8CF26209E6A}"/>
                </a:ext>
              </a:extLst>
            </p:cNvPr>
            <p:cNvGrpSpPr/>
            <p:nvPr/>
          </p:nvGrpSpPr>
          <p:grpSpPr>
            <a:xfrm>
              <a:off x="3575219" y="2497065"/>
              <a:ext cx="539146" cy="539619"/>
              <a:chOff x="3575219" y="2497065"/>
              <a:chExt cx="539146" cy="539619"/>
            </a:xfrm>
            <a:grpFill/>
          </p:grpSpPr>
          <p:grpSp>
            <p:nvGrpSpPr>
              <p:cNvPr id="6" name="Grafik 22">
                <a:extLst>
                  <a:ext uri="{FF2B5EF4-FFF2-40B4-BE49-F238E27FC236}">
                    <a16:creationId xmlns:a16="http://schemas.microsoft.com/office/drawing/2014/main" id="{324E2294-92EA-D31B-6DBA-93BDD3A0C5E2}"/>
                  </a:ext>
                </a:extLst>
              </p:cNvPr>
              <p:cNvGrpSpPr/>
              <p:nvPr/>
            </p:nvGrpSpPr>
            <p:grpSpPr>
              <a:xfrm>
                <a:off x="3575219" y="2497065"/>
                <a:ext cx="539146" cy="539619"/>
                <a:chOff x="3575219" y="2497065"/>
                <a:chExt cx="539146" cy="539619"/>
              </a:xfrm>
              <a:grpFill/>
            </p:grpSpPr>
            <p:sp>
              <p:nvSpPr>
                <p:cNvPr id="7" name="Freihandform: Form 6">
                  <a:extLst>
                    <a:ext uri="{FF2B5EF4-FFF2-40B4-BE49-F238E27FC236}">
                      <a16:creationId xmlns:a16="http://schemas.microsoft.com/office/drawing/2014/main" id="{20538C71-DE5F-BB56-CE15-1352E316B2A4}"/>
                    </a:ext>
                  </a:extLst>
                </p:cNvPr>
                <p:cNvSpPr/>
                <p:nvPr/>
              </p:nvSpPr>
              <p:spPr>
                <a:xfrm>
                  <a:off x="3575219" y="2497065"/>
                  <a:ext cx="539146" cy="539619"/>
                </a:xfrm>
                <a:custGeom>
                  <a:avLst/>
                  <a:gdLst>
                    <a:gd name="connsiteX0" fmla="*/ 511118 w 539146"/>
                    <a:gd name="connsiteY0" fmla="*/ 247563 h 539619"/>
                    <a:gd name="connsiteX1" fmla="*/ 489822 w 539146"/>
                    <a:gd name="connsiteY1" fmla="*/ 240718 h 539619"/>
                    <a:gd name="connsiteX2" fmla="*/ 481266 w 539146"/>
                    <a:gd name="connsiteY2" fmla="*/ 202310 h 539619"/>
                    <a:gd name="connsiteX3" fmla="*/ 497618 w 539146"/>
                    <a:gd name="connsiteY3" fmla="*/ 186908 h 539619"/>
                    <a:gd name="connsiteX4" fmla="*/ 507125 w 539146"/>
                    <a:gd name="connsiteY4" fmla="*/ 141275 h 539619"/>
                    <a:gd name="connsiteX5" fmla="*/ 507125 w 539146"/>
                    <a:gd name="connsiteY5" fmla="*/ 141085 h 539619"/>
                    <a:gd name="connsiteX6" fmla="*/ 507125 w 539146"/>
                    <a:gd name="connsiteY6" fmla="*/ 141085 h 539619"/>
                    <a:gd name="connsiteX7" fmla="*/ 506554 w 539146"/>
                    <a:gd name="connsiteY7" fmla="*/ 139754 h 539619"/>
                    <a:gd name="connsiteX8" fmla="*/ 498188 w 539146"/>
                    <a:gd name="connsiteY8" fmla="*/ 134430 h 539619"/>
                    <a:gd name="connsiteX9" fmla="*/ 494385 w 539146"/>
                    <a:gd name="connsiteY9" fmla="*/ 135380 h 539619"/>
                    <a:gd name="connsiteX10" fmla="*/ 489822 w 539146"/>
                    <a:gd name="connsiteY10" fmla="*/ 147739 h 539619"/>
                    <a:gd name="connsiteX11" fmla="*/ 490202 w 539146"/>
                    <a:gd name="connsiteY11" fmla="*/ 148500 h 539619"/>
                    <a:gd name="connsiteX12" fmla="*/ 485068 w 539146"/>
                    <a:gd name="connsiteY12" fmla="*/ 173599 h 539619"/>
                    <a:gd name="connsiteX13" fmla="*/ 464533 w 539146"/>
                    <a:gd name="connsiteY13" fmla="*/ 192803 h 539619"/>
                    <a:gd name="connsiteX14" fmla="*/ 462061 w 539146"/>
                    <a:gd name="connsiteY14" fmla="*/ 202690 h 539619"/>
                    <a:gd name="connsiteX15" fmla="*/ 472329 w 539146"/>
                    <a:gd name="connsiteY15" fmla="*/ 248704 h 539619"/>
                    <a:gd name="connsiteX16" fmla="*/ 478794 w 539146"/>
                    <a:gd name="connsiteY16" fmla="*/ 256500 h 539619"/>
                    <a:gd name="connsiteX17" fmla="*/ 505413 w 539146"/>
                    <a:gd name="connsiteY17" fmla="*/ 265056 h 539619"/>
                    <a:gd name="connsiteX18" fmla="*/ 520435 w 539146"/>
                    <a:gd name="connsiteY18" fmla="*/ 290345 h 539619"/>
                    <a:gd name="connsiteX19" fmla="*/ 512639 w 539146"/>
                    <a:gd name="connsiteY19" fmla="*/ 335218 h 539619"/>
                    <a:gd name="connsiteX20" fmla="*/ 490392 w 539146"/>
                    <a:gd name="connsiteY20" fmla="*/ 353852 h 539619"/>
                    <a:gd name="connsiteX21" fmla="*/ 489822 w 539146"/>
                    <a:gd name="connsiteY21" fmla="*/ 353852 h 539619"/>
                    <a:gd name="connsiteX22" fmla="*/ 461871 w 539146"/>
                    <a:gd name="connsiteY22" fmla="*/ 352901 h 539619"/>
                    <a:gd name="connsiteX23" fmla="*/ 461491 w 539146"/>
                    <a:gd name="connsiteY23" fmla="*/ 352901 h 539619"/>
                    <a:gd name="connsiteX24" fmla="*/ 453125 w 539146"/>
                    <a:gd name="connsiteY24" fmla="*/ 358035 h 539619"/>
                    <a:gd name="connsiteX25" fmla="*/ 427836 w 539146"/>
                    <a:gd name="connsiteY25" fmla="*/ 397775 h 539619"/>
                    <a:gd name="connsiteX26" fmla="*/ 426885 w 539146"/>
                    <a:gd name="connsiteY26" fmla="*/ 407852 h 539619"/>
                    <a:gd name="connsiteX27" fmla="*/ 439625 w 539146"/>
                    <a:gd name="connsiteY27" fmla="*/ 432761 h 539619"/>
                    <a:gd name="connsiteX28" fmla="*/ 432399 w 539146"/>
                    <a:gd name="connsiteY28" fmla="*/ 461282 h 539619"/>
                    <a:gd name="connsiteX29" fmla="*/ 395132 w 539146"/>
                    <a:gd name="connsiteY29" fmla="*/ 487521 h 539619"/>
                    <a:gd name="connsiteX30" fmla="*/ 382202 w 539146"/>
                    <a:gd name="connsiteY30" fmla="*/ 491514 h 539619"/>
                    <a:gd name="connsiteX31" fmla="*/ 365850 w 539146"/>
                    <a:gd name="connsiteY31" fmla="*/ 484669 h 539619"/>
                    <a:gd name="connsiteX32" fmla="*/ 346646 w 539146"/>
                    <a:gd name="connsiteY32" fmla="*/ 464134 h 539619"/>
                    <a:gd name="connsiteX33" fmla="*/ 339801 w 539146"/>
                    <a:gd name="connsiteY33" fmla="*/ 461092 h 539619"/>
                    <a:gd name="connsiteX34" fmla="*/ 336758 w 539146"/>
                    <a:gd name="connsiteY34" fmla="*/ 461662 h 539619"/>
                    <a:gd name="connsiteX35" fmla="*/ 290744 w 539146"/>
                    <a:gd name="connsiteY35" fmla="*/ 471930 h 539619"/>
                    <a:gd name="connsiteX36" fmla="*/ 282949 w 539146"/>
                    <a:gd name="connsiteY36" fmla="*/ 478394 h 539619"/>
                    <a:gd name="connsiteX37" fmla="*/ 274392 w 539146"/>
                    <a:gd name="connsiteY37" fmla="*/ 505014 h 539619"/>
                    <a:gd name="connsiteX38" fmla="*/ 257850 w 539146"/>
                    <a:gd name="connsiteY38" fmla="*/ 519845 h 539619"/>
                    <a:gd name="connsiteX39" fmla="*/ 252906 w 539146"/>
                    <a:gd name="connsiteY39" fmla="*/ 520416 h 539619"/>
                    <a:gd name="connsiteX40" fmla="*/ 249104 w 539146"/>
                    <a:gd name="connsiteY40" fmla="*/ 520035 h 539619"/>
                    <a:gd name="connsiteX41" fmla="*/ 204230 w 539146"/>
                    <a:gd name="connsiteY41" fmla="*/ 512239 h 539619"/>
                    <a:gd name="connsiteX42" fmla="*/ 185597 w 539146"/>
                    <a:gd name="connsiteY42" fmla="*/ 489613 h 539619"/>
                    <a:gd name="connsiteX43" fmla="*/ 186547 w 539146"/>
                    <a:gd name="connsiteY43" fmla="*/ 461662 h 539619"/>
                    <a:gd name="connsiteX44" fmla="*/ 181413 w 539146"/>
                    <a:gd name="connsiteY44" fmla="*/ 452916 h 539619"/>
                    <a:gd name="connsiteX45" fmla="*/ 141674 w 539146"/>
                    <a:gd name="connsiteY45" fmla="*/ 427627 h 539619"/>
                    <a:gd name="connsiteX46" fmla="*/ 135780 w 539146"/>
                    <a:gd name="connsiteY46" fmla="*/ 425535 h 539619"/>
                    <a:gd name="connsiteX47" fmla="*/ 131406 w 539146"/>
                    <a:gd name="connsiteY47" fmla="*/ 426676 h 539619"/>
                    <a:gd name="connsiteX48" fmla="*/ 106498 w 539146"/>
                    <a:gd name="connsiteY48" fmla="*/ 439416 h 539619"/>
                    <a:gd name="connsiteX49" fmla="*/ 96611 w 539146"/>
                    <a:gd name="connsiteY49" fmla="*/ 441697 h 539619"/>
                    <a:gd name="connsiteX50" fmla="*/ 77977 w 539146"/>
                    <a:gd name="connsiteY50" fmla="*/ 432190 h 539619"/>
                    <a:gd name="connsiteX51" fmla="*/ 51547 w 539146"/>
                    <a:gd name="connsiteY51" fmla="*/ 394923 h 539619"/>
                    <a:gd name="connsiteX52" fmla="*/ 54399 w 539146"/>
                    <a:gd name="connsiteY52" fmla="*/ 365641 h 539619"/>
                    <a:gd name="connsiteX53" fmla="*/ 74935 w 539146"/>
                    <a:gd name="connsiteY53" fmla="*/ 346437 h 539619"/>
                    <a:gd name="connsiteX54" fmla="*/ 77406 w 539146"/>
                    <a:gd name="connsiteY54" fmla="*/ 336549 h 539619"/>
                    <a:gd name="connsiteX55" fmla="*/ 67139 w 539146"/>
                    <a:gd name="connsiteY55" fmla="*/ 290535 h 539619"/>
                    <a:gd name="connsiteX56" fmla="*/ 60674 w 539146"/>
                    <a:gd name="connsiteY56" fmla="*/ 282739 h 539619"/>
                    <a:gd name="connsiteX57" fmla="*/ 34054 w 539146"/>
                    <a:gd name="connsiteY57" fmla="*/ 274183 h 539619"/>
                    <a:gd name="connsiteX58" fmla="*/ 19033 w 539146"/>
                    <a:gd name="connsiteY58" fmla="*/ 248894 h 539619"/>
                    <a:gd name="connsiteX59" fmla="*/ 26829 w 539146"/>
                    <a:gd name="connsiteY59" fmla="*/ 204021 h 539619"/>
                    <a:gd name="connsiteX60" fmla="*/ 48885 w 539146"/>
                    <a:gd name="connsiteY60" fmla="*/ 185387 h 539619"/>
                    <a:gd name="connsiteX61" fmla="*/ 49456 w 539146"/>
                    <a:gd name="connsiteY61" fmla="*/ 185387 h 539619"/>
                    <a:gd name="connsiteX62" fmla="*/ 77406 w 539146"/>
                    <a:gd name="connsiteY62" fmla="*/ 186338 h 539619"/>
                    <a:gd name="connsiteX63" fmla="*/ 77787 w 539146"/>
                    <a:gd name="connsiteY63" fmla="*/ 186338 h 539619"/>
                    <a:gd name="connsiteX64" fmla="*/ 86153 w 539146"/>
                    <a:gd name="connsiteY64" fmla="*/ 181204 h 539619"/>
                    <a:gd name="connsiteX65" fmla="*/ 111442 w 539146"/>
                    <a:gd name="connsiteY65" fmla="*/ 141465 h 539619"/>
                    <a:gd name="connsiteX66" fmla="*/ 112392 w 539146"/>
                    <a:gd name="connsiteY66" fmla="*/ 131387 h 539619"/>
                    <a:gd name="connsiteX67" fmla="*/ 99653 w 539146"/>
                    <a:gd name="connsiteY67" fmla="*/ 106479 h 539619"/>
                    <a:gd name="connsiteX68" fmla="*/ 106878 w 539146"/>
                    <a:gd name="connsiteY68" fmla="*/ 77958 h 539619"/>
                    <a:gd name="connsiteX69" fmla="*/ 144336 w 539146"/>
                    <a:gd name="connsiteY69" fmla="*/ 51528 h 539619"/>
                    <a:gd name="connsiteX70" fmla="*/ 157266 w 539146"/>
                    <a:gd name="connsiteY70" fmla="*/ 47535 h 539619"/>
                    <a:gd name="connsiteX71" fmla="*/ 173618 w 539146"/>
                    <a:gd name="connsiteY71" fmla="*/ 54380 h 539619"/>
                    <a:gd name="connsiteX72" fmla="*/ 192822 w 539146"/>
                    <a:gd name="connsiteY72" fmla="*/ 74915 h 539619"/>
                    <a:gd name="connsiteX73" fmla="*/ 199667 w 539146"/>
                    <a:gd name="connsiteY73" fmla="*/ 77958 h 539619"/>
                    <a:gd name="connsiteX74" fmla="*/ 202709 w 539146"/>
                    <a:gd name="connsiteY74" fmla="*/ 77387 h 539619"/>
                    <a:gd name="connsiteX75" fmla="*/ 248723 w 539146"/>
                    <a:gd name="connsiteY75" fmla="*/ 67120 h 539619"/>
                    <a:gd name="connsiteX76" fmla="*/ 256519 w 539146"/>
                    <a:gd name="connsiteY76" fmla="*/ 60655 h 539619"/>
                    <a:gd name="connsiteX77" fmla="*/ 265075 w 539146"/>
                    <a:gd name="connsiteY77" fmla="*/ 34035 h 539619"/>
                    <a:gd name="connsiteX78" fmla="*/ 286561 w 539146"/>
                    <a:gd name="connsiteY78" fmla="*/ 18634 h 539619"/>
                    <a:gd name="connsiteX79" fmla="*/ 290364 w 539146"/>
                    <a:gd name="connsiteY79" fmla="*/ 19014 h 539619"/>
                    <a:gd name="connsiteX80" fmla="*/ 335237 w 539146"/>
                    <a:gd name="connsiteY80" fmla="*/ 26810 h 539619"/>
                    <a:gd name="connsiteX81" fmla="*/ 353871 w 539146"/>
                    <a:gd name="connsiteY81" fmla="*/ 49437 h 539619"/>
                    <a:gd name="connsiteX82" fmla="*/ 352920 w 539146"/>
                    <a:gd name="connsiteY82" fmla="*/ 77577 h 539619"/>
                    <a:gd name="connsiteX83" fmla="*/ 358054 w 539146"/>
                    <a:gd name="connsiteY83" fmla="*/ 86324 h 539619"/>
                    <a:gd name="connsiteX84" fmla="*/ 397794 w 539146"/>
                    <a:gd name="connsiteY84" fmla="*/ 111613 h 539619"/>
                    <a:gd name="connsiteX85" fmla="*/ 403688 w 539146"/>
                    <a:gd name="connsiteY85" fmla="*/ 113704 h 539619"/>
                    <a:gd name="connsiteX86" fmla="*/ 407871 w 539146"/>
                    <a:gd name="connsiteY86" fmla="*/ 112563 h 539619"/>
                    <a:gd name="connsiteX87" fmla="*/ 432780 w 539146"/>
                    <a:gd name="connsiteY87" fmla="*/ 99824 h 539619"/>
                    <a:gd name="connsiteX88" fmla="*/ 442667 w 539146"/>
                    <a:gd name="connsiteY88" fmla="*/ 97542 h 539619"/>
                    <a:gd name="connsiteX89" fmla="*/ 457688 w 539146"/>
                    <a:gd name="connsiteY89" fmla="*/ 103056 h 539619"/>
                    <a:gd name="connsiteX90" fmla="*/ 463773 w 539146"/>
                    <a:gd name="connsiteY90" fmla="*/ 105338 h 539619"/>
                    <a:gd name="connsiteX91" fmla="*/ 470808 w 539146"/>
                    <a:gd name="connsiteY91" fmla="*/ 102106 h 539619"/>
                    <a:gd name="connsiteX92" fmla="*/ 469857 w 539146"/>
                    <a:gd name="connsiteY92" fmla="*/ 88986 h 539619"/>
                    <a:gd name="connsiteX93" fmla="*/ 442857 w 539146"/>
                    <a:gd name="connsiteY93" fmla="*/ 79099 h 539619"/>
                    <a:gd name="connsiteX94" fmla="*/ 424794 w 539146"/>
                    <a:gd name="connsiteY94" fmla="*/ 83282 h 539619"/>
                    <a:gd name="connsiteX95" fmla="*/ 404829 w 539146"/>
                    <a:gd name="connsiteY95" fmla="*/ 93359 h 539619"/>
                    <a:gd name="connsiteX96" fmla="*/ 371554 w 539146"/>
                    <a:gd name="connsiteY96" fmla="*/ 72254 h 539619"/>
                    <a:gd name="connsiteX97" fmla="*/ 372315 w 539146"/>
                    <a:gd name="connsiteY97" fmla="*/ 49817 h 539619"/>
                    <a:gd name="connsiteX98" fmla="*/ 338280 w 539146"/>
                    <a:gd name="connsiteY98" fmla="*/ 8366 h 539619"/>
                    <a:gd name="connsiteX99" fmla="*/ 293406 w 539146"/>
                    <a:gd name="connsiteY99" fmla="*/ 570 h 539619"/>
                    <a:gd name="connsiteX100" fmla="*/ 286371 w 539146"/>
                    <a:gd name="connsiteY100" fmla="*/ 0 h 539619"/>
                    <a:gd name="connsiteX101" fmla="*/ 247392 w 539146"/>
                    <a:gd name="connsiteY101" fmla="*/ 27951 h 539619"/>
                    <a:gd name="connsiteX102" fmla="*/ 240547 w 539146"/>
                    <a:gd name="connsiteY102" fmla="*/ 49246 h 539619"/>
                    <a:gd name="connsiteX103" fmla="*/ 202139 w 539146"/>
                    <a:gd name="connsiteY103" fmla="*/ 57803 h 539619"/>
                    <a:gd name="connsiteX104" fmla="*/ 186737 w 539146"/>
                    <a:gd name="connsiteY104" fmla="*/ 41451 h 539619"/>
                    <a:gd name="connsiteX105" fmla="*/ 157075 w 539146"/>
                    <a:gd name="connsiteY105" fmla="*/ 28901 h 539619"/>
                    <a:gd name="connsiteX106" fmla="*/ 133498 w 539146"/>
                    <a:gd name="connsiteY106" fmla="*/ 36317 h 539619"/>
                    <a:gd name="connsiteX107" fmla="*/ 96420 w 539146"/>
                    <a:gd name="connsiteY107" fmla="*/ 62556 h 539619"/>
                    <a:gd name="connsiteX108" fmla="*/ 83301 w 539146"/>
                    <a:gd name="connsiteY108" fmla="*/ 114465 h 539619"/>
                    <a:gd name="connsiteX109" fmla="*/ 93378 w 539146"/>
                    <a:gd name="connsiteY109" fmla="*/ 134430 h 539619"/>
                    <a:gd name="connsiteX110" fmla="*/ 72273 w 539146"/>
                    <a:gd name="connsiteY110" fmla="*/ 167704 h 539619"/>
                    <a:gd name="connsiteX111" fmla="*/ 49836 w 539146"/>
                    <a:gd name="connsiteY111" fmla="*/ 166944 h 539619"/>
                    <a:gd name="connsiteX112" fmla="*/ 48695 w 539146"/>
                    <a:gd name="connsiteY112" fmla="*/ 166944 h 539619"/>
                    <a:gd name="connsiteX113" fmla="*/ 8385 w 539146"/>
                    <a:gd name="connsiteY113" fmla="*/ 200979 h 539619"/>
                    <a:gd name="connsiteX114" fmla="*/ 589 w 539146"/>
                    <a:gd name="connsiteY114" fmla="*/ 245852 h 539619"/>
                    <a:gd name="connsiteX115" fmla="*/ 27970 w 539146"/>
                    <a:gd name="connsiteY115" fmla="*/ 291866 h 539619"/>
                    <a:gd name="connsiteX116" fmla="*/ 49266 w 539146"/>
                    <a:gd name="connsiteY116" fmla="*/ 298711 h 539619"/>
                    <a:gd name="connsiteX117" fmla="*/ 57822 w 539146"/>
                    <a:gd name="connsiteY117" fmla="*/ 337120 h 539619"/>
                    <a:gd name="connsiteX118" fmla="*/ 41470 w 539146"/>
                    <a:gd name="connsiteY118" fmla="*/ 352521 h 539619"/>
                    <a:gd name="connsiteX119" fmla="*/ 36146 w 539146"/>
                    <a:gd name="connsiteY119" fmla="*/ 405761 h 539619"/>
                    <a:gd name="connsiteX120" fmla="*/ 62385 w 539146"/>
                    <a:gd name="connsiteY120" fmla="*/ 443028 h 539619"/>
                    <a:gd name="connsiteX121" fmla="*/ 96040 w 539146"/>
                    <a:gd name="connsiteY121" fmla="*/ 460521 h 539619"/>
                    <a:gd name="connsiteX122" fmla="*/ 114104 w 539146"/>
                    <a:gd name="connsiteY122" fmla="*/ 456338 h 539619"/>
                    <a:gd name="connsiteX123" fmla="*/ 134068 w 539146"/>
                    <a:gd name="connsiteY123" fmla="*/ 446261 h 539619"/>
                    <a:gd name="connsiteX124" fmla="*/ 167343 w 539146"/>
                    <a:gd name="connsiteY124" fmla="*/ 467366 h 539619"/>
                    <a:gd name="connsiteX125" fmla="*/ 166582 w 539146"/>
                    <a:gd name="connsiteY125" fmla="*/ 489803 h 539619"/>
                    <a:gd name="connsiteX126" fmla="*/ 200618 w 539146"/>
                    <a:gd name="connsiteY126" fmla="*/ 531254 h 539619"/>
                    <a:gd name="connsiteX127" fmla="*/ 245491 w 539146"/>
                    <a:gd name="connsiteY127" fmla="*/ 539049 h 539619"/>
                    <a:gd name="connsiteX128" fmla="*/ 252526 w 539146"/>
                    <a:gd name="connsiteY128" fmla="*/ 539620 h 539619"/>
                    <a:gd name="connsiteX129" fmla="*/ 261463 w 539146"/>
                    <a:gd name="connsiteY129" fmla="*/ 538669 h 539619"/>
                    <a:gd name="connsiteX130" fmla="*/ 291505 w 539146"/>
                    <a:gd name="connsiteY130" fmla="*/ 511669 h 539619"/>
                    <a:gd name="connsiteX131" fmla="*/ 298350 w 539146"/>
                    <a:gd name="connsiteY131" fmla="*/ 490373 h 539619"/>
                    <a:gd name="connsiteX132" fmla="*/ 336758 w 539146"/>
                    <a:gd name="connsiteY132" fmla="*/ 481817 h 539619"/>
                    <a:gd name="connsiteX133" fmla="*/ 352160 w 539146"/>
                    <a:gd name="connsiteY133" fmla="*/ 498169 h 539619"/>
                    <a:gd name="connsiteX134" fmla="*/ 381822 w 539146"/>
                    <a:gd name="connsiteY134" fmla="*/ 510718 h 539619"/>
                    <a:gd name="connsiteX135" fmla="*/ 405399 w 539146"/>
                    <a:gd name="connsiteY135" fmla="*/ 503303 h 539619"/>
                    <a:gd name="connsiteX136" fmla="*/ 442667 w 539146"/>
                    <a:gd name="connsiteY136" fmla="*/ 477063 h 539619"/>
                    <a:gd name="connsiteX137" fmla="*/ 455787 w 539146"/>
                    <a:gd name="connsiteY137" fmla="*/ 425155 h 539619"/>
                    <a:gd name="connsiteX138" fmla="*/ 445709 w 539146"/>
                    <a:gd name="connsiteY138" fmla="*/ 405190 h 539619"/>
                    <a:gd name="connsiteX139" fmla="*/ 466815 w 539146"/>
                    <a:gd name="connsiteY139" fmla="*/ 371916 h 539619"/>
                    <a:gd name="connsiteX140" fmla="*/ 489251 w 539146"/>
                    <a:gd name="connsiteY140" fmla="*/ 372676 h 539619"/>
                    <a:gd name="connsiteX141" fmla="*/ 490392 w 539146"/>
                    <a:gd name="connsiteY141" fmla="*/ 372676 h 539619"/>
                    <a:gd name="connsiteX142" fmla="*/ 530702 w 539146"/>
                    <a:gd name="connsiteY142" fmla="*/ 338641 h 539619"/>
                    <a:gd name="connsiteX143" fmla="*/ 538498 w 539146"/>
                    <a:gd name="connsiteY143" fmla="*/ 293768 h 539619"/>
                    <a:gd name="connsiteX144" fmla="*/ 511118 w 539146"/>
                    <a:gd name="connsiteY144" fmla="*/ 247563 h 539619"/>
                    <a:gd name="connsiteX145" fmla="*/ 511118 w 539146"/>
                    <a:gd name="connsiteY145" fmla="*/ 247563 h 53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539146" h="539619">
                      <a:moveTo>
                        <a:pt x="511118" y="247563"/>
                      </a:moveTo>
                      <a:cubicBezTo>
                        <a:pt x="504082" y="245282"/>
                        <a:pt x="497047" y="243000"/>
                        <a:pt x="489822" y="240718"/>
                      </a:cubicBezTo>
                      <a:cubicBezTo>
                        <a:pt x="488111" y="227789"/>
                        <a:pt x="485259" y="214859"/>
                        <a:pt x="481266" y="202310"/>
                      </a:cubicBezTo>
                      <a:cubicBezTo>
                        <a:pt x="486780" y="197176"/>
                        <a:pt x="492294" y="192042"/>
                        <a:pt x="497618" y="186908"/>
                      </a:cubicBezTo>
                      <a:cubicBezTo>
                        <a:pt x="509787" y="175310"/>
                        <a:pt x="513589" y="156866"/>
                        <a:pt x="507125" y="141275"/>
                      </a:cubicBezTo>
                      <a:lnTo>
                        <a:pt x="507125" y="141085"/>
                      </a:lnTo>
                      <a:lnTo>
                        <a:pt x="507125" y="141085"/>
                      </a:lnTo>
                      <a:cubicBezTo>
                        <a:pt x="506935" y="140704"/>
                        <a:pt x="506744" y="140324"/>
                        <a:pt x="506554" y="139754"/>
                      </a:cubicBezTo>
                      <a:cubicBezTo>
                        <a:pt x="505033" y="136521"/>
                        <a:pt x="501801" y="134430"/>
                        <a:pt x="498188" y="134430"/>
                      </a:cubicBezTo>
                      <a:cubicBezTo>
                        <a:pt x="496857" y="134430"/>
                        <a:pt x="495526" y="134810"/>
                        <a:pt x="494385" y="135380"/>
                      </a:cubicBezTo>
                      <a:cubicBezTo>
                        <a:pt x="489822" y="137472"/>
                        <a:pt x="487730" y="142986"/>
                        <a:pt x="489822" y="147739"/>
                      </a:cubicBezTo>
                      <a:cubicBezTo>
                        <a:pt x="490012" y="147930"/>
                        <a:pt x="490012" y="148310"/>
                        <a:pt x="490202" y="148500"/>
                      </a:cubicBezTo>
                      <a:cubicBezTo>
                        <a:pt x="493815" y="157056"/>
                        <a:pt x="491723" y="167134"/>
                        <a:pt x="485068" y="173599"/>
                      </a:cubicBezTo>
                      <a:cubicBezTo>
                        <a:pt x="478604" y="179873"/>
                        <a:pt x="471568" y="186338"/>
                        <a:pt x="464533" y="192803"/>
                      </a:cubicBezTo>
                      <a:cubicBezTo>
                        <a:pt x="461871" y="195275"/>
                        <a:pt x="460920" y="199077"/>
                        <a:pt x="462061" y="202690"/>
                      </a:cubicBezTo>
                      <a:cubicBezTo>
                        <a:pt x="467195" y="217521"/>
                        <a:pt x="470618" y="233113"/>
                        <a:pt x="472329" y="248704"/>
                      </a:cubicBezTo>
                      <a:cubicBezTo>
                        <a:pt x="472709" y="252317"/>
                        <a:pt x="475181" y="255549"/>
                        <a:pt x="478794" y="256500"/>
                      </a:cubicBezTo>
                      <a:cubicBezTo>
                        <a:pt x="487730" y="259352"/>
                        <a:pt x="496667" y="262204"/>
                        <a:pt x="505413" y="265056"/>
                      </a:cubicBezTo>
                      <a:cubicBezTo>
                        <a:pt x="515871" y="268479"/>
                        <a:pt x="522336" y="279317"/>
                        <a:pt x="520435" y="290345"/>
                      </a:cubicBezTo>
                      <a:lnTo>
                        <a:pt x="512639" y="335218"/>
                      </a:lnTo>
                      <a:cubicBezTo>
                        <a:pt x="510737" y="345866"/>
                        <a:pt x="501230" y="353852"/>
                        <a:pt x="490392" y="353852"/>
                      </a:cubicBezTo>
                      <a:lnTo>
                        <a:pt x="489822" y="353852"/>
                      </a:lnTo>
                      <a:cubicBezTo>
                        <a:pt x="480695" y="353662"/>
                        <a:pt x="471188" y="353282"/>
                        <a:pt x="461871" y="352901"/>
                      </a:cubicBezTo>
                      <a:cubicBezTo>
                        <a:pt x="461681" y="352901"/>
                        <a:pt x="461681" y="352901"/>
                        <a:pt x="461491" y="352901"/>
                      </a:cubicBezTo>
                      <a:cubicBezTo>
                        <a:pt x="458068" y="352901"/>
                        <a:pt x="454646" y="354993"/>
                        <a:pt x="453125" y="358035"/>
                      </a:cubicBezTo>
                      <a:cubicBezTo>
                        <a:pt x="446280" y="372296"/>
                        <a:pt x="437723" y="385606"/>
                        <a:pt x="427836" y="397775"/>
                      </a:cubicBezTo>
                      <a:cubicBezTo>
                        <a:pt x="425554" y="400627"/>
                        <a:pt x="425174" y="404620"/>
                        <a:pt x="426885" y="407852"/>
                      </a:cubicBezTo>
                      <a:cubicBezTo>
                        <a:pt x="431258" y="416218"/>
                        <a:pt x="435632" y="424585"/>
                        <a:pt x="439625" y="432761"/>
                      </a:cubicBezTo>
                      <a:cubicBezTo>
                        <a:pt x="444568" y="442648"/>
                        <a:pt x="441526" y="454817"/>
                        <a:pt x="432399" y="461282"/>
                      </a:cubicBezTo>
                      <a:lnTo>
                        <a:pt x="395132" y="487521"/>
                      </a:lnTo>
                      <a:cubicBezTo>
                        <a:pt x="391329" y="490183"/>
                        <a:pt x="386956" y="491514"/>
                        <a:pt x="382202" y="491514"/>
                      </a:cubicBezTo>
                      <a:cubicBezTo>
                        <a:pt x="375928" y="491514"/>
                        <a:pt x="370033" y="489042"/>
                        <a:pt x="365850" y="484669"/>
                      </a:cubicBezTo>
                      <a:cubicBezTo>
                        <a:pt x="359575" y="478014"/>
                        <a:pt x="353111" y="471169"/>
                        <a:pt x="346646" y="464134"/>
                      </a:cubicBezTo>
                      <a:cubicBezTo>
                        <a:pt x="344935" y="462232"/>
                        <a:pt x="342463" y="461092"/>
                        <a:pt x="339801" y="461092"/>
                      </a:cubicBezTo>
                      <a:cubicBezTo>
                        <a:pt x="338850" y="461092"/>
                        <a:pt x="337709" y="461282"/>
                        <a:pt x="336758" y="461662"/>
                      </a:cubicBezTo>
                      <a:cubicBezTo>
                        <a:pt x="321927" y="466796"/>
                        <a:pt x="306336" y="470218"/>
                        <a:pt x="290744" y="471930"/>
                      </a:cubicBezTo>
                      <a:cubicBezTo>
                        <a:pt x="287132" y="472310"/>
                        <a:pt x="283899" y="474782"/>
                        <a:pt x="282949" y="478394"/>
                      </a:cubicBezTo>
                      <a:cubicBezTo>
                        <a:pt x="280097" y="487521"/>
                        <a:pt x="277244" y="496458"/>
                        <a:pt x="274392" y="505014"/>
                      </a:cubicBezTo>
                      <a:cubicBezTo>
                        <a:pt x="271920" y="512430"/>
                        <a:pt x="265646" y="518134"/>
                        <a:pt x="257850" y="519845"/>
                      </a:cubicBezTo>
                      <a:cubicBezTo>
                        <a:pt x="256329" y="520225"/>
                        <a:pt x="254618" y="520416"/>
                        <a:pt x="252906" y="520416"/>
                      </a:cubicBezTo>
                      <a:cubicBezTo>
                        <a:pt x="251575" y="520416"/>
                        <a:pt x="250435" y="520225"/>
                        <a:pt x="249104" y="520035"/>
                      </a:cubicBezTo>
                      <a:lnTo>
                        <a:pt x="204230" y="512239"/>
                      </a:lnTo>
                      <a:cubicBezTo>
                        <a:pt x="193392" y="510338"/>
                        <a:pt x="185216" y="500641"/>
                        <a:pt x="185597" y="489613"/>
                      </a:cubicBezTo>
                      <a:cubicBezTo>
                        <a:pt x="185787" y="480486"/>
                        <a:pt x="186167" y="470979"/>
                        <a:pt x="186547" y="461662"/>
                      </a:cubicBezTo>
                      <a:cubicBezTo>
                        <a:pt x="186737" y="458049"/>
                        <a:pt x="184646" y="454627"/>
                        <a:pt x="181413" y="452916"/>
                      </a:cubicBezTo>
                      <a:cubicBezTo>
                        <a:pt x="167153" y="446070"/>
                        <a:pt x="153843" y="437514"/>
                        <a:pt x="141674" y="427627"/>
                      </a:cubicBezTo>
                      <a:cubicBezTo>
                        <a:pt x="139963" y="426296"/>
                        <a:pt x="137871" y="425535"/>
                        <a:pt x="135780" y="425535"/>
                      </a:cubicBezTo>
                      <a:cubicBezTo>
                        <a:pt x="134258" y="425535"/>
                        <a:pt x="132737" y="425915"/>
                        <a:pt x="131406" y="426676"/>
                      </a:cubicBezTo>
                      <a:cubicBezTo>
                        <a:pt x="123040" y="431049"/>
                        <a:pt x="114674" y="435232"/>
                        <a:pt x="106498" y="439416"/>
                      </a:cubicBezTo>
                      <a:cubicBezTo>
                        <a:pt x="103456" y="440937"/>
                        <a:pt x="100033" y="441697"/>
                        <a:pt x="96611" y="441697"/>
                      </a:cubicBezTo>
                      <a:cubicBezTo>
                        <a:pt x="89195" y="441697"/>
                        <a:pt x="82350" y="438085"/>
                        <a:pt x="77977" y="432190"/>
                      </a:cubicBezTo>
                      <a:lnTo>
                        <a:pt x="51547" y="394923"/>
                      </a:lnTo>
                      <a:cubicBezTo>
                        <a:pt x="45273" y="385796"/>
                        <a:pt x="46413" y="373246"/>
                        <a:pt x="54399" y="365641"/>
                      </a:cubicBezTo>
                      <a:cubicBezTo>
                        <a:pt x="61054" y="359366"/>
                        <a:pt x="67899" y="352901"/>
                        <a:pt x="74935" y="346437"/>
                      </a:cubicBezTo>
                      <a:cubicBezTo>
                        <a:pt x="77597" y="343965"/>
                        <a:pt x="78547" y="340162"/>
                        <a:pt x="77406" y="336549"/>
                      </a:cubicBezTo>
                      <a:cubicBezTo>
                        <a:pt x="72273" y="321718"/>
                        <a:pt x="68850" y="306127"/>
                        <a:pt x="67139" y="290535"/>
                      </a:cubicBezTo>
                      <a:cubicBezTo>
                        <a:pt x="66758" y="286923"/>
                        <a:pt x="64287" y="283690"/>
                        <a:pt x="60674" y="282739"/>
                      </a:cubicBezTo>
                      <a:cubicBezTo>
                        <a:pt x="51737" y="279887"/>
                        <a:pt x="42801" y="277035"/>
                        <a:pt x="34054" y="274183"/>
                      </a:cubicBezTo>
                      <a:cubicBezTo>
                        <a:pt x="23597" y="270761"/>
                        <a:pt x="17132" y="259923"/>
                        <a:pt x="19033" y="248894"/>
                      </a:cubicBezTo>
                      <a:lnTo>
                        <a:pt x="26829" y="204021"/>
                      </a:lnTo>
                      <a:cubicBezTo>
                        <a:pt x="28730" y="193373"/>
                        <a:pt x="38237" y="185387"/>
                        <a:pt x="48885" y="185387"/>
                      </a:cubicBezTo>
                      <a:cubicBezTo>
                        <a:pt x="49075" y="185387"/>
                        <a:pt x="49266" y="185387"/>
                        <a:pt x="49456" y="185387"/>
                      </a:cubicBezTo>
                      <a:cubicBezTo>
                        <a:pt x="58582" y="185577"/>
                        <a:pt x="68089" y="185958"/>
                        <a:pt x="77406" y="186338"/>
                      </a:cubicBezTo>
                      <a:cubicBezTo>
                        <a:pt x="77597" y="186338"/>
                        <a:pt x="77597" y="186338"/>
                        <a:pt x="77787" y="186338"/>
                      </a:cubicBezTo>
                      <a:cubicBezTo>
                        <a:pt x="81399" y="186338"/>
                        <a:pt x="84632" y="184246"/>
                        <a:pt x="86153" y="181204"/>
                      </a:cubicBezTo>
                      <a:cubicBezTo>
                        <a:pt x="92998" y="166944"/>
                        <a:pt x="101554" y="153634"/>
                        <a:pt x="111442" y="141465"/>
                      </a:cubicBezTo>
                      <a:cubicBezTo>
                        <a:pt x="113723" y="138613"/>
                        <a:pt x="114104" y="134620"/>
                        <a:pt x="112392" y="131387"/>
                      </a:cubicBezTo>
                      <a:cubicBezTo>
                        <a:pt x="108019" y="123021"/>
                        <a:pt x="103646" y="114655"/>
                        <a:pt x="99653" y="106479"/>
                      </a:cubicBezTo>
                      <a:cubicBezTo>
                        <a:pt x="94709" y="96592"/>
                        <a:pt x="97751" y="84423"/>
                        <a:pt x="106878" y="77958"/>
                      </a:cubicBezTo>
                      <a:lnTo>
                        <a:pt x="144336" y="51528"/>
                      </a:lnTo>
                      <a:cubicBezTo>
                        <a:pt x="148139" y="48866"/>
                        <a:pt x="152512" y="47535"/>
                        <a:pt x="157266" y="47535"/>
                      </a:cubicBezTo>
                      <a:cubicBezTo>
                        <a:pt x="163540" y="47535"/>
                        <a:pt x="169435" y="50007"/>
                        <a:pt x="173618" y="54380"/>
                      </a:cubicBezTo>
                      <a:cubicBezTo>
                        <a:pt x="179892" y="61035"/>
                        <a:pt x="186357" y="67880"/>
                        <a:pt x="192822" y="74915"/>
                      </a:cubicBezTo>
                      <a:cubicBezTo>
                        <a:pt x="194533" y="76817"/>
                        <a:pt x="197005" y="77958"/>
                        <a:pt x="199667" y="77958"/>
                      </a:cubicBezTo>
                      <a:cubicBezTo>
                        <a:pt x="200618" y="77958"/>
                        <a:pt x="201758" y="77768"/>
                        <a:pt x="202709" y="77387"/>
                      </a:cubicBezTo>
                      <a:cubicBezTo>
                        <a:pt x="217540" y="72254"/>
                        <a:pt x="233132" y="68831"/>
                        <a:pt x="248723" y="67120"/>
                      </a:cubicBezTo>
                      <a:cubicBezTo>
                        <a:pt x="252336" y="66739"/>
                        <a:pt x="255568" y="64268"/>
                        <a:pt x="256519" y="60655"/>
                      </a:cubicBezTo>
                      <a:cubicBezTo>
                        <a:pt x="259371" y="51718"/>
                        <a:pt x="262223" y="42782"/>
                        <a:pt x="265075" y="34035"/>
                      </a:cubicBezTo>
                      <a:cubicBezTo>
                        <a:pt x="268118" y="24908"/>
                        <a:pt x="276864" y="18634"/>
                        <a:pt x="286561" y="18634"/>
                      </a:cubicBezTo>
                      <a:cubicBezTo>
                        <a:pt x="287892" y="18634"/>
                        <a:pt x="289033" y="18824"/>
                        <a:pt x="290364" y="19014"/>
                      </a:cubicBezTo>
                      <a:lnTo>
                        <a:pt x="335237" y="26810"/>
                      </a:lnTo>
                      <a:cubicBezTo>
                        <a:pt x="346075" y="28711"/>
                        <a:pt x="354251" y="38408"/>
                        <a:pt x="353871" y="49437"/>
                      </a:cubicBezTo>
                      <a:cubicBezTo>
                        <a:pt x="353681" y="58563"/>
                        <a:pt x="353301" y="68070"/>
                        <a:pt x="352920" y="77577"/>
                      </a:cubicBezTo>
                      <a:cubicBezTo>
                        <a:pt x="352730" y="81190"/>
                        <a:pt x="354822" y="84613"/>
                        <a:pt x="358054" y="86324"/>
                      </a:cubicBezTo>
                      <a:cubicBezTo>
                        <a:pt x="372315" y="93169"/>
                        <a:pt x="385625" y="101725"/>
                        <a:pt x="397794" y="111613"/>
                      </a:cubicBezTo>
                      <a:cubicBezTo>
                        <a:pt x="399505" y="112944"/>
                        <a:pt x="401597" y="113704"/>
                        <a:pt x="403688" y="113704"/>
                      </a:cubicBezTo>
                      <a:cubicBezTo>
                        <a:pt x="405209" y="113704"/>
                        <a:pt x="406730" y="113324"/>
                        <a:pt x="407871" y="112563"/>
                      </a:cubicBezTo>
                      <a:cubicBezTo>
                        <a:pt x="416427" y="108190"/>
                        <a:pt x="424794" y="103817"/>
                        <a:pt x="432780" y="99824"/>
                      </a:cubicBezTo>
                      <a:cubicBezTo>
                        <a:pt x="435822" y="98303"/>
                        <a:pt x="439244" y="97542"/>
                        <a:pt x="442667" y="97542"/>
                      </a:cubicBezTo>
                      <a:cubicBezTo>
                        <a:pt x="448181" y="97542"/>
                        <a:pt x="453505" y="99444"/>
                        <a:pt x="457688" y="103056"/>
                      </a:cubicBezTo>
                      <a:cubicBezTo>
                        <a:pt x="459399" y="104577"/>
                        <a:pt x="461491" y="105338"/>
                        <a:pt x="463773" y="105338"/>
                      </a:cubicBezTo>
                      <a:cubicBezTo>
                        <a:pt x="466435" y="105338"/>
                        <a:pt x="469097" y="104197"/>
                        <a:pt x="470808" y="102106"/>
                      </a:cubicBezTo>
                      <a:cubicBezTo>
                        <a:pt x="474040" y="98303"/>
                        <a:pt x="473660" y="92408"/>
                        <a:pt x="469857" y="88986"/>
                      </a:cubicBezTo>
                      <a:cubicBezTo>
                        <a:pt x="462442" y="82521"/>
                        <a:pt x="452744" y="79099"/>
                        <a:pt x="442857" y="79099"/>
                      </a:cubicBezTo>
                      <a:cubicBezTo>
                        <a:pt x="436582" y="79099"/>
                        <a:pt x="430308" y="80620"/>
                        <a:pt x="424794" y="83282"/>
                      </a:cubicBezTo>
                      <a:cubicBezTo>
                        <a:pt x="418329" y="86514"/>
                        <a:pt x="411674" y="89937"/>
                        <a:pt x="404829" y="93359"/>
                      </a:cubicBezTo>
                      <a:cubicBezTo>
                        <a:pt x="394371" y="85373"/>
                        <a:pt x="383343" y="78338"/>
                        <a:pt x="371554" y="72254"/>
                      </a:cubicBezTo>
                      <a:cubicBezTo>
                        <a:pt x="371935" y="64838"/>
                        <a:pt x="372125" y="57232"/>
                        <a:pt x="372315" y="49817"/>
                      </a:cubicBezTo>
                      <a:cubicBezTo>
                        <a:pt x="372885" y="29662"/>
                        <a:pt x="358244" y="11979"/>
                        <a:pt x="338280" y="8366"/>
                      </a:cubicBezTo>
                      <a:lnTo>
                        <a:pt x="293406" y="570"/>
                      </a:lnTo>
                      <a:cubicBezTo>
                        <a:pt x="291125" y="190"/>
                        <a:pt x="288843" y="0"/>
                        <a:pt x="286371" y="0"/>
                      </a:cubicBezTo>
                      <a:cubicBezTo>
                        <a:pt x="268878" y="0"/>
                        <a:pt x="252906" y="11599"/>
                        <a:pt x="247392" y="27951"/>
                      </a:cubicBezTo>
                      <a:cubicBezTo>
                        <a:pt x="245111" y="34986"/>
                        <a:pt x="242639" y="42021"/>
                        <a:pt x="240547" y="49246"/>
                      </a:cubicBezTo>
                      <a:cubicBezTo>
                        <a:pt x="227618" y="50958"/>
                        <a:pt x="214688" y="53810"/>
                        <a:pt x="202139" y="57803"/>
                      </a:cubicBezTo>
                      <a:cubicBezTo>
                        <a:pt x="197005" y="52289"/>
                        <a:pt x="191871" y="46775"/>
                        <a:pt x="186737" y="41451"/>
                      </a:cubicBezTo>
                      <a:cubicBezTo>
                        <a:pt x="179132" y="33465"/>
                        <a:pt x="168294" y="28901"/>
                        <a:pt x="157075" y="28901"/>
                      </a:cubicBezTo>
                      <a:cubicBezTo>
                        <a:pt x="148519" y="28901"/>
                        <a:pt x="140533" y="31373"/>
                        <a:pt x="133498" y="36317"/>
                      </a:cubicBezTo>
                      <a:lnTo>
                        <a:pt x="96420" y="62556"/>
                      </a:lnTo>
                      <a:cubicBezTo>
                        <a:pt x="80068" y="74155"/>
                        <a:pt x="74364" y="96401"/>
                        <a:pt x="83301" y="114465"/>
                      </a:cubicBezTo>
                      <a:cubicBezTo>
                        <a:pt x="86533" y="120930"/>
                        <a:pt x="89956" y="127775"/>
                        <a:pt x="93378" y="134430"/>
                      </a:cubicBezTo>
                      <a:cubicBezTo>
                        <a:pt x="85392" y="144887"/>
                        <a:pt x="78357" y="155916"/>
                        <a:pt x="72273" y="167704"/>
                      </a:cubicBezTo>
                      <a:cubicBezTo>
                        <a:pt x="64667" y="167324"/>
                        <a:pt x="57251" y="167134"/>
                        <a:pt x="49836" y="166944"/>
                      </a:cubicBezTo>
                      <a:cubicBezTo>
                        <a:pt x="49456" y="166944"/>
                        <a:pt x="49075" y="166944"/>
                        <a:pt x="48695" y="166944"/>
                      </a:cubicBezTo>
                      <a:cubicBezTo>
                        <a:pt x="29111" y="166944"/>
                        <a:pt x="11808" y="181585"/>
                        <a:pt x="8385" y="200979"/>
                      </a:cubicBezTo>
                      <a:lnTo>
                        <a:pt x="589" y="245852"/>
                      </a:lnTo>
                      <a:cubicBezTo>
                        <a:pt x="-2833" y="265627"/>
                        <a:pt x="8956" y="285401"/>
                        <a:pt x="27970" y="291866"/>
                      </a:cubicBezTo>
                      <a:cubicBezTo>
                        <a:pt x="35005" y="294148"/>
                        <a:pt x="42230" y="296620"/>
                        <a:pt x="49266" y="298711"/>
                      </a:cubicBezTo>
                      <a:cubicBezTo>
                        <a:pt x="50977" y="311641"/>
                        <a:pt x="53829" y="324570"/>
                        <a:pt x="57822" y="337120"/>
                      </a:cubicBezTo>
                      <a:cubicBezTo>
                        <a:pt x="52308" y="342254"/>
                        <a:pt x="46794" y="347387"/>
                        <a:pt x="41470" y="352521"/>
                      </a:cubicBezTo>
                      <a:cubicBezTo>
                        <a:pt x="26829" y="366401"/>
                        <a:pt x="24547" y="389218"/>
                        <a:pt x="36146" y="405761"/>
                      </a:cubicBezTo>
                      <a:lnTo>
                        <a:pt x="62385" y="443028"/>
                      </a:lnTo>
                      <a:cubicBezTo>
                        <a:pt x="69991" y="453866"/>
                        <a:pt x="82730" y="460521"/>
                        <a:pt x="96040" y="460521"/>
                      </a:cubicBezTo>
                      <a:cubicBezTo>
                        <a:pt x="102315" y="460521"/>
                        <a:pt x="108589" y="459000"/>
                        <a:pt x="114104" y="456338"/>
                      </a:cubicBezTo>
                      <a:cubicBezTo>
                        <a:pt x="120758" y="453106"/>
                        <a:pt x="127413" y="449683"/>
                        <a:pt x="134068" y="446261"/>
                      </a:cubicBezTo>
                      <a:cubicBezTo>
                        <a:pt x="144526" y="454247"/>
                        <a:pt x="155554" y="461282"/>
                        <a:pt x="167343" y="467366"/>
                      </a:cubicBezTo>
                      <a:cubicBezTo>
                        <a:pt x="166963" y="474782"/>
                        <a:pt x="166773" y="482387"/>
                        <a:pt x="166582" y="489803"/>
                      </a:cubicBezTo>
                      <a:cubicBezTo>
                        <a:pt x="166012" y="509958"/>
                        <a:pt x="180653" y="527641"/>
                        <a:pt x="200618" y="531254"/>
                      </a:cubicBezTo>
                      <a:lnTo>
                        <a:pt x="245491" y="539049"/>
                      </a:lnTo>
                      <a:cubicBezTo>
                        <a:pt x="247773" y="539430"/>
                        <a:pt x="250244" y="539620"/>
                        <a:pt x="252526" y="539620"/>
                      </a:cubicBezTo>
                      <a:cubicBezTo>
                        <a:pt x="255568" y="539620"/>
                        <a:pt x="258420" y="539239"/>
                        <a:pt x="261463" y="538669"/>
                      </a:cubicBezTo>
                      <a:cubicBezTo>
                        <a:pt x="275533" y="535627"/>
                        <a:pt x="287132" y="525169"/>
                        <a:pt x="291505" y="511669"/>
                      </a:cubicBezTo>
                      <a:cubicBezTo>
                        <a:pt x="293787" y="504824"/>
                        <a:pt x="296068" y="497599"/>
                        <a:pt x="298350" y="490373"/>
                      </a:cubicBezTo>
                      <a:cubicBezTo>
                        <a:pt x="311280" y="488662"/>
                        <a:pt x="324209" y="485810"/>
                        <a:pt x="336758" y="481817"/>
                      </a:cubicBezTo>
                      <a:cubicBezTo>
                        <a:pt x="341892" y="487331"/>
                        <a:pt x="347026" y="492845"/>
                        <a:pt x="352160" y="498169"/>
                      </a:cubicBezTo>
                      <a:cubicBezTo>
                        <a:pt x="359766" y="506155"/>
                        <a:pt x="370604" y="510718"/>
                        <a:pt x="381822" y="510718"/>
                      </a:cubicBezTo>
                      <a:cubicBezTo>
                        <a:pt x="390378" y="510718"/>
                        <a:pt x="398364" y="508247"/>
                        <a:pt x="405399" y="503303"/>
                      </a:cubicBezTo>
                      <a:lnTo>
                        <a:pt x="442667" y="477063"/>
                      </a:lnTo>
                      <a:cubicBezTo>
                        <a:pt x="459209" y="465465"/>
                        <a:pt x="464913" y="443218"/>
                        <a:pt x="455787" y="425155"/>
                      </a:cubicBezTo>
                      <a:cubicBezTo>
                        <a:pt x="452554" y="418690"/>
                        <a:pt x="449132" y="411845"/>
                        <a:pt x="445709" y="405190"/>
                      </a:cubicBezTo>
                      <a:cubicBezTo>
                        <a:pt x="453695" y="394732"/>
                        <a:pt x="460730" y="383704"/>
                        <a:pt x="466815" y="371916"/>
                      </a:cubicBezTo>
                      <a:cubicBezTo>
                        <a:pt x="474420" y="372296"/>
                        <a:pt x="482026" y="372486"/>
                        <a:pt x="489251" y="372676"/>
                      </a:cubicBezTo>
                      <a:cubicBezTo>
                        <a:pt x="489632" y="372676"/>
                        <a:pt x="490392" y="372676"/>
                        <a:pt x="490392" y="372676"/>
                      </a:cubicBezTo>
                      <a:cubicBezTo>
                        <a:pt x="509977" y="372676"/>
                        <a:pt x="527280" y="358035"/>
                        <a:pt x="530702" y="338641"/>
                      </a:cubicBezTo>
                      <a:lnTo>
                        <a:pt x="538498" y="293768"/>
                      </a:lnTo>
                      <a:cubicBezTo>
                        <a:pt x="542111" y="273803"/>
                        <a:pt x="530322" y="254028"/>
                        <a:pt x="511118" y="247563"/>
                      </a:cubicBezTo>
                      <a:lnTo>
                        <a:pt x="511118" y="247563"/>
                      </a:lnTo>
                      <a:close/>
                    </a:path>
                  </a:pathLst>
                </a:custGeom>
                <a:grpFill/>
                <a:ln w="1878" cap="flat">
                  <a:solidFill>
                    <a:srgbClr val="009252"/>
                  </a:solidFill>
                  <a:prstDash val="solid"/>
                  <a:miter/>
                </a:ln>
              </p:spPr>
              <p:txBody>
                <a:bodyPr rtlCol="0" anchor="ctr"/>
                <a:lstStyle/>
                <a:p>
                  <a:endParaRPr lang="de-AT"/>
                </a:p>
              </p:txBody>
            </p:sp>
            <p:sp>
              <p:nvSpPr>
                <p:cNvPr id="8" name="Freihandform: Form 7">
                  <a:extLst>
                    <a:ext uri="{FF2B5EF4-FFF2-40B4-BE49-F238E27FC236}">
                      <a16:creationId xmlns:a16="http://schemas.microsoft.com/office/drawing/2014/main" id="{2FCDEE5A-03C1-64FF-B177-FF6E5248C276}"/>
                    </a:ext>
                  </a:extLst>
                </p:cNvPr>
                <p:cNvSpPr/>
                <p:nvPr/>
              </p:nvSpPr>
              <p:spPr>
                <a:xfrm>
                  <a:off x="3689316" y="2711164"/>
                  <a:ext cx="311267" cy="211056"/>
                </a:xfrm>
                <a:custGeom>
                  <a:avLst/>
                  <a:gdLst>
                    <a:gd name="connsiteX0" fmla="*/ 8943 w 311267"/>
                    <a:gd name="connsiteY0" fmla="*/ 51528 h 211056"/>
                    <a:gd name="connsiteX1" fmla="*/ 7 w 311267"/>
                    <a:gd name="connsiteY1" fmla="*/ 61035 h 211056"/>
                    <a:gd name="connsiteX2" fmla="*/ 47352 w 311267"/>
                    <a:gd name="connsiteY2" fmla="*/ 167324 h 211056"/>
                    <a:gd name="connsiteX3" fmla="*/ 155542 w 311267"/>
                    <a:gd name="connsiteY3" fmla="*/ 211056 h 211056"/>
                    <a:gd name="connsiteX4" fmla="*/ 311267 w 311267"/>
                    <a:gd name="connsiteY4" fmla="*/ 55331 h 211056"/>
                    <a:gd name="connsiteX5" fmla="*/ 303281 w 311267"/>
                    <a:gd name="connsiteY5" fmla="*/ 6275 h 211056"/>
                    <a:gd name="connsiteX6" fmla="*/ 294535 w 311267"/>
                    <a:gd name="connsiteY6" fmla="*/ 0 h 211056"/>
                    <a:gd name="connsiteX7" fmla="*/ 291683 w 311267"/>
                    <a:gd name="connsiteY7" fmla="*/ 380 h 211056"/>
                    <a:gd name="connsiteX8" fmla="*/ 285788 w 311267"/>
                    <a:gd name="connsiteY8" fmla="*/ 11979 h 211056"/>
                    <a:gd name="connsiteX9" fmla="*/ 292823 w 311267"/>
                    <a:gd name="connsiteY9" fmla="*/ 55331 h 211056"/>
                    <a:gd name="connsiteX10" fmla="*/ 155542 w 311267"/>
                    <a:gd name="connsiteY10" fmla="*/ 192613 h 211056"/>
                    <a:gd name="connsiteX11" fmla="*/ 60091 w 311267"/>
                    <a:gd name="connsiteY11" fmla="*/ 154014 h 211056"/>
                    <a:gd name="connsiteX12" fmla="*/ 18260 w 311267"/>
                    <a:gd name="connsiteY12" fmla="*/ 60275 h 211056"/>
                    <a:gd name="connsiteX13" fmla="*/ 8943 w 311267"/>
                    <a:gd name="connsiteY13" fmla="*/ 51338 h 211056"/>
                    <a:gd name="connsiteX14" fmla="*/ 8943 w 311267"/>
                    <a:gd name="connsiteY14" fmla="*/ 51528 h 211056"/>
                    <a:gd name="connsiteX15" fmla="*/ 8943 w 311267"/>
                    <a:gd name="connsiteY15" fmla="*/ 51528 h 211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1267" h="211056">
                      <a:moveTo>
                        <a:pt x="8943" y="51528"/>
                      </a:moveTo>
                      <a:cubicBezTo>
                        <a:pt x="3809" y="51718"/>
                        <a:pt x="-184" y="55901"/>
                        <a:pt x="7" y="61035"/>
                      </a:cubicBezTo>
                      <a:cubicBezTo>
                        <a:pt x="1337" y="101535"/>
                        <a:pt x="18260" y="139183"/>
                        <a:pt x="47352" y="167324"/>
                      </a:cubicBezTo>
                      <a:cubicBezTo>
                        <a:pt x="76443" y="195655"/>
                        <a:pt x="115042" y="211056"/>
                        <a:pt x="155542" y="211056"/>
                      </a:cubicBezTo>
                      <a:cubicBezTo>
                        <a:pt x="241485" y="211056"/>
                        <a:pt x="311267" y="141275"/>
                        <a:pt x="311267" y="55331"/>
                      </a:cubicBezTo>
                      <a:cubicBezTo>
                        <a:pt x="311267" y="38599"/>
                        <a:pt x="308605" y="22056"/>
                        <a:pt x="303281" y="6275"/>
                      </a:cubicBezTo>
                      <a:cubicBezTo>
                        <a:pt x="301950" y="2472"/>
                        <a:pt x="298528" y="0"/>
                        <a:pt x="294535" y="0"/>
                      </a:cubicBezTo>
                      <a:cubicBezTo>
                        <a:pt x="293584" y="0"/>
                        <a:pt x="292633" y="190"/>
                        <a:pt x="291683" y="380"/>
                      </a:cubicBezTo>
                      <a:cubicBezTo>
                        <a:pt x="286929" y="1901"/>
                        <a:pt x="284267" y="7225"/>
                        <a:pt x="285788" y="11979"/>
                      </a:cubicBezTo>
                      <a:cubicBezTo>
                        <a:pt x="290352" y="25859"/>
                        <a:pt x="292823" y="40500"/>
                        <a:pt x="292823" y="55331"/>
                      </a:cubicBezTo>
                      <a:cubicBezTo>
                        <a:pt x="292823" y="131007"/>
                        <a:pt x="231218" y="192613"/>
                        <a:pt x="155542" y="192613"/>
                      </a:cubicBezTo>
                      <a:cubicBezTo>
                        <a:pt x="119795" y="192613"/>
                        <a:pt x="85760" y="178923"/>
                        <a:pt x="60091" y="154014"/>
                      </a:cubicBezTo>
                      <a:cubicBezTo>
                        <a:pt x="34422" y="129106"/>
                        <a:pt x="19591" y="95831"/>
                        <a:pt x="18260" y="60275"/>
                      </a:cubicBezTo>
                      <a:cubicBezTo>
                        <a:pt x="18070" y="55331"/>
                        <a:pt x="14077" y="51338"/>
                        <a:pt x="8943" y="51338"/>
                      </a:cubicBezTo>
                      <a:lnTo>
                        <a:pt x="8943" y="51528"/>
                      </a:lnTo>
                      <a:lnTo>
                        <a:pt x="8943" y="51528"/>
                      </a:lnTo>
                      <a:close/>
                    </a:path>
                  </a:pathLst>
                </a:custGeom>
                <a:grpFill/>
                <a:ln w="1878" cap="flat">
                  <a:solidFill>
                    <a:srgbClr val="009252"/>
                  </a:solidFill>
                  <a:prstDash val="solid"/>
                  <a:miter/>
                </a:ln>
              </p:spPr>
              <p:txBody>
                <a:bodyPr rtlCol="0" anchor="ctr"/>
                <a:lstStyle/>
                <a:p>
                  <a:endParaRPr lang="de-AT"/>
                </a:p>
              </p:txBody>
            </p:sp>
            <p:sp>
              <p:nvSpPr>
                <p:cNvPr id="9" name="Freihandform: Form 8">
                  <a:extLst>
                    <a:ext uri="{FF2B5EF4-FFF2-40B4-BE49-F238E27FC236}">
                      <a16:creationId xmlns:a16="http://schemas.microsoft.com/office/drawing/2014/main" id="{3D36F382-FAC2-D2B8-E05D-1F59E6F9B3B4}"/>
                    </a:ext>
                  </a:extLst>
                </p:cNvPr>
                <p:cNvSpPr/>
                <p:nvPr/>
              </p:nvSpPr>
              <p:spPr>
                <a:xfrm>
                  <a:off x="3700589" y="2610770"/>
                  <a:ext cx="262496" cy="108570"/>
                </a:xfrm>
                <a:custGeom>
                  <a:avLst/>
                  <a:gdLst>
                    <a:gd name="connsiteX0" fmla="*/ 5657 w 262496"/>
                    <a:gd name="connsiteY0" fmla="*/ 107810 h 108570"/>
                    <a:gd name="connsiteX1" fmla="*/ 9269 w 262496"/>
                    <a:gd name="connsiteY1" fmla="*/ 108570 h 108570"/>
                    <a:gd name="connsiteX2" fmla="*/ 17826 w 262496"/>
                    <a:gd name="connsiteY2" fmla="*/ 102866 h 108570"/>
                    <a:gd name="connsiteX3" fmla="*/ 144460 w 262496"/>
                    <a:gd name="connsiteY3" fmla="*/ 18634 h 108570"/>
                    <a:gd name="connsiteX4" fmla="*/ 246375 w 262496"/>
                    <a:gd name="connsiteY4" fmla="*/ 63887 h 108570"/>
                    <a:gd name="connsiteX5" fmla="*/ 253220 w 262496"/>
                    <a:gd name="connsiteY5" fmla="*/ 66930 h 108570"/>
                    <a:gd name="connsiteX6" fmla="*/ 259495 w 262496"/>
                    <a:gd name="connsiteY6" fmla="*/ 64458 h 108570"/>
                    <a:gd name="connsiteX7" fmla="*/ 260065 w 262496"/>
                    <a:gd name="connsiteY7" fmla="*/ 51338 h 108570"/>
                    <a:gd name="connsiteX8" fmla="*/ 144460 w 262496"/>
                    <a:gd name="connsiteY8" fmla="*/ 0 h 108570"/>
                    <a:gd name="connsiteX9" fmla="*/ 713 w 262496"/>
                    <a:gd name="connsiteY9" fmla="*/ 95451 h 108570"/>
                    <a:gd name="connsiteX10" fmla="*/ 713 w 262496"/>
                    <a:gd name="connsiteY10" fmla="*/ 102486 h 108570"/>
                    <a:gd name="connsiteX11" fmla="*/ 5657 w 262496"/>
                    <a:gd name="connsiteY11" fmla="*/ 107810 h 108570"/>
                    <a:gd name="connsiteX12" fmla="*/ 5657 w 262496"/>
                    <a:gd name="connsiteY12" fmla="*/ 107810 h 108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2496" h="108570">
                      <a:moveTo>
                        <a:pt x="5657" y="107810"/>
                      </a:moveTo>
                      <a:cubicBezTo>
                        <a:pt x="6798" y="108380"/>
                        <a:pt x="7938" y="108570"/>
                        <a:pt x="9269" y="108570"/>
                      </a:cubicBezTo>
                      <a:cubicBezTo>
                        <a:pt x="13072" y="108570"/>
                        <a:pt x="16305" y="106289"/>
                        <a:pt x="17826" y="102866"/>
                      </a:cubicBezTo>
                      <a:cubicBezTo>
                        <a:pt x="39312" y="51718"/>
                        <a:pt x="88938" y="18634"/>
                        <a:pt x="144460" y="18634"/>
                      </a:cubicBezTo>
                      <a:cubicBezTo>
                        <a:pt x="183248" y="18634"/>
                        <a:pt x="220326" y="35176"/>
                        <a:pt x="246375" y="63887"/>
                      </a:cubicBezTo>
                      <a:cubicBezTo>
                        <a:pt x="248086" y="65789"/>
                        <a:pt x="250558" y="66930"/>
                        <a:pt x="253220" y="66930"/>
                      </a:cubicBezTo>
                      <a:cubicBezTo>
                        <a:pt x="255502" y="66930"/>
                        <a:pt x="257783" y="66169"/>
                        <a:pt x="259495" y="64458"/>
                      </a:cubicBezTo>
                      <a:cubicBezTo>
                        <a:pt x="263298" y="61035"/>
                        <a:pt x="263488" y="55141"/>
                        <a:pt x="260065" y="51338"/>
                      </a:cubicBezTo>
                      <a:cubicBezTo>
                        <a:pt x="230593" y="18634"/>
                        <a:pt x="188382" y="0"/>
                        <a:pt x="144460" y="0"/>
                      </a:cubicBezTo>
                      <a:cubicBezTo>
                        <a:pt x="81523" y="0"/>
                        <a:pt x="25241" y="37458"/>
                        <a:pt x="713" y="95451"/>
                      </a:cubicBezTo>
                      <a:cubicBezTo>
                        <a:pt x="-238" y="97732"/>
                        <a:pt x="-238" y="100204"/>
                        <a:pt x="713" y="102486"/>
                      </a:cubicBezTo>
                      <a:cubicBezTo>
                        <a:pt x="1664" y="105148"/>
                        <a:pt x="3375" y="106859"/>
                        <a:pt x="5657" y="107810"/>
                      </a:cubicBezTo>
                      <a:lnTo>
                        <a:pt x="5657" y="107810"/>
                      </a:lnTo>
                      <a:close/>
                    </a:path>
                  </a:pathLst>
                </a:custGeom>
                <a:grpFill/>
                <a:ln w="1878" cap="flat">
                  <a:solidFill>
                    <a:srgbClr val="009252"/>
                  </a:solidFill>
                  <a:prstDash val="solid"/>
                  <a:miter/>
                </a:ln>
              </p:spPr>
              <p:txBody>
                <a:bodyPr rtlCol="0" anchor="ctr"/>
                <a:lstStyle/>
                <a:p>
                  <a:endParaRPr lang="de-AT"/>
                </a:p>
              </p:txBody>
            </p:sp>
            <p:sp>
              <p:nvSpPr>
                <p:cNvPr id="11" name="Freihandform: Form 10">
                  <a:extLst>
                    <a:ext uri="{FF2B5EF4-FFF2-40B4-BE49-F238E27FC236}">
                      <a16:creationId xmlns:a16="http://schemas.microsoft.com/office/drawing/2014/main" id="{F975B453-CAAD-50E0-CC8B-A202C9F19BDB}"/>
                    </a:ext>
                  </a:extLst>
                </p:cNvPr>
                <p:cNvSpPr/>
                <p:nvPr/>
              </p:nvSpPr>
              <p:spPr>
                <a:xfrm>
                  <a:off x="3670922" y="2577983"/>
                  <a:ext cx="440596" cy="278258"/>
                </a:xfrm>
                <a:custGeom>
                  <a:avLst/>
                  <a:gdLst>
                    <a:gd name="connsiteX0" fmla="*/ 161958 w 440596"/>
                    <a:gd name="connsiteY0" fmla="*/ 278258 h 278258"/>
                    <a:gd name="connsiteX1" fmla="*/ 161197 w 440596"/>
                    <a:gd name="connsiteY1" fmla="*/ 278258 h 278258"/>
                    <a:gd name="connsiteX2" fmla="*/ 151880 w 440596"/>
                    <a:gd name="connsiteY2" fmla="*/ 272744 h 278258"/>
                    <a:gd name="connsiteX3" fmla="*/ 4901 w 440596"/>
                    <a:gd name="connsiteY3" fmla="*/ 157139 h 278258"/>
                    <a:gd name="connsiteX4" fmla="*/ 2239 w 440596"/>
                    <a:gd name="connsiteY4" fmla="*/ 140596 h 278258"/>
                    <a:gd name="connsiteX5" fmla="*/ 18781 w 440596"/>
                    <a:gd name="connsiteY5" fmla="*/ 137934 h 278258"/>
                    <a:gd name="connsiteX6" fmla="*/ 89514 w 440596"/>
                    <a:gd name="connsiteY6" fmla="*/ 190413 h 278258"/>
                    <a:gd name="connsiteX7" fmla="*/ 161387 w 440596"/>
                    <a:gd name="connsiteY7" fmla="*/ 248406 h 278258"/>
                    <a:gd name="connsiteX8" fmla="*/ 247901 w 440596"/>
                    <a:gd name="connsiteY8" fmla="*/ 150484 h 278258"/>
                    <a:gd name="connsiteX9" fmla="*/ 423401 w 440596"/>
                    <a:gd name="connsiteY9" fmla="*/ 1223 h 278258"/>
                    <a:gd name="connsiteX10" fmla="*/ 439373 w 440596"/>
                    <a:gd name="connsiteY10" fmla="*/ 6547 h 278258"/>
                    <a:gd name="connsiteX11" fmla="*/ 434049 w 440596"/>
                    <a:gd name="connsiteY11" fmla="*/ 22519 h 278258"/>
                    <a:gd name="connsiteX12" fmla="*/ 171274 w 440596"/>
                    <a:gd name="connsiteY12" fmla="*/ 273885 h 278258"/>
                    <a:gd name="connsiteX13" fmla="*/ 161958 w 440596"/>
                    <a:gd name="connsiteY13" fmla="*/ 278258 h 278258"/>
                    <a:gd name="connsiteX14" fmla="*/ 161958 w 440596"/>
                    <a:gd name="connsiteY14" fmla="*/ 278258 h 278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0596" h="278258">
                      <a:moveTo>
                        <a:pt x="161958" y="278258"/>
                      </a:moveTo>
                      <a:cubicBezTo>
                        <a:pt x="161767" y="278258"/>
                        <a:pt x="161577" y="278258"/>
                        <a:pt x="161197" y="278258"/>
                      </a:cubicBezTo>
                      <a:cubicBezTo>
                        <a:pt x="157394" y="278068"/>
                        <a:pt x="153782" y="275977"/>
                        <a:pt x="151880" y="272744"/>
                      </a:cubicBezTo>
                      <a:cubicBezTo>
                        <a:pt x="145225" y="261906"/>
                        <a:pt x="71831" y="205434"/>
                        <a:pt x="4901" y="157139"/>
                      </a:cubicBezTo>
                      <a:cubicBezTo>
                        <a:pt x="-423" y="153336"/>
                        <a:pt x="-1564" y="145920"/>
                        <a:pt x="2239" y="140596"/>
                      </a:cubicBezTo>
                      <a:cubicBezTo>
                        <a:pt x="6042" y="135272"/>
                        <a:pt x="13458" y="134132"/>
                        <a:pt x="18781" y="137934"/>
                      </a:cubicBezTo>
                      <a:cubicBezTo>
                        <a:pt x="19162" y="138125"/>
                        <a:pt x="53767" y="163223"/>
                        <a:pt x="89514" y="190413"/>
                      </a:cubicBezTo>
                      <a:cubicBezTo>
                        <a:pt x="131345" y="222167"/>
                        <a:pt x="151500" y="238899"/>
                        <a:pt x="161387" y="248406"/>
                      </a:cubicBezTo>
                      <a:cubicBezTo>
                        <a:pt x="176408" y="230343"/>
                        <a:pt x="208922" y="191934"/>
                        <a:pt x="247901" y="150484"/>
                      </a:cubicBezTo>
                      <a:cubicBezTo>
                        <a:pt x="320155" y="73477"/>
                        <a:pt x="379289" y="23280"/>
                        <a:pt x="423401" y="1223"/>
                      </a:cubicBezTo>
                      <a:cubicBezTo>
                        <a:pt x="429296" y="-1629"/>
                        <a:pt x="436331" y="653"/>
                        <a:pt x="439373" y="6547"/>
                      </a:cubicBezTo>
                      <a:cubicBezTo>
                        <a:pt x="442225" y="12441"/>
                        <a:pt x="439943" y="19477"/>
                        <a:pt x="434049" y="22519"/>
                      </a:cubicBezTo>
                      <a:cubicBezTo>
                        <a:pt x="334225" y="72146"/>
                        <a:pt x="172796" y="271794"/>
                        <a:pt x="171274" y="273885"/>
                      </a:cubicBezTo>
                      <a:cubicBezTo>
                        <a:pt x="168993" y="276547"/>
                        <a:pt x="165570" y="278258"/>
                        <a:pt x="161958" y="278258"/>
                      </a:cubicBezTo>
                      <a:lnTo>
                        <a:pt x="161958" y="278258"/>
                      </a:lnTo>
                      <a:close/>
                    </a:path>
                  </a:pathLst>
                </a:custGeom>
                <a:grpFill/>
                <a:ln w="1878" cap="flat">
                  <a:solidFill>
                    <a:srgbClr val="009252"/>
                  </a:solidFill>
                  <a:prstDash val="solid"/>
                  <a:miter/>
                </a:ln>
              </p:spPr>
              <p:txBody>
                <a:bodyPr rtlCol="0" anchor="ctr"/>
                <a:lstStyle/>
                <a:p>
                  <a:endParaRPr lang="de-AT" dirty="0"/>
                </a:p>
              </p:txBody>
            </p:sp>
          </p:grpSp>
        </p:grpSp>
      </p:grpSp>
      <p:pic>
        <p:nvPicPr>
          <p:cNvPr id="10" name="Grafik 9" descr="Ein Bild, das Grafiken, Kreis, Screenshot, Design enthält.&#10;&#10;KI-generierte Inhalte können fehlerhaft sein.">
            <a:extLst>
              <a:ext uri="{FF2B5EF4-FFF2-40B4-BE49-F238E27FC236}">
                <a16:creationId xmlns:a16="http://schemas.microsoft.com/office/drawing/2014/main" id="{D652B8F5-7B02-8E9D-01B7-2B92A912CDE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578794" y="1585655"/>
            <a:ext cx="802137" cy="802137"/>
          </a:xfrm>
          <a:prstGeom prst="rect">
            <a:avLst/>
          </a:prstGeom>
        </p:spPr>
      </p:pic>
      <p:pic>
        <p:nvPicPr>
          <p:cNvPr id="15" name="Grafik 14">
            <a:extLst>
              <a:ext uri="{FF2B5EF4-FFF2-40B4-BE49-F238E27FC236}">
                <a16:creationId xmlns:a16="http://schemas.microsoft.com/office/drawing/2014/main" id="{F0E1C5C3-969E-5D50-63C2-0B3CD38BA7A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11969" y="1585655"/>
            <a:ext cx="802137" cy="802137"/>
          </a:xfrm>
          <a:prstGeom prst="rect">
            <a:avLst/>
          </a:prstGeom>
        </p:spPr>
      </p:pic>
    </p:spTree>
    <p:extLst>
      <p:ext uri="{BB962C8B-B14F-4D97-AF65-F5344CB8AC3E}">
        <p14:creationId xmlns:p14="http://schemas.microsoft.com/office/powerpoint/2010/main" val="12743459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F92116-F3FA-5697-51D4-346654DFC360}"/>
            </a:ext>
          </a:extLst>
        </p:cNvPr>
        <p:cNvGrpSpPr/>
        <p:nvPr/>
      </p:nvGrpSpPr>
      <p:grpSpPr>
        <a:xfrm>
          <a:off x="0" y="0"/>
          <a:ext cx="0" cy="0"/>
          <a:chOff x="0" y="0"/>
          <a:chExt cx="0" cy="0"/>
        </a:xfrm>
      </p:grpSpPr>
      <p:sp>
        <p:nvSpPr>
          <p:cNvPr id="13" name="Line 65">
            <a:extLst>
              <a:ext uri="{FF2B5EF4-FFF2-40B4-BE49-F238E27FC236}">
                <a16:creationId xmlns:a16="http://schemas.microsoft.com/office/drawing/2014/main" id="{526CC148-0561-BD51-7605-692B03F53D8A}"/>
              </a:ext>
            </a:extLst>
          </p:cNvPr>
          <p:cNvSpPr>
            <a:spLocks noChangeShapeType="1"/>
          </p:cNvSpPr>
          <p:nvPr/>
        </p:nvSpPr>
        <p:spPr bwMode="auto">
          <a:xfrm>
            <a:off x="4700646" y="2120793"/>
            <a:ext cx="798009" cy="0"/>
          </a:xfrm>
          <a:prstGeom prst="line">
            <a:avLst/>
          </a:prstGeom>
          <a:noFill/>
          <a:ln w="25400">
            <a:solidFill>
              <a:schemeClr val="accent5"/>
            </a:solidFill>
            <a:round/>
            <a:headEnd type="none" w="med" len="med"/>
            <a:tailEnd type="triangle" w="med" len="med"/>
          </a:ln>
        </p:spPr>
        <p:txBody>
          <a:bodyPr wrap="square" lIns="62308" tIns="29908" rIns="62308" bIns="29908">
            <a:noAutofit/>
          </a:bodyPr>
          <a:lstStyle/>
          <a:p>
            <a:endParaRPr lang="en-GB" sz="761" noProof="0" dirty="0">
              <a:ln>
                <a:solidFill>
                  <a:schemeClr val="tx1"/>
                </a:solidFill>
                <a:prstDash val="solid"/>
              </a:ln>
            </a:endParaRPr>
          </a:p>
        </p:txBody>
      </p:sp>
      <p:grpSp>
        <p:nvGrpSpPr>
          <p:cNvPr id="4" name="Gruppieren 3">
            <a:extLst>
              <a:ext uri="{FF2B5EF4-FFF2-40B4-BE49-F238E27FC236}">
                <a16:creationId xmlns:a16="http://schemas.microsoft.com/office/drawing/2014/main" id="{6364B092-9B1E-6CDE-D529-8604E433D12A}"/>
              </a:ext>
            </a:extLst>
          </p:cNvPr>
          <p:cNvGrpSpPr/>
          <p:nvPr/>
        </p:nvGrpSpPr>
        <p:grpSpPr>
          <a:xfrm>
            <a:off x="3864134" y="1762274"/>
            <a:ext cx="365043" cy="370374"/>
            <a:chOff x="3989507" y="3812485"/>
            <a:chExt cx="365043" cy="370374"/>
          </a:xfrm>
        </p:grpSpPr>
        <p:sp>
          <p:nvSpPr>
            <p:cNvPr id="164" name="Rechteck 163">
              <a:extLst>
                <a:ext uri="{FF2B5EF4-FFF2-40B4-BE49-F238E27FC236}">
                  <a16:creationId xmlns:a16="http://schemas.microsoft.com/office/drawing/2014/main" id="{66C6C04A-6522-6208-848B-16D64A6A691F}"/>
                </a:ext>
              </a:extLst>
            </p:cNvPr>
            <p:cNvSpPr/>
            <p:nvPr/>
          </p:nvSpPr>
          <p:spPr>
            <a:xfrm>
              <a:off x="3994550" y="3858859"/>
              <a:ext cx="360000" cy="324000"/>
            </a:xfrm>
            <a:prstGeom prst="rect">
              <a:avLst/>
            </a:prstGeom>
            <a:solidFill>
              <a:schemeClr val="bg1"/>
            </a:solidFill>
            <a:ln>
              <a:noFill/>
            </a:ln>
          </p:spPr>
          <p:txBody>
            <a:bodyPr lIns="0" tIns="0" rIns="0" bIns="0" rtlCol="0" anchor="ctr">
              <a:noAutofit/>
            </a:bodyPr>
            <a:lstStyle/>
            <a:p>
              <a:pPr marL="207169" indent="-207169" algn="ctr" defTabSz="247650">
                <a:spcBef>
                  <a:spcPts val="225"/>
                </a:spcBef>
                <a:buFont typeface="Symbol" pitchFamily="18" charset="2"/>
                <a:buChar char="-"/>
              </a:pPr>
              <a:endParaRPr lang="en-GB" sz="1350" kern="0" noProof="0" dirty="0">
                <a:solidFill>
                  <a:srgbClr val="41474C"/>
                </a:solidFill>
                <a:latin typeface="Corbel" pitchFamily="34" charset="0"/>
              </a:endParaRPr>
            </a:p>
          </p:txBody>
        </p:sp>
        <p:grpSp>
          <p:nvGrpSpPr>
            <p:cNvPr id="142" name="Grafik 36">
              <a:extLst>
                <a:ext uri="{FF2B5EF4-FFF2-40B4-BE49-F238E27FC236}">
                  <a16:creationId xmlns:a16="http://schemas.microsoft.com/office/drawing/2014/main" id="{D4B89EBF-8726-D770-101A-D7F5BCB83EC9}"/>
                </a:ext>
              </a:extLst>
            </p:cNvPr>
            <p:cNvGrpSpPr>
              <a:grpSpLocks noChangeAspect="1"/>
            </p:cNvGrpSpPr>
            <p:nvPr/>
          </p:nvGrpSpPr>
          <p:grpSpPr>
            <a:xfrm>
              <a:off x="3989507" y="3812485"/>
              <a:ext cx="360000" cy="360000"/>
              <a:chOff x="5793045" y="3060246"/>
              <a:chExt cx="540000" cy="540000"/>
            </a:xfrm>
            <a:solidFill>
              <a:schemeClr val="accent1"/>
            </a:solidFill>
          </p:grpSpPr>
          <p:grpSp>
            <p:nvGrpSpPr>
              <p:cNvPr id="159" name="Grafik 36">
                <a:extLst>
                  <a:ext uri="{FF2B5EF4-FFF2-40B4-BE49-F238E27FC236}">
                    <a16:creationId xmlns:a16="http://schemas.microsoft.com/office/drawing/2014/main" id="{A73544DF-2190-B1B5-C9EE-616995BF7C94}"/>
                  </a:ext>
                </a:extLst>
              </p:cNvPr>
              <p:cNvGrpSpPr/>
              <p:nvPr/>
            </p:nvGrpSpPr>
            <p:grpSpPr>
              <a:xfrm>
                <a:off x="5793045" y="3060246"/>
                <a:ext cx="495835" cy="539049"/>
                <a:chOff x="5793045" y="3060246"/>
                <a:chExt cx="495835" cy="539049"/>
              </a:xfrm>
              <a:grpFill/>
            </p:grpSpPr>
            <p:grpSp>
              <p:nvGrpSpPr>
                <p:cNvPr id="161" name="Grafik 36">
                  <a:extLst>
                    <a:ext uri="{FF2B5EF4-FFF2-40B4-BE49-F238E27FC236}">
                      <a16:creationId xmlns:a16="http://schemas.microsoft.com/office/drawing/2014/main" id="{FA154C9A-D2BD-42E6-1635-1C0E38E46912}"/>
                    </a:ext>
                  </a:extLst>
                </p:cNvPr>
                <p:cNvGrpSpPr/>
                <p:nvPr/>
              </p:nvGrpSpPr>
              <p:grpSpPr>
                <a:xfrm>
                  <a:off x="5836259" y="3146379"/>
                  <a:ext cx="452621" cy="452915"/>
                  <a:chOff x="5836259" y="3146379"/>
                  <a:chExt cx="452621" cy="452915"/>
                </a:xfrm>
                <a:grpFill/>
              </p:grpSpPr>
              <p:sp>
                <p:nvSpPr>
                  <p:cNvPr id="162" name="Freihandform: Form 161">
                    <a:extLst>
                      <a:ext uri="{FF2B5EF4-FFF2-40B4-BE49-F238E27FC236}">
                        <a16:creationId xmlns:a16="http://schemas.microsoft.com/office/drawing/2014/main" id="{2B742851-82E6-6D5F-1ECB-175ED03A519D}"/>
                      </a:ext>
                    </a:extLst>
                  </p:cNvPr>
                  <p:cNvSpPr/>
                  <p:nvPr/>
                </p:nvSpPr>
                <p:spPr>
                  <a:xfrm>
                    <a:off x="5836259" y="3146379"/>
                    <a:ext cx="452621" cy="452915"/>
                  </a:xfrm>
                  <a:custGeom>
                    <a:avLst/>
                    <a:gdLst>
                      <a:gd name="connsiteX0" fmla="*/ 451152 w 452621"/>
                      <a:gd name="connsiteY0" fmla="*/ 398916 h 452915"/>
                      <a:gd name="connsiteX1" fmla="*/ 444117 w 452621"/>
                      <a:gd name="connsiteY1" fmla="*/ 395303 h 452915"/>
                      <a:gd name="connsiteX2" fmla="*/ 76385 w 452621"/>
                      <a:gd name="connsiteY2" fmla="*/ 395303 h 452915"/>
                      <a:gd name="connsiteX3" fmla="*/ 76385 w 452621"/>
                      <a:gd name="connsiteY3" fmla="*/ 121880 h 452915"/>
                      <a:gd name="connsiteX4" fmla="*/ 129054 w 452621"/>
                      <a:gd name="connsiteY4" fmla="*/ 61225 h 452915"/>
                      <a:gd name="connsiteX5" fmla="*/ 67828 w 452621"/>
                      <a:gd name="connsiteY5" fmla="*/ 0 h 452915"/>
                      <a:gd name="connsiteX6" fmla="*/ 6603 w 452621"/>
                      <a:gd name="connsiteY6" fmla="*/ 61225 h 452915"/>
                      <a:gd name="connsiteX7" fmla="*/ 59272 w 452621"/>
                      <a:gd name="connsiteY7" fmla="*/ 121880 h 452915"/>
                      <a:gd name="connsiteX8" fmla="*/ 59272 w 452621"/>
                      <a:gd name="connsiteY8" fmla="*/ 395303 h 452915"/>
                      <a:gd name="connsiteX9" fmla="*/ 8504 w 452621"/>
                      <a:gd name="connsiteY9" fmla="*/ 395303 h 452915"/>
                      <a:gd name="connsiteX10" fmla="*/ 1469 w 452621"/>
                      <a:gd name="connsiteY10" fmla="*/ 398916 h 452915"/>
                      <a:gd name="connsiteX11" fmla="*/ 518 w 452621"/>
                      <a:gd name="connsiteY11" fmla="*/ 406711 h 452915"/>
                      <a:gd name="connsiteX12" fmla="*/ 15159 w 452621"/>
                      <a:gd name="connsiteY12" fmla="*/ 447211 h 452915"/>
                      <a:gd name="connsiteX13" fmla="*/ 23145 w 452621"/>
                      <a:gd name="connsiteY13" fmla="*/ 452916 h 452915"/>
                      <a:gd name="connsiteX14" fmla="*/ 429476 w 452621"/>
                      <a:gd name="connsiteY14" fmla="*/ 452916 h 452915"/>
                      <a:gd name="connsiteX15" fmla="*/ 437462 w 452621"/>
                      <a:gd name="connsiteY15" fmla="*/ 447211 h 452915"/>
                      <a:gd name="connsiteX16" fmla="*/ 452103 w 452621"/>
                      <a:gd name="connsiteY16" fmla="*/ 406711 h 452915"/>
                      <a:gd name="connsiteX17" fmla="*/ 451152 w 452621"/>
                      <a:gd name="connsiteY17" fmla="*/ 398916 h 452915"/>
                      <a:gd name="connsiteX18" fmla="*/ 67828 w 452621"/>
                      <a:gd name="connsiteY18" fmla="*/ 17113 h 452915"/>
                      <a:gd name="connsiteX19" fmla="*/ 111180 w 452621"/>
                      <a:gd name="connsiteY19" fmla="*/ 52669 h 452915"/>
                      <a:gd name="connsiteX20" fmla="*/ 76385 w 452621"/>
                      <a:gd name="connsiteY20" fmla="*/ 52669 h 452915"/>
                      <a:gd name="connsiteX21" fmla="*/ 76385 w 452621"/>
                      <a:gd name="connsiteY21" fmla="*/ 37648 h 452915"/>
                      <a:gd name="connsiteX22" fmla="*/ 67828 w 452621"/>
                      <a:gd name="connsiteY22" fmla="*/ 29092 h 452915"/>
                      <a:gd name="connsiteX23" fmla="*/ 59272 w 452621"/>
                      <a:gd name="connsiteY23" fmla="*/ 37648 h 452915"/>
                      <a:gd name="connsiteX24" fmla="*/ 59272 w 452621"/>
                      <a:gd name="connsiteY24" fmla="*/ 52669 h 452915"/>
                      <a:gd name="connsiteX25" fmla="*/ 24666 w 452621"/>
                      <a:gd name="connsiteY25" fmla="*/ 52669 h 452915"/>
                      <a:gd name="connsiteX26" fmla="*/ 67828 w 452621"/>
                      <a:gd name="connsiteY26" fmla="*/ 17113 h 452915"/>
                      <a:gd name="connsiteX27" fmla="*/ 24666 w 452621"/>
                      <a:gd name="connsiteY27" fmla="*/ 69782 h 452915"/>
                      <a:gd name="connsiteX28" fmla="*/ 111180 w 452621"/>
                      <a:gd name="connsiteY28" fmla="*/ 69782 h 452915"/>
                      <a:gd name="connsiteX29" fmla="*/ 67828 w 452621"/>
                      <a:gd name="connsiteY29" fmla="*/ 105338 h 452915"/>
                      <a:gd name="connsiteX30" fmla="*/ 24666 w 452621"/>
                      <a:gd name="connsiteY30" fmla="*/ 69782 h 452915"/>
                      <a:gd name="connsiteX31" fmla="*/ 423392 w 452621"/>
                      <a:gd name="connsiteY31" fmla="*/ 435803 h 452915"/>
                      <a:gd name="connsiteX32" fmla="*/ 29039 w 452621"/>
                      <a:gd name="connsiteY32" fmla="*/ 435803 h 452915"/>
                      <a:gd name="connsiteX33" fmla="*/ 20673 w 452621"/>
                      <a:gd name="connsiteY33" fmla="*/ 412416 h 452915"/>
                      <a:gd name="connsiteX34" fmla="*/ 431948 w 452621"/>
                      <a:gd name="connsiteY34" fmla="*/ 412416 h 452915"/>
                      <a:gd name="connsiteX35" fmla="*/ 423392 w 452621"/>
                      <a:gd name="connsiteY35" fmla="*/ 435803 h 452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52621" h="452915">
                        <a:moveTo>
                          <a:pt x="451152" y="398916"/>
                        </a:moveTo>
                        <a:cubicBezTo>
                          <a:pt x="449631" y="396634"/>
                          <a:pt x="446969" y="395303"/>
                          <a:pt x="444117" y="395303"/>
                        </a:cubicBezTo>
                        <a:lnTo>
                          <a:pt x="76385" y="395303"/>
                        </a:lnTo>
                        <a:lnTo>
                          <a:pt x="76385" y="121880"/>
                        </a:lnTo>
                        <a:cubicBezTo>
                          <a:pt x="106046" y="117697"/>
                          <a:pt x="129054" y="92028"/>
                          <a:pt x="129054" y="61225"/>
                        </a:cubicBezTo>
                        <a:cubicBezTo>
                          <a:pt x="129054" y="27380"/>
                          <a:pt x="101483" y="0"/>
                          <a:pt x="67828" y="0"/>
                        </a:cubicBezTo>
                        <a:cubicBezTo>
                          <a:pt x="33983" y="0"/>
                          <a:pt x="6603" y="27570"/>
                          <a:pt x="6603" y="61225"/>
                        </a:cubicBezTo>
                        <a:cubicBezTo>
                          <a:pt x="6603" y="92028"/>
                          <a:pt x="29610" y="117697"/>
                          <a:pt x="59272" y="121880"/>
                        </a:cubicBezTo>
                        <a:lnTo>
                          <a:pt x="59272" y="395303"/>
                        </a:lnTo>
                        <a:lnTo>
                          <a:pt x="8504" y="395303"/>
                        </a:lnTo>
                        <a:cubicBezTo>
                          <a:pt x="5652" y="395303"/>
                          <a:pt x="3180" y="396634"/>
                          <a:pt x="1469" y="398916"/>
                        </a:cubicBezTo>
                        <a:cubicBezTo>
                          <a:pt x="-52" y="401197"/>
                          <a:pt x="-432" y="404049"/>
                          <a:pt x="518" y="406711"/>
                        </a:cubicBezTo>
                        <a:lnTo>
                          <a:pt x="15159" y="447211"/>
                        </a:lnTo>
                        <a:cubicBezTo>
                          <a:pt x="16300" y="450634"/>
                          <a:pt x="19532" y="452916"/>
                          <a:pt x="23145" y="452916"/>
                        </a:cubicBezTo>
                        <a:lnTo>
                          <a:pt x="429476" y="452916"/>
                        </a:lnTo>
                        <a:cubicBezTo>
                          <a:pt x="433089" y="452916"/>
                          <a:pt x="436321" y="450634"/>
                          <a:pt x="437462" y="447211"/>
                        </a:cubicBezTo>
                        <a:lnTo>
                          <a:pt x="452103" y="406711"/>
                        </a:lnTo>
                        <a:cubicBezTo>
                          <a:pt x="453054" y="404049"/>
                          <a:pt x="452673" y="401197"/>
                          <a:pt x="451152" y="398916"/>
                        </a:cubicBezTo>
                        <a:close/>
                        <a:moveTo>
                          <a:pt x="67828" y="17113"/>
                        </a:moveTo>
                        <a:cubicBezTo>
                          <a:pt x="89314" y="17113"/>
                          <a:pt x="107187" y="32514"/>
                          <a:pt x="111180" y="52669"/>
                        </a:cubicBezTo>
                        <a:lnTo>
                          <a:pt x="76385" y="52669"/>
                        </a:lnTo>
                        <a:lnTo>
                          <a:pt x="76385" y="37648"/>
                        </a:lnTo>
                        <a:cubicBezTo>
                          <a:pt x="76385" y="32894"/>
                          <a:pt x="72582" y="29092"/>
                          <a:pt x="67828" y="29092"/>
                        </a:cubicBezTo>
                        <a:cubicBezTo>
                          <a:pt x="63075" y="29092"/>
                          <a:pt x="59272" y="32894"/>
                          <a:pt x="59272" y="37648"/>
                        </a:cubicBezTo>
                        <a:lnTo>
                          <a:pt x="59272" y="52669"/>
                        </a:lnTo>
                        <a:lnTo>
                          <a:pt x="24666" y="52669"/>
                        </a:lnTo>
                        <a:cubicBezTo>
                          <a:pt x="28659" y="32324"/>
                          <a:pt x="46532" y="17113"/>
                          <a:pt x="67828" y="17113"/>
                        </a:cubicBezTo>
                        <a:close/>
                        <a:moveTo>
                          <a:pt x="24666" y="69782"/>
                        </a:moveTo>
                        <a:lnTo>
                          <a:pt x="111180" y="69782"/>
                        </a:lnTo>
                        <a:cubicBezTo>
                          <a:pt x="107187" y="90127"/>
                          <a:pt x="89314" y="105338"/>
                          <a:pt x="67828" y="105338"/>
                        </a:cubicBezTo>
                        <a:cubicBezTo>
                          <a:pt x="46532" y="105338"/>
                          <a:pt x="28659" y="90127"/>
                          <a:pt x="24666" y="69782"/>
                        </a:cubicBezTo>
                        <a:close/>
                        <a:moveTo>
                          <a:pt x="423392" y="435803"/>
                        </a:moveTo>
                        <a:lnTo>
                          <a:pt x="29039" y="435803"/>
                        </a:lnTo>
                        <a:lnTo>
                          <a:pt x="20673" y="412416"/>
                        </a:lnTo>
                        <a:lnTo>
                          <a:pt x="431948" y="412416"/>
                        </a:lnTo>
                        <a:lnTo>
                          <a:pt x="423392" y="435803"/>
                        </a:lnTo>
                        <a:close/>
                      </a:path>
                    </a:pathLst>
                  </a:custGeom>
                  <a:grpFill/>
                  <a:ln w="1878" cap="flat">
                    <a:noFill/>
                    <a:prstDash val="solid"/>
                    <a:miter/>
                  </a:ln>
                </p:spPr>
                <p:txBody>
                  <a:bodyPr rtlCol="0" anchor="ctr"/>
                  <a:lstStyle/>
                  <a:p>
                    <a:endParaRPr lang="en-GB" noProof="0" dirty="0"/>
                  </a:p>
                </p:txBody>
              </p:sp>
              <p:sp>
                <p:nvSpPr>
                  <p:cNvPr id="163" name="Freihandform: Form 162">
                    <a:extLst>
                      <a:ext uri="{FF2B5EF4-FFF2-40B4-BE49-F238E27FC236}">
                        <a16:creationId xmlns:a16="http://schemas.microsoft.com/office/drawing/2014/main" id="{C3592105-BAFE-5CD9-4AF8-A500214534A2}"/>
                      </a:ext>
                    </a:extLst>
                  </p:cNvPr>
                  <p:cNvSpPr/>
                  <p:nvPr/>
                </p:nvSpPr>
                <p:spPr>
                  <a:xfrm>
                    <a:off x="5934129" y="3316936"/>
                    <a:ext cx="338830" cy="208774"/>
                  </a:xfrm>
                  <a:custGeom>
                    <a:avLst/>
                    <a:gdLst>
                      <a:gd name="connsiteX0" fmla="*/ 0 w 338830"/>
                      <a:gd name="connsiteY0" fmla="*/ 26239 h 208774"/>
                      <a:gd name="connsiteX1" fmla="*/ 190 w 338830"/>
                      <a:gd name="connsiteY1" fmla="*/ 115415 h 208774"/>
                      <a:gd name="connsiteX2" fmla="*/ 190 w 338830"/>
                      <a:gd name="connsiteY2" fmla="*/ 116746 h 208774"/>
                      <a:gd name="connsiteX3" fmla="*/ 31373 w 338830"/>
                      <a:gd name="connsiteY3" fmla="*/ 208775 h 208774"/>
                      <a:gd name="connsiteX4" fmla="*/ 292627 w 338830"/>
                      <a:gd name="connsiteY4" fmla="*/ 208775 h 208774"/>
                      <a:gd name="connsiteX5" fmla="*/ 303085 w 338830"/>
                      <a:gd name="connsiteY5" fmla="*/ 186338 h 208774"/>
                      <a:gd name="connsiteX6" fmla="*/ 337310 w 338830"/>
                      <a:gd name="connsiteY6" fmla="*/ 113704 h 208774"/>
                      <a:gd name="connsiteX7" fmla="*/ 338831 w 338830"/>
                      <a:gd name="connsiteY7" fmla="*/ 110662 h 208774"/>
                      <a:gd name="connsiteX8" fmla="*/ 303275 w 338830"/>
                      <a:gd name="connsiteY8" fmla="*/ 0 h 208774"/>
                      <a:gd name="connsiteX9" fmla="*/ 0 w 338830"/>
                      <a:gd name="connsiteY9" fmla="*/ 0 h 208774"/>
                      <a:gd name="connsiteX10" fmla="*/ 0 w 338830"/>
                      <a:gd name="connsiteY10" fmla="*/ 26239 h 208774"/>
                      <a:gd name="connsiteX11" fmla="*/ 314873 w 338830"/>
                      <a:gd name="connsiteY11" fmla="*/ 121500 h 208774"/>
                      <a:gd name="connsiteX12" fmla="*/ 308789 w 338830"/>
                      <a:gd name="connsiteY12" fmla="*/ 134430 h 208774"/>
                      <a:gd name="connsiteX13" fmla="*/ 24148 w 338830"/>
                      <a:gd name="connsiteY13" fmla="*/ 134430 h 208774"/>
                      <a:gd name="connsiteX14" fmla="*/ 19775 w 338830"/>
                      <a:gd name="connsiteY14" fmla="*/ 121500 h 208774"/>
                      <a:gd name="connsiteX15" fmla="*/ 314873 w 338830"/>
                      <a:gd name="connsiteY15" fmla="*/ 121500 h 208774"/>
                      <a:gd name="connsiteX16" fmla="*/ 287683 w 338830"/>
                      <a:gd name="connsiteY16" fmla="*/ 179303 h 208774"/>
                      <a:gd name="connsiteX17" fmla="*/ 281789 w 338830"/>
                      <a:gd name="connsiteY17" fmla="*/ 191852 h 208774"/>
                      <a:gd name="connsiteX18" fmla="*/ 43732 w 338830"/>
                      <a:gd name="connsiteY18" fmla="*/ 191852 h 208774"/>
                      <a:gd name="connsiteX19" fmla="*/ 30042 w 338830"/>
                      <a:gd name="connsiteY19" fmla="*/ 151542 h 208774"/>
                      <a:gd name="connsiteX20" fmla="*/ 300803 w 338830"/>
                      <a:gd name="connsiteY20" fmla="*/ 151542 h 208774"/>
                      <a:gd name="connsiteX21" fmla="*/ 287683 w 338830"/>
                      <a:gd name="connsiteY21" fmla="*/ 179303 h 208774"/>
                      <a:gd name="connsiteX22" fmla="*/ 290725 w 338830"/>
                      <a:gd name="connsiteY22" fmla="*/ 17113 h 208774"/>
                      <a:gd name="connsiteX23" fmla="*/ 318676 w 338830"/>
                      <a:gd name="connsiteY23" fmla="*/ 104387 h 208774"/>
                      <a:gd name="connsiteX24" fmla="*/ 251937 w 338830"/>
                      <a:gd name="connsiteY24" fmla="*/ 104387 h 208774"/>
                      <a:gd name="connsiteX25" fmla="*/ 251937 w 338830"/>
                      <a:gd name="connsiteY25" fmla="*/ 17113 h 208774"/>
                      <a:gd name="connsiteX26" fmla="*/ 290725 w 338830"/>
                      <a:gd name="connsiteY26" fmla="*/ 17113 h 208774"/>
                      <a:gd name="connsiteX27" fmla="*/ 234824 w 338830"/>
                      <a:gd name="connsiteY27" fmla="*/ 17113 h 208774"/>
                      <a:gd name="connsiteX28" fmla="*/ 234824 w 338830"/>
                      <a:gd name="connsiteY28" fmla="*/ 104387 h 208774"/>
                      <a:gd name="connsiteX29" fmla="*/ 174359 w 338830"/>
                      <a:gd name="connsiteY29" fmla="*/ 104387 h 208774"/>
                      <a:gd name="connsiteX30" fmla="*/ 174359 w 338830"/>
                      <a:gd name="connsiteY30" fmla="*/ 17113 h 208774"/>
                      <a:gd name="connsiteX31" fmla="*/ 234824 w 338830"/>
                      <a:gd name="connsiteY31" fmla="*/ 17113 h 208774"/>
                      <a:gd name="connsiteX32" fmla="*/ 157246 w 338830"/>
                      <a:gd name="connsiteY32" fmla="*/ 17113 h 208774"/>
                      <a:gd name="connsiteX33" fmla="*/ 157246 w 338830"/>
                      <a:gd name="connsiteY33" fmla="*/ 104387 h 208774"/>
                      <a:gd name="connsiteX34" fmla="*/ 97162 w 338830"/>
                      <a:gd name="connsiteY34" fmla="*/ 104387 h 208774"/>
                      <a:gd name="connsiteX35" fmla="*/ 97162 w 338830"/>
                      <a:gd name="connsiteY35" fmla="*/ 17113 h 208774"/>
                      <a:gd name="connsiteX36" fmla="*/ 157246 w 338830"/>
                      <a:gd name="connsiteY36" fmla="*/ 17113 h 208774"/>
                      <a:gd name="connsiteX37" fmla="*/ 79859 w 338830"/>
                      <a:gd name="connsiteY37" fmla="*/ 17113 h 208774"/>
                      <a:gd name="connsiteX38" fmla="*/ 79859 w 338830"/>
                      <a:gd name="connsiteY38" fmla="*/ 104387 h 208774"/>
                      <a:gd name="connsiteX39" fmla="*/ 17303 w 338830"/>
                      <a:gd name="connsiteY39" fmla="*/ 104387 h 208774"/>
                      <a:gd name="connsiteX40" fmla="*/ 17113 w 338830"/>
                      <a:gd name="connsiteY40" fmla="*/ 26239 h 208774"/>
                      <a:gd name="connsiteX41" fmla="*/ 17113 w 338830"/>
                      <a:gd name="connsiteY41" fmla="*/ 17113 h 208774"/>
                      <a:gd name="connsiteX42" fmla="*/ 79859 w 338830"/>
                      <a:gd name="connsiteY42" fmla="*/ 17113 h 208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38830" h="208774">
                        <a:moveTo>
                          <a:pt x="0" y="26239"/>
                        </a:moveTo>
                        <a:cubicBezTo>
                          <a:pt x="0" y="55901"/>
                          <a:pt x="190" y="85754"/>
                          <a:pt x="190" y="115415"/>
                        </a:cubicBezTo>
                        <a:lnTo>
                          <a:pt x="190" y="116746"/>
                        </a:lnTo>
                        <a:lnTo>
                          <a:pt x="31373" y="208775"/>
                        </a:lnTo>
                        <a:lnTo>
                          <a:pt x="292627" y="208775"/>
                        </a:lnTo>
                        <a:lnTo>
                          <a:pt x="303085" y="186338"/>
                        </a:lnTo>
                        <a:cubicBezTo>
                          <a:pt x="314493" y="162190"/>
                          <a:pt x="325901" y="137852"/>
                          <a:pt x="337310" y="113704"/>
                        </a:cubicBezTo>
                        <a:lnTo>
                          <a:pt x="338831" y="110662"/>
                        </a:lnTo>
                        <a:lnTo>
                          <a:pt x="303275" y="0"/>
                        </a:lnTo>
                        <a:lnTo>
                          <a:pt x="0" y="0"/>
                        </a:lnTo>
                        <a:lnTo>
                          <a:pt x="0" y="26239"/>
                        </a:lnTo>
                        <a:close/>
                        <a:moveTo>
                          <a:pt x="314873" y="121500"/>
                        </a:moveTo>
                        <a:cubicBezTo>
                          <a:pt x="312782" y="125873"/>
                          <a:pt x="310880" y="130056"/>
                          <a:pt x="308789" y="134430"/>
                        </a:cubicBezTo>
                        <a:lnTo>
                          <a:pt x="24148" y="134430"/>
                        </a:lnTo>
                        <a:lnTo>
                          <a:pt x="19775" y="121500"/>
                        </a:lnTo>
                        <a:lnTo>
                          <a:pt x="314873" y="121500"/>
                        </a:lnTo>
                        <a:close/>
                        <a:moveTo>
                          <a:pt x="287683" y="179303"/>
                        </a:moveTo>
                        <a:lnTo>
                          <a:pt x="281789" y="191852"/>
                        </a:lnTo>
                        <a:lnTo>
                          <a:pt x="43732" y="191852"/>
                        </a:lnTo>
                        <a:lnTo>
                          <a:pt x="30042" y="151542"/>
                        </a:lnTo>
                        <a:lnTo>
                          <a:pt x="300803" y="151542"/>
                        </a:lnTo>
                        <a:cubicBezTo>
                          <a:pt x="296430" y="160669"/>
                          <a:pt x="292056" y="169986"/>
                          <a:pt x="287683" y="179303"/>
                        </a:cubicBezTo>
                        <a:close/>
                        <a:moveTo>
                          <a:pt x="290725" y="17113"/>
                        </a:moveTo>
                        <a:lnTo>
                          <a:pt x="318676" y="104387"/>
                        </a:lnTo>
                        <a:lnTo>
                          <a:pt x="251937" y="104387"/>
                        </a:lnTo>
                        <a:lnTo>
                          <a:pt x="251937" y="17113"/>
                        </a:lnTo>
                        <a:lnTo>
                          <a:pt x="290725" y="17113"/>
                        </a:lnTo>
                        <a:close/>
                        <a:moveTo>
                          <a:pt x="234824" y="17113"/>
                        </a:moveTo>
                        <a:lnTo>
                          <a:pt x="234824" y="104387"/>
                        </a:lnTo>
                        <a:lnTo>
                          <a:pt x="174359" y="104387"/>
                        </a:lnTo>
                        <a:lnTo>
                          <a:pt x="174359" y="17113"/>
                        </a:lnTo>
                        <a:lnTo>
                          <a:pt x="234824" y="17113"/>
                        </a:lnTo>
                        <a:close/>
                        <a:moveTo>
                          <a:pt x="157246" y="17113"/>
                        </a:moveTo>
                        <a:lnTo>
                          <a:pt x="157246" y="104387"/>
                        </a:lnTo>
                        <a:lnTo>
                          <a:pt x="97162" y="104387"/>
                        </a:lnTo>
                        <a:lnTo>
                          <a:pt x="97162" y="17113"/>
                        </a:lnTo>
                        <a:lnTo>
                          <a:pt x="157246" y="17113"/>
                        </a:lnTo>
                        <a:close/>
                        <a:moveTo>
                          <a:pt x="79859" y="17113"/>
                        </a:moveTo>
                        <a:lnTo>
                          <a:pt x="79859" y="104387"/>
                        </a:lnTo>
                        <a:lnTo>
                          <a:pt x="17303" y="104387"/>
                        </a:lnTo>
                        <a:cubicBezTo>
                          <a:pt x="17303" y="78338"/>
                          <a:pt x="17113" y="52289"/>
                          <a:pt x="17113" y="26239"/>
                        </a:cubicBezTo>
                        <a:lnTo>
                          <a:pt x="17113" y="17113"/>
                        </a:lnTo>
                        <a:lnTo>
                          <a:pt x="79859" y="17113"/>
                        </a:lnTo>
                        <a:close/>
                      </a:path>
                    </a:pathLst>
                  </a:custGeom>
                  <a:grpFill/>
                  <a:ln w="1878" cap="flat">
                    <a:noFill/>
                    <a:prstDash val="solid"/>
                    <a:miter/>
                  </a:ln>
                </p:spPr>
                <p:txBody>
                  <a:bodyPr rtlCol="0" anchor="ctr"/>
                  <a:lstStyle/>
                  <a:p>
                    <a:endParaRPr lang="en-GB" noProof="0" dirty="0"/>
                  </a:p>
                </p:txBody>
              </p:sp>
            </p:grpSp>
          </p:grpSp>
        </p:grpSp>
      </p:grpSp>
      <p:sp>
        <p:nvSpPr>
          <p:cNvPr id="3" name="Rechteck 2">
            <a:extLst>
              <a:ext uri="{FF2B5EF4-FFF2-40B4-BE49-F238E27FC236}">
                <a16:creationId xmlns:a16="http://schemas.microsoft.com/office/drawing/2014/main" id="{D5BB5224-6B72-A06A-C460-90EE7F574BD8}"/>
              </a:ext>
            </a:extLst>
          </p:cNvPr>
          <p:cNvSpPr/>
          <p:nvPr/>
        </p:nvSpPr>
        <p:spPr>
          <a:xfrm>
            <a:off x="2232727" y="1834629"/>
            <a:ext cx="1565687" cy="1677148"/>
          </a:xfrm>
          <a:prstGeom prst="rect">
            <a:avLst/>
          </a:prstGeom>
          <a:solidFill>
            <a:schemeClr val="accent3">
              <a:lumMod val="60000"/>
              <a:lumOff val="40000"/>
            </a:schemeClr>
          </a:solidFill>
          <a:ln>
            <a:solidFill>
              <a:schemeClr val="bg1"/>
            </a:solidFill>
          </a:ln>
        </p:spPr>
        <p:txBody>
          <a:bodyPr lIns="0" tIns="0" rIns="0" bIns="0" rtlCol="0" anchor="ctr">
            <a:noAutofit/>
          </a:bodyPr>
          <a:lstStyle/>
          <a:p>
            <a:pPr marL="207169" indent="-207169" algn="ctr" defTabSz="247650">
              <a:spcBef>
                <a:spcPts val="225"/>
              </a:spcBef>
              <a:buFont typeface="Symbol" pitchFamily="18" charset="2"/>
              <a:buChar char="-"/>
            </a:pPr>
            <a:endParaRPr lang="en-GB" sz="1350" kern="0" noProof="0" dirty="0">
              <a:solidFill>
                <a:srgbClr val="41474C"/>
              </a:solidFill>
              <a:latin typeface="Corbel" pitchFamily="34" charset="0"/>
            </a:endParaRPr>
          </a:p>
        </p:txBody>
      </p:sp>
      <p:sp>
        <p:nvSpPr>
          <p:cNvPr id="96" name="Line 65">
            <a:extLst>
              <a:ext uri="{FF2B5EF4-FFF2-40B4-BE49-F238E27FC236}">
                <a16:creationId xmlns:a16="http://schemas.microsoft.com/office/drawing/2014/main" id="{D59AA0B7-FBA2-BEA6-F327-EA6453A81D7E}"/>
              </a:ext>
            </a:extLst>
          </p:cNvPr>
          <p:cNvSpPr>
            <a:spLocks noChangeShapeType="1"/>
          </p:cNvSpPr>
          <p:nvPr/>
        </p:nvSpPr>
        <p:spPr bwMode="auto">
          <a:xfrm>
            <a:off x="6026020" y="2122213"/>
            <a:ext cx="1557868" cy="0"/>
          </a:xfrm>
          <a:prstGeom prst="line">
            <a:avLst/>
          </a:prstGeom>
          <a:noFill/>
          <a:ln w="25400">
            <a:solidFill>
              <a:schemeClr val="accent5"/>
            </a:solidFill>
            <a:round/>
            <a:headEnd type="none" w="med" len="med"/>
            <a:tailEnd type="none" w="med" len="med"/>
          </a:ln>
        </p:spPr>
        <p:txBody>
          <a:bodyPr wrap="square" lIns="62308" tIns="29908" rIns="62308" bIns="29908">
            <a:noAutofit/>
          </a:bodyPr>
          <a:lstStyle/>
          <a:p>
            <a:endParaRPr lang="en-GB" sz="761" noProof="0" dirty="0">
              <a:ln>
                <a:solidFill>
                  <a:schemeClr val="tx1"/>
                </a:solidFill>
                <a:prstDash val="solid"/>
              </a:ln>
            </a:endParaRPr>
          </a:p>
        </p:txBody>
      </p:sp>
      <p:sp>
        <p:nvSpPr>
          <p:cNvPr id="2" name="Titel 1">
            <a:extLst>
              <a:ext uri="{FF2B5EF4-FFF2-40B4-BE49-F238E27FC236}">
                <a16:creationId xmlns:a16="http://schemas.microsoft.com/office/drawing/2014/main" id="{727F7A3C-F8F3-B3E4-D1CE-F5DB928D5D4D}"/>
              </a:ext>
            </a:extLst>
          </p:cNvPr>
          <p:cNvSpPr>
            <a:spLocks noGrp="1"/>
          </p:cNvSpPr>
          <p:nvPr>
            <p:ph type="title"/>
          </p:nvPr>
        </p:nvSpPr>
        <p:spPr>
          <a:xfrm>
            <a:off x="520699" y="432001"/>
            <a:ext cx="7880351" cy="386822"/>
          </a:xfrm>
        </p:spPr>
        <p:txBody>
          <a:bodyPr/>
          <a:lstStyle/>
          <a:p>
            <a:r>
              <a:rPr lang="en-GB" noProof="0" dirty="0"/>
              <a:t>Digitalisation in the Glass collection </a:t>
            </a:r>
            <a:r>
              <a:rPr lang="en-GB" dirty="0"/>
              <a:t>and recycling </a:t>
            </a:r>
            <a:r>
              <a:rPr lang="en-GB" noProof="0" dirty="0"/>
              <a:t>process</a:t>
            </a:r>
          </a:p>
        </p:txBody>
      </p:sp>
      <p:sp>
        <p:nvSpPr>
          <p:cNvPr id="124" name="Rechteck 123">
            <a:extLst>
              <a:ext uri="{FF2B5EF4-FFF2-40B4-BE49-F238E27FC236}">
                <a16:creationId xmlns:a16="http://schemas.microsoft.com/office/drawing/2014/main" id="{6D483CEF-FCB9-210D-32A5-2D51BFE63610}"/>
              </a:ext>
            </a:extLst>
          </p:cNvPr>
          <p:cNvSpPr/>
          <p:nvPr/>
        </p:nvSpPr>
        <p:spPr>
          <a:xfrm>
            <a:off x="5857331" y="1832634"/>
            <a:ext cx="756000" cy="571064"/>
          </a:xfrm>
          <a:prstGeom prst="rect">
            <a:avLst/>
          </a:prstGeom>
          <a:solidFill>
            <a:schemeClr val="accent3">
              <a:lumMod val="60000"/>
              <a:lumOff val="40000"/>
            </a:schemeClr>
          </a:solidFill>
          <a:ln>
            <a:solidFill>
              <a:schemeClr val="bg1"/>
            </a:solidFill>
          </a:ln>
        </p:spPr>
        <p:txBody>
          <a:bodyPr lIns="0" tIns="0" rIns="0" bIns="0" rtlCol="0" anchor="ctr">
            <a:noAutofit/>
          </a:bodyPr>
          <a:lstStyle/>
          <a:p>
            <a:pPr marL="207169" indent="-207169" algn="ctr" defTabSz="247650">
              <a:spcBef>
                <a:spcPts val="225"/>
              </a:spcBef>
              <a:buFont typeface="Symbol" pitchFamily="18" charset="2"/>
              <a:buChar char="-"/>
            </a:pPr>
            <a:endParaRPr lang="en-GB" sz="1350" kern="0" noProof="0" dirty="0">
              <a:solidFill>
                <a:srgbClr val="41474C"/>
              </a:solidFill>
              <a:latin typeface="Corbel" pitchFamily="34" charset="0"/>
            </a:endParaRPr>
          </a:p>
        </p:txBody>
      </p:sp>
      <p:sp>
        <p:nvSpPr>
          <p:cNvPr id="140" name="Rechteck 139">
            <a:extLst>
              <a:ext uri="{FF2B5EF4-FFF2-40B4-BE49-F238E27FC236}">
                <a16:creationId xmlns:a16="http://schemas.microsoft.com/office/drawing/2014/main" id="{4C79D08D-AC01-54A6-2524-9990CAFE0D9D}"/>
              </a:ext>
            </a:extLst>
          </p:cNvPr>
          <p:cNvSpPr/>
          <p:nvPr/>
        </p:nvSpPr>
        <p:spPr>
          <a:xfrm>
            <a:off x="7715562" y="1814684"/>
            <a:ext cx="756000" cy="1697089"/>
          </a:xfrm>
          <a:prstGeom prst="rect">
            <a:avLst/>
          </a:prstGeom>
          <a:solidFill>
            <a:schemeClr val="accent3">
              <a:lumMod val="60000"/>
              <a:lumOff val="40000"/>
            </a:schemeClr>
          </a:solidFill>
          <a:ln>
            <a:solidFill>
              <a:schemeClr val="bg1"/>
            </a:solidFill>
          </a:ln>
        </p:spPr>
        <p:txBody>
          <a:bodyPr lIns="0" tIns="0" rIns="0" bIns="0" rtlCol="0" anchor="ctr">
            <a:noAutofit/>
          </a:bodyPr>
          <a:lstStyle/>
          <a:p>
            <a:pPr marL="207169" indent="-207169" algn="ctr" defTabSz="247650">
              <a:spcBef>
                <a:spcPts val="225"/>
              </a:spcBef>
              <a:buFont typeface="Symbol" pitchFamily="18" charset="2"/>
              <a:buChar char="-"/>
            </a:pPr>
            <a:endParaRPr lang="en-GB" sz="1350" kern="0" noProof="0" dirty="0">
              <a:solidFill>
                <a:srgbClr val="41474C"/>
              </a:solidFill>
              <a:latin typeface="Corbel" pitchFamily="34" charset="0"/>
            </a:endParaRPr>
          </a:p>
        </p:txBody>
      </p:sp>
      <p:sp>
        <p:nvSpPr>
          <p:cNvPr id="75" name="Line 65">
            <a:extLst>
              <a:ext uri="{FF2B5EF4-FFF2-40B4-BE49-F238E27FC236}">
                <a16:creationId xmlns:a16="http://schemas.microsoft.com/office/drawing/2014/main" id="{407AC1FE-C8AD-43F9-8493-92C364221A2B}"/>
              </a:ext>
            </a:extLst>
          </p:cNvPr>
          <p:cNvSpPr>
            <a:spLocks noChangeShapeType="1"/>
          </p:cNvSpPr>
          <p:nvPr/>
        </p:nvSpPr>
        <p:spPr bwMode="auto">
          <a:xfrm>
            <a:off x="2700998" y="3209307"/>
            <a:ext cx="1618335" cy="7593"/>
          </a:xfrm>
          <a:prstGeom prst="line">
            <a:avLst/>
          </a:prstGeom>
          <a:noFill/>
          <a:ln w="25400">
            <a:solidFill>
              <a:schemeClr val="accent5"/>
            </a:solidFill>
            <a:round/>
            <a:headEnd type="none" w="med" len="med"/>
            <a:tailEnd type="none" w="med" len="med"/>
          </a:ln>
        </p:spPr>
        <p:txBody>
          <a:bodyPr wrap="square" lIns="62308" tIns="29908" rIns="62308" bIns="29908">
            <a:noAutofit/>
          </a:bodyPr>
          <a:lstStyle/>
          <a:p>
            <a:endParaRPr lang="en-GB" sz="761" noProof="0" dirty="0">
              <a:ln>
                <a:solidFill>
                  <a:schemeClr val="tx1"/>
                </a:solidFill>
                <a:prstDash val="solid"/>
              </a:ln>
            </a:endParaRPr>
          </a:p>
        </p:txBody>
      </p:sp>
      <p:sp>
        <p:nvSpPr>
          <p:cNvPr id="51" name="Line 65">
            <a:extLst>
              <a:ext uri="{FF2B5EF4-FFF2-40B4-BE49-F238E27FC236}">
                <a16:creationId xmlns:a16="http://schemas.microsoft.com/office/drawing/2014/main" id="{19945ECD-3407-2756-0BA0-032C9ECC7946}"/>
              </a:ext>
            </a:extLst>
          </p:cNvPr>
          <p:cNvSpPr>
            <a:spLocks noChangeShapeType="1"/>
          </p:cNvSpPr>
          <p:nvPr/>
        </p:nvSpPr>
        <p:spPr bwMode="auto">
          <a:xfrm>
            <a:off x="2700998" y="2345392"/>
            <a:ext cx="2004260" cy="1568"/>
          </a:xfrm>
          <a:prstGeom prst="line">
            <a:avLst/>
          </a:prstGeom>
          <a:noFill/>
          <a:ln w="25400">
            <a:solidFill>
              <a:schemeClr val="accent5"/>
            </a:solidFill>
            <a:round/>
            <a:headEnd type="none" w="med" len="med"/>
            <a:tailEnd type="none" w="med" len="med"/>
          </a:ln>
        </p:spPr>
        <p:txBody>
          <a:bodyPr wrap="square" lIns="62308" tIns="29908" rIns="62308" bIns="29908">
            <a:noAutofit/>
          </a:bodyPr>
          <a:lstStyle/>
          <a:p>
            <a:endParaRPr lang="en-GB" sz="761" noProof="0" dirty="0">
              <a:ln>
                <a:solidFill>
                  <a:schemeClr val="tx1"/>
                </a:solidFill>
                <a:prstDash val="solid"/>
              </a:ln>
            </a:endParaRPr>
          </a:p>
        </p:txBody>
      </p:sp>
      <p:sp>
        <p:nvSpPr>
          <p:cNvPr id="55" name="Chevron 17">
            <a:extLst>
              <a:ext uri="{FF2B5EF4-FFF2-40B4-BE49-F238E27FC236}">
                <a16:creationId xmlns:a16="http://schemas.microsoft.com/office/drawing/2014/main" id="{66F8AAC5-3613-8DD7-1AAA-F8F8D2B6E794}"/>
              </a:ext>
            </a:extLst>
          </p:cNvPr>
          <p:cNvSpPr/>
          <p:nvPr/>
        </p:nvSpPr>
        <p:spPr>
          <a:xfrm>
            <a:off x="1997725" y="1165225"/>
            <a:ext cx="972000" cy="287220"/>
          </a:xfrm>
          <a:prstGeom prst="chevron">
            <a:avLst/>
          </a:prstGeom>
          <a:solidFill>
            <a:schemeClr val="accent1"/>
          </a:solidFill>
          <a:ln>
            <a:solidFill>
              <a:srgbClr val="009252"/>
            </a:solidFill>
          </a:ln>
        </p:spPr>
        <p:txBody>
          <a:bodyPr lIns="0" tIns="0" rIns="0" bIns="0" rtlCol="0" anchor="ctr">
            <a:noAutofit/>
          </a:bodyPr>
          <a:lstStyle/>
          <a:p>
            <a:pPr algn="ctr" defTabSz="247650">
              <a:spcBef>
                <a:spcPts val="225"/>
              </a:spcBef>
            </a:pPr>
            <a:r>
              <a:rPr lang="en-GB" sz="800" kern="0" noProof="0" dirty="0">
                <a:solidFill>
                  <a:schemeClr val="bg1"/>
                </a:solidFill>
                <a:latin typeface="Corbel" pitchFamily="34" charset="0"/>
              </a:rPr>
              <a:t>collection infrastructure</a:t>
            </a:r>
          </a:p>
        </p:txBody>
      </p:sp>
      <p:grpSp>
        <p:nvGrpSpPr>
          <p:cNvPr id="57" name="Gruppieren 56">
            <a:extLst>
              <a:ext uri="{FF2B5EF4-FFF2-40B4-BE49-F238E27FC236}">
                <a16:creationId xmlns:a16="http://schemas.microsoft.com/office/drawing/2014/main" id="{442615F3-AB5B-B63B-099C-ADBF71408B62}"/>
              </a:ext>
            </a:extLst>
          </p:cNvPr>
          <p:cNvGrpSpPr/>
          <p:nvPr/>
        </p:nvGrpSpPr>
        <p:grpSpPr>
          <a:xfrm>
            <a:off x="4802644" y="1152033"/>
            <a:ext cx="972000" cy="306621"/>
            <a:chOff x="4715161" y="1709463"/>
            <a:chExt cx="1053141" cy="408828"/>
          </a:xfrm>
          <a:solidFill>
            <a:schemeClr val="accent1"/>
          </a:solidFill>
        </p:grpSpPr>
        <p:sp>
          <p:nvSpPr>
            <p:cNvPr id="58" name="Chevron 95">
              <a:extLst>
                <a:ext uri="{FF2B5EF4-FFF2-40B4-BE49-F238E27FC236}">
                  <a16:creationId xmlns:a16="http://schemas.microsoft.com/office/drawing/2014/main" id="{676A42BE-AD41-D227-58A5-B3BAE3C6A2F4}"/>
                </a:ext>
              </a:extLst>
            </p:cNvPr>
            <p:cNvSpPr/>
            <p:nvPr/>
          </p:nvSpPr>
          <p:spPr>
            <a:xfrm>
              <a:off x="4715161" y="1732767"/>
              <a:ext cx="1053141" cy="382960"/>
            </a:xfrm>
            <a:prstGeom prst="chevron">
              <a:avLst/>
            </a:prstGeom>
            <a:grpFill/>
            <a:ln>
              <a:solidFill>
                <a:srgbClr val="009252"/>
              </a:solidFill>
            </a:ln>
          </p:spPr>
          <p:txBody>
            <a:bodyPr lIns="0" tIns="0" rIns="0" bIns="0" rtlCol="0" anchor="ctr">
              <a:noAutofit/>
            </a:bodyPr>
            <a:lstStyle/>
            <a:p>
              <a:pPr marL="207169" indent="-207169" algn="ctr" defTabSz="247650">
                <a:spcBef>
                  <a:spcPts val="225"/>
                </a:spcBef>
                <a:buFont typeface="Symbol" pitchFamily="18" charset="2"/>
                <a:buChar char="-"/>
              </a:pPr>
              <a:endParaRPr lang="en-GB" sz="1050" kern="0" noProof="0" dirty="0">
                <a:solidFill>
                  <a:schemeClr val="bg1"/>
                </a:solidFill>
                <a:latin typeface="Corbel" pitchFamily="34" charset="0"/>
              </a:endParaRPr>
            </a:p>
          </p:txBody>
        </p:sp>
        <p:sp>
          <p:nvSpPr>
            <p:cNvPr id="59" name="Text Box 16">
              <a:extLst>
                <a:ext uri="{FF2B5EF4-FFF2-40B4-BE49-F238E27FC236}">
                  <a16:creationId xmlns:a16="http://schemas.microsoft.com/office/drawing/2014/main" id="{9CDBC5C0-D728-4DCE-3CC4-4DD7B64A7C0F}"/>
                </a:ext>
              </a:extLst>
            </p:cNvPr>
            <p:cNvSpPr txBox="1">
              <a:spLocks noChangeArrowheads="1"/>
            </p:cNvSpPr>
            <p:nvPr/>
          </p:nvSpPr>
          <p:spPr bwMode="auto">
            <a:xfrm>
              <a:off x="4716267" y="1709463"/>
              <a:ext cx="1013249" cy="408828"/>
            </a:xfrm>
            <a:prstGeom prst="rect">
              <a:avLst/>
            </a:prstGeom>
            <a:noFill/>
            <a:ln w="12700">
              <a:noFill/>
              <a:miter lim="800000"/>
              <a:headEnd/>
              <a:tailEnd/>
            </a:ln>
          </p:spPr>
          <p:txBody>
            <a:bodyPr lIns="62308" tIns="29908" rIns="62308" bIns="29908" anchor="ctr">
              <a:spAutoFit/>
            </a:bodyPr>
            <a:lstStyle/>
            <a:p>
              <a:pPr algn="ctr">
                <a:spcBef>
                  <a:spcPct val="50000"/>
                </a:spcBef>
              </a:pPr>
              <a:r>
                <a:rPr lang="en-GB" sz="800" kern="0" dirty="0">
                  <a:solidFill>
                    <a:schemeClr val="bg1"/>
                  </a:solidFill>
                  <a:latin typeface="Corbel" pitchFamily="34" charset="0"/>
                </a:rPr>
                <a:t>transportation</a:t>
              </a:r>
              <a:br>
                <a:rPr lang="en-GB" sz="800" kern="0" dirty="0">
                  <a:solidFill>
                    <a:schemeClr val="bg1"/>
                  </a:solidFill>
                  <a:latin typeface="Corbel" pitchFamily="34" charset="0"/>
                </a:rPr>
              </a:br>
              <a:r>
                <a:rPr lang="en-GB" sz="800" kern="0" dirty="0">
                  <a:solidFill>
                    <a:schemeClr val="bg1"/>
                  </a:solidFill>
                  <a:latin typeface="Corbel" pitchFamily="34" charset="0"/>
                </a:rPr>
                <a:t>(optional)</a:t>
              </a:r>
            </a:p>
          </p:txBody>
        </p:sp>
      </p:grpSp>
      <p:grpSp>
        <p:nvGrpSpPr>
          <p:cNvPr id="60" name="Gruppieren 59">
            <a:extLst>
              <a:ext uri="{FF2B5EF4-FFF2-40B4-BE49-F238E27FC236}">
                <a16:creationId xmlns:a16="http://schemas.microsoft.com/office/drawing/2014/main" id="{B1A5CCF4-A3F8-EBE8-DEC5-BABFD53B4600}"/>
              </a:ext>
            </a:extLst>
          </p:cNvPr>
          <p:cNvGrpSpPr/>
          <p:nvPr/>
        </p:nvGrpSpPr>
        <p:grpSpPr>
          <a:xfrm>
            <a:off x="5737617" y="1158625"/>
            <a:ext cx="972000" cy="293819"/>
            <a:chOff x="5851685" y="1710816"/>
            <a:chExt cx="1053141" cy="391759"/>
          </a:xfrm>
          <a:solidFill>
            <a:schemeClr val="accent1"/>
          </a:solidFill>
        </p:grpSpPr>
        <p:sp>
          <p:nvSpPr>
            <p:cNvPr id="61" name="Chevron 101">
              <a:extLst>
                <a:ext uri="{FF2B5EF4-FFF2-40B4-BE49-F238E27FC236}">
                  <a16:creationId xmlns:a16="http://schemas.microsoft.com/office/drawing/2014/main" id="{76F4B53B-A853-C1E5-48FA-2CD2E5909B3C}"/>
                </a:ext>
              </a:extLst>
            </p:cNvPr>
            <p:cNvSpPr/>
            <p:nvPr/>
          </p:nvSpPr>
          <p:spPr>
            <a:xfrm>
              <a:off x="5851685" y="1719615"/>
              <a:ext cx="1053141" cy="382960"/>
            </a:xfrm>
            <a:prstGeom prst="chevron">
              <a:avLst/>
            </a:prstGeom>
            <a:grpFill/>
            <a:ln>
              <a:solidFill>
                <a:srgbClr val="009252"/>
              </a:solidFill>
            </a:ln>
          </p:spPr>
          <p:txBody>
            <a:bodyPr lIns="0" tIns="0" rIns="0" bIns="0" rtlCol="0" anchor="ctr">
              <a:noAutofit/>
            </a:bodyPr>
            <a:lstStyle/>
            <a:p>
              <a:pPr marL="207169" indent="-207169" algn="ctr" defTabSz="247650">
                <a:spcBef>
                  <a:spcPts val="225"/>
                </a:spcBef>
                <a:buFont typeface="Symbol" pitchFamily="18" charset="2"/>
                <a:buChar char="-"/>
              </a:pPr>
              <a:endParaRPr lang="en-GB" sz="1050" kern="0" noProof="0" dirty="0">
                <a:solidFill>
                  <a:schemeClr val="bg1"/>
                </a:solidFill>
                <a:latin typeface="Corbel" pitchFamily="34" charset="0"/>
              </a:endParaRPr>
            </a:p>
          </p:txBody>
        </p:sp>
        <p:sp>
          <p:nvSpPr>
            <p:cNvPr id="62" name="Text Box 17">
              <a:extLst>
                <a:ext uri="{FF2B5EF4-FFF2-40B4-BE49-F238E27FC236}">
                  <a16:creationId xmlns:a16="http://schemas.microsoft.com/office/drawing/2014/main" id="{D5CBF434-CF34-6251-5722-A115F83BEE80}"/>
                </a:ext>
              </a:extLst>
            </p:cNvPr>
            <p:cNvSpPr txBox="1">
              <a:spLocks noChangeArrowheads="1"/>
            </p:cNvSpPr>
            <p:nvPr/>
          </p:nvSpPr>
          <p:spPr bwMode="auto">
            <a:xfrm>
              <a:off x="5875548" y="1710816"/>
              <a:ext cx="1013249" cy="384207"/>
            </a:xfrm>
            <a:prstGeom prst="rect">
              <a:avLst/>
            </a:prstGeom>
            <a:noFill/>
            <a:ln w="12700">
              <a:noFill/>
              <a:miter lim="800000"/>
              <a:headEnd/>
              <a:tailEnd/>
            </a:ln>
          </p:spPr>
          <p:txBody>
            <a:bodyPr lIns="62308" tIns="29908" rIns="62308" bIns="29908" anchor="ctr">
              <a:spAutoFit/>
            </a:bodyPr>
            <a:lstStyle/>
            <a:p>
              <a:pPr algn="ctr">
                <a:spcBef>
                  <a:spcPct val="50000"/>
                </a:spcBef>
              </a:pPr>
              <a:r>
                <a:rPr lang="en-GB" sz="800" kern="0" dirty="0">
                  <a:solidFill>
                    <a:schemeClr val="bg1"/>
                  </a:solidFill>
                  <a:latin typeface="Corbel" pitchFamily="34" charset="0"/>
                </a:rPr>
                <a:t>storage</a:t>
              </a:r>
              <a:r>
                <a:rPr lang="en-GB" sz="680" noProof="0" dirty="0">
                  <a:solidFill>
                    <a:schemeClr val="bg1"/>
                  </a:solidFill>
                </a:rPr>
                <a:t> </a:t>
              </a:r>
              <a:br>
                <a:rPr lang="en-GB" sz="680" noProof="0" dirty="0">
                  <a:solidFill>
                    <a:schemeClr val="bg1"/>
                  </a:solidFill>
                </a:rPr>
              </a:br>
              <a:r>
                <a:rPr lang="en-GB" sz="680" noProof="0" dirty="0">
                  <a:solidFill>
                    <a:schemeClr val="bg1"/>
                  </a:solidFill>
                </a:rPr>
                <a:t>(optional)</a:t>
              </a:r>
            </a:p>
          </p:txBody>
        </p:sp>
      </p:grpSp>
      <p:grpSp>
        <p:nvGrpSpPr>
          <p:cNvPr id="63" name="Gruppieren 62">
            <a:extLst>
              <a:ext uri="{FF2B5EF4-FFF2-40B4-BE49-F238E27FC236}">
                <a16:creationId xmlns:a16="http://schemas.microsoft.com/office/drawing/2014/main" id="{2CF8EBF1-0027-13E1-8EEC-F1CE10E9B186}"/>
              </a:ext>
            </a:extLst>
          </p:cNvPr>
          <p:cNvGrpSpPr/>
          <p:nvPr/>
        </p:nvGrpSpPr>
        <p:grpSpPr>
          <a:xfrm>
            <a:off x="6672590" y="1165225"/>
            <a:ext cx="972000" cy="287220"/>
            <a:chOff x="6988209" y="1719615"/>
            <a:chExt cx="1053141" cy="382960"/>
          </a:xfrm>
          <a:solidFill>
            <a:schemeClr val="accent1"/>
          </a:solidFill>
        </p:grpSpPr>
        <p:sp>
          <p:nvSpPr>
            <p:cNvPr id="64" name="Chevron 102">
              <a:extLst>
                <a:ext uri="{FF2B5EF4-FFF2-40B4-BE49-F238E27FC236}">
                  <a16:creationId xmlns:a16="http://schemas.microsoft.com/office/drawing/2014/main" id="{C5A23E16-1B8C-546F-80A8-79F8548F7B09}"/>
                </a:ext>
              </a:extLst>
            </p:cNvPr>
            <p:cNvSpPr/>
            <p:nvPr/>
          </p:nvSpPr>
          <p:spPr>
            <a:xfrm>
              <a:off x="6988209" y="1719615"/>
              <a:ext cx="1053141" cy="382960"/>
            </a:xfrm>
            <a:prstGeom prst="chevron">
              <a:avLst/>
            </a:prstGeom>
            <a:grpFill/>
            <a:ln>
              <a:noFill/>
            </a:ln>
          </p:spPr>
          <p:txBody>
            <a:bodyPr lIns="0" tIns="0" rIns="0" bIns="0" rtlCol="0" anchor="ctr">
              <a:noAutofit/>
            </a:bodyPr>
            <a:lstStyle/>
            <a:p>
              <a:pPr marL="207169" indent="-207169" algn="ctr" defTabSz="247650">
                <a:spcBef>
                  <a:spcPts val="225"/>
                </a:spcBef>
                <a:buFont typeface="Symbol" pitchFamily="18" charset="2"/>
                <a:buChar char="-"/>
              </a:pPr>
              <a:endParaRPr lang="en-GB" sz="1050" kern="0" noProof="0" dirty="0">
                <a:solidFill>
                  <a:schemeClr val="bg1"/>
                </a:solidFill>
                <a:latin typeface="Corbel" pitchFamily="34" charset="0"/>
              </a:endParaRPr>
            </a:p>
          </p:txBody>
        </p:sp>
        <p:sp>
          <p:nvSpPr>
            <p:cNvPr id="65" name="Text Box 19">
              <a:extLst>
                <a:ext uri="{FF2B5EF4-FFF2-40B4-BE49-F238E27FC236}">
                  <a16:creationId xmlns:a16="http://schemas.microsoft.com/office/drawing/2014/main" id="{7B85BAFF-2E2B-F059-65A6-3FE0B035028B}"/>
                </a:ext>
              </a:extLst>
            </p:cNvPr>
            <p:cNvSpPr txBox="1">
              <a:spLocks noChangeArrowheads="1"/>
            </p:cNvSpPr>
            <p:nvPr/>
          </p:nvSpPr>
          <p:spPr bwMode="auto">
            <a:xfrm>
              <a:off x="7075881" y="1780576"/>
              <a:ext cx="945699" cy="244681"/>
            </a:xfrm>
            <a:prstGeom prst="rect">
              <a:avLst/>
            </a:prstGeom>
            <a:noFill/>
            <a:ln w="12700">
              <a:noFill/>
              <a:miter lim="800000"/>
              <a:headEnd/>
              <a:tailEnd/>
            </a:ln>
          </p:spPr>
          <p:txBody>
            <a:bodyPr lIns="62308" tIns="29908" rIns="62308" bIns="29908" anchor="ctr">
              <a:spAutoFit/>
            </a:bodyPr>
            <a:lstStyle/>
            <a:p>
              <a:pPr algn="ctr">
                <a:spcBef>
                  <a:spcPct val="50000"/>
                </a:spcBef>
              </a:pPr>
              <a:r>
                <a:rPr lang="en-GB" sz="800" kern="0" dirty="0">
                  <a:solidFill>
                    <a:schemeClr val="bg1"/>
                  </a:solidFill>
                  <a:latin typeface="Corbel" pitchFamily="34" charset="0"/>
                </a:rPr>
                <a:t>transportation</a:t>
              </a:r>
            </a:p>
          </p:txBody>
        </p:sp>
      </p:grpSp>
      <p:grpSp>
        <p:nvGrpSpPr>
          <p:cNvPr id="66" name="Gruppieren 65">
            <a:extLst>
              <a:ext uri="{FF2B5EF4-FFF2-40B4-BE49-F238E27FC236}">
                <a16:creationId xmlns:a16="http://schemas.microsoft.com/office/drawing/2014/main" id="{A3986667-16C6-33A9-A2FC-0FD11F1DD421}"/>
              </a:ext>
            </a:extLst>
          </p:cNvPr>
          <p:cNvGrpSpPr/>
          <p:nvPr/>
        </p:nvGrpSpPr>
        <p:grpSpPr>
          <a:xfrm>
            <a:off x="2932697" y="1165450"/>
            <a:ext cx="972000" cy="287220"/>
            <a:chOff x="3578636" y="1719615"/>
            <a:chExt cx="1088205" cy="382960"/>
          </a:xfrm>
          <a:solidFill>
            <a:schemeClr val="accent1"/>
          </a:solidFill>
        </p:grpSpPr>
        <p:sp>
          <p:nvSpPr>
            <p:cNvPr id="67" name="Chevron 94">
              <a:extLst>
                <a:ext uri="{FF2B5EF4-FFF2-40B4-BE49-F238E27FC236}">
                  <a16:creationId xmlns:a16="http://schemas.microsoft.com/office/drawing/2014/main" id="{59BBF79A-CFFE-E9A1-55FA-11BC8264BD1E}"/>
                </a:ext>
              </a:extLst>
            </p:cNvPr>
            <p:cNvSpPr/>
            <p:nvPr/>
          </p:nvSpPr>
          <p:spPr>
            <a:xfrm>
              <a:off x="3578636" y="1719615"/>
              <a:ext cx="1053141" cy="382960"/>
            </a:xfrm>
            <a:prstGeom prst="chevron">
              <a:avLst/>
            </a:prstGeom>
            <a:solidFill>
              <a:schemeClr val="accent1"/>
            </a:solidFill>
            <a:ln>
              <a:solidFill>
                <a:srgbClr val="009252"/>
              </a:solidFill>
            </a:ln>
          </p:spPr>
          <p:txBody>
            <a:bodyPr lIns="0" tIns="0" rIns="0" bIns="0" rtlCol="0" anchor="ctr">
              <a:noAutofit/>
            </a:bodyPr>
            <a:lstStyle/>
            <a:p>
              <a:pPr marL="207169" indent="-207169" algn="ctr" defTabSz="247650">
                <a:spcBef>
                  <a:spcPts val="225"/>
                </a:spcBef>
                <a:buFont typeface="Symbol" pitchFamily="18" charset="2"/>
                <a:buChar char="-"/>
              </a:pPr>
              <a:endParaRPr lang="en-GB" sz="1050" kern="0" noProof="0" dirty="0">
                <a:solidFill>
                  <a:schemeClr val="bg1"/>
                </a:solidFill>
                <a:latin typeface="Corbel" pitchFamily="34" charset="0"/>
              </a:endParaRPr>
            </a:p>
          </p:txBody>
        </p:sp>
        <p:sp>
          <p:nvSpPr>
            <p:cNvPr id="68" name="Text Box 15">
              <a:extLst>
                <a:ext uri="{FF2B5EF4-FFF2-40B4-BE49-F238E27FC236}">
                  <a16:creationId xmlns:a16="http://schemas.microsoft.com/office/drawing/2014/main" id="{3EA4BA59-E03C-116B-B73D-EABF6DAF1306}"/>
                </a:ext>
              </a:extLst>
            </p:cNvPr>
            <p:cNvSpPr txBox="1">
              <a:spLocks noChangeArrowheads="1"/>
            </p:cNvSpPr>
            <p:nvPr/>
          </p:nvSpPr>
          <p:spPr bwMode="auto">
            <a:xfrm>
              <a:off x="3653592" y="1780579"/>
              <a:ext cx="1013249" cy="244681"/>
            </a:xfrm>
            <a:prstGeom prst="rect">
              <a:avLst/>
            </a:prstGeom>
            <a:noFill/>
            <a:ln w="12700">
              <a:noFill/>
              <a:miter lim="800000"/>
              <a:headEnd/>
              <a:tailEnd/>
            </a:ln>
          </p:spPr>
          <p:txBody>
            <a:bodyPr lIns="62308" tIns="29908" rIns="62308" bIns="29908" anchor="ctr">
              <a:spAutoFit/>
            </a:bodyPr>
            <a:lstStyle/>
            <a:p>
              <a:pPr algn="ctr">
                <a:spcBef>
                  <a:spcPct val="50000"/>
                </a:spcBef>
              </a:pPr>
              <a:r>
                <a:rPr lang="en-GB" sz="800" kern="0" dirty="0">
                  <a:solidFill>
                    <a:schemeClr val="bg1"/>
                  </a:solidFill>
                  <a:latin typeface="Corbel" pitchFamily="34" charset="0"/>
                </a:rPr>
                <a:t>collection</a:t>
              </a:r>
            </a:p>
          </p:txBody>
        </p:sp>
      </p:grpSp>
      <p:grpSp>
        <p:nvGrpSpPr>
          <p:cNvPr id="69" name="Gruppieren 68">
            <a:extLst>
              <a:ext uri="{FF2B5EF4-FFF2-40B4-BE49-F238E27FC236}">
                <a16:creationId xmlns:a16="http://schemas.microsoft.com/office/drawing/2014/main" id="{82BD4287-328C-B779-486E-10D6AE7C9EFC}"/>
              </a:ext>
            </a:extLst>
          </p:cNvPr>
          <p:cNvGrpSpPr/>
          <p:nvPr/>
        </p:nvGrpSpPr>
        <p:grpSpPr>
          <a:xfrm>
            <a:off x="7607562" y="1176188"/>
            <a:ext cx="972000" cy="287220"/>
            <a:chOff x="8127149" y="1721932"/>
            <a:chExt cx="1053141" cy="382960"/>
          </a:xfrm>
          <a:solidFill>
            <a:schemeClr val="accent1"/>
          </a:solidFill>
        </p:grpSpPr>
        <p:sp>
          <p:nvSpPr>
            <p:cNvPr id="70" name="Chevron 102">
              <a:extLst>
                <a:ext uri="{FF2B5EF4-FFF2-40B4-BE49-F238E27FC236}">
                  <a16:creationId xmlns:a16="http://schemas.microsoft.com/office/drawing/2014/main" id="{6D723EB0-EB2A-1C97-9C5B-6B440D5AA608}"/>
                </a:ext>
              </a:extLst>
            </p:cNvPr>
            <p:cNvSpPr/>
            <p:nvPr/>
          </p:nvSpPr>
          <p:spPr>
            <a:xfrm>
              <a:off x="8127149" y="1721932"/>
              <a:ext cx="1053141" cy="382960"/>
            </a:xfrm>
            <a:prstGeom prst="chevron">
              <a:avLst/>
            </a:prstGeom>
            <a:grpFill/>
            <a:ln>
              <a:noFill/>
            </a:ln>
          </p:spPr>
          <p:txBody>
            <a:bodyPr lIns="0" tIns="0" rIns="0" bIns="0" rtlCol="0" anchor="ctr">
              <a:noAutofit/>
            </a:bodyPr>
            <a:lstStyle/>
            <a:p>
              <a:pPr algn="ctr" defTabSz="247650">
                <a:spcBef>
                  <a:spcPts val="225"/>
                </a:spcBef>
              </a:pPr>
              <a:endParaRPr lang="en-GB" sz="675" noProof="0" dirty="0">
                <a:solidFill>
                  <a:schemeClr val="bg1"/>
                </a:solidFill>
              </a:endParaRPr>
            </a:p>
          </p:txBody>
        </p:sp>
        <p:sp>
          <p:nvSpPr>
            <p:cNvPr id="71" name="Text Box 19">
              <a:extLst>
                <a:ext uri="{FF2B5EF4-FFF2-40B4-BE49-F238E27FC236}">
                  <a16:creationId xmlns:a16="http://schemas.microsoft.com/office/drawing/2014/main" id="{33B12D28-EE87-F3FF-A566-F3F0D7F44DE5}"/>
                </a:ext>
              </a:extLst>
            </p:cNvPr>
            <p:cNvSpPr txBox="1">
              <a:spLocks noChangeArrowheads="1"/>
            </p:cNvSpPr>
            <p:nvPr/>
          </p:nvSpPr>
          <p:spPr bwMode="auto">
            <a:xfrm>
              <a:off x="8220609" y="1788756"/>
              <a:ext cx="945699" cy="244681"/>
            </a:xfrm>
            <a:prstGeom prst="rect">
              <a:avLst/>
            </a:prstGeom>
            <a:noFill/>
            <a:ln w="12700">
              <a:noFill/>
              <a:miter lim="800000"/>
              <a:headEnd/>
              <a:tailEnd/>
            </a:ln>
          </p:spPr>
          <p:txBody>
            <a:bodyPr lIns="62308" tIns="29908" rIns="62308" bIns="29908" anchor="ctr">
              <a:spAutoFit/>
            </a:bodyPr>
            <a:lstStyle/>
            <a:p>
              <a:pPr algn="ctr">
                <a:spcBef>
                  <a:spcPct val="50000"/>
                </a:spcBef>
              </a:pPr>
              <a:r>
                <a:rPr lang="en-GB" sz="800" kern="0" dirty="0">
                  <a:solidFill>
                    <a:schemeClr val="bg1"/>
                  </a:solidFill>
                  <a:latin typeface="Corbel" pitchFamily="34" charset="0"/>
                </a:rPr>
                <a:t>recycling</a:t>
              </a:r>
            </a:p>
          </p:txBody>
        </p:sp>
      </p:grpSp>
      <p:sp>
        <p:nvSpPr>
          <p:cNvPr id="7" name="Rechteck 6">
            <a:extLst>
              <a:ext uri="{FF2B5EF4-FFF2-40B4-BE49-F238E27FC236}">
                <a16:creationId xmlns:a16="http://schemas.microsoft.com/office/drawing/2014/main" id="{DBC701EC-BE35-60ED-0667-D7F2BD00FC71}"/>
              </a:ext>
            </a:extLst>
          </p:cNvPr>
          <p:cNvSpPr/>
          <p:nvPr/>
        </p:nvSpPr>
        <p:spPr>
          <a:xfrm>
            <a:off x="3246121" y="2125322"/>
            <a:ext cx="459000" cy="459000"/>
          </a:xfrm>
          <a:prstGeom prst="rect">
            <a:avLst/>
          </a:prstGeom>
          <a:noFill/>
          <a:ln>
            <a:noFill/>
          </a:ln>
        </p:spPr>
        <p:txBody>
          <a:bodyPr lIns="0" tIns="0" rIns="0" bIns="0" rtlCol="0" anchor="ctr">
            <a:noAutofit/>
          </a:bodyPr>
          <a:lstStyle/>
          <a:p>
            <a:pPr marL="207169" indent="-207169" algn="ctr" defTabSz="247650">
              <a:spcBef>
                <a:spcPts val="225"/>
              </a:spcBef>
              <a:buFont typeface="Symbol" pitchFamily="18" charset="2"/>
              <a:buChar char="-"/>
            </a:pPr>
            <a:endParaRPr lang="en-GB" sz="1350" kern="0" noProof="0" dirty="0">
              <a:solidFill>
                <a:srgbClr val="41474C"/>
              </a:solidFill>
              <a:latin typeface="Corbel" pitchFamily="34" charset="0"/>
            </a:endParaRPr>
          </a:p>
        </p:txBody>
      </p:sp>
      <p:sp>
        <p:nvSpPr>
          <p:cNvPr id="76" name="Rechteck 75">
            <a:extLst>
              <a:ext uri="{FF2B5EF4-FFF2-40B4-BE49-F238E27FC236}">
                <a16:creationId xmlns:a16="http://schemas.microsoft.com/office/drawing/2014/main" id="{FB414AB2-F0C6-1436-938B-95D64E13CB5A}"/>
              </a:ext>
            </a:extLst>
          </p:cNvPr>
          <p:cNvSpPr/>
          <p:nvPr/>
        </p:nvSpPr>
        <p:spPr>
          <a:xfrm>
            <a:off x="3290400" y="3030305"/>
            <a:ext cx="432000" cy="304056"/>
          </a:xfrm>
          <a:prstGeom prst="rect">
            <a:avLst/>
          </a:prstGeom>
          <a:solidFill>
            <a:schemeClr val="accent3">
              <a:lumMod val="60000"/>
              <a:lumOff val="40000"/>
            </a:schemeClr>
          </a:solidFill>
          <a:ln>
            <a:noFill/>
          </a:ln>
        </p:spPr>
        <p:txBody>
          <a:bodyPr lIns="0" tIns="0" rIns="0" bIns="0" rtlCol="0" anchor="ctr">
            <a:noAutofit/>
          </a:bodyPr>
          <a:lstStyle/>
          <a:p>
            <a:pPr marL="207169" indent="-207169" algn="ctr" defTabSz="247650">
              <a:spcBef>
                <a:spcPts val="225"/>
              </a:spcBef>
              <a:buFont typeface="Symbol" pitchFamily="18" charset="2"/>
              <a:buChar char="-"/>
            </a:pPr>
            <a:endParaRPr lang="en-GB" sz="1350" kern="0" noProof="0" dirty="0">
              <a:solidFill>
                <a:srgbClr val="41474C"/>
              </a:solidFill>
              <a:latin typeface="Corbel" pitchFamily="34" charset="0"/>
            </a:endParaRPr>
          </a:p>
        </p:txBody>
      </p:sp>
      <p:sp>
        <p:nvSpPr>
          <p:cNvPr id="78" name="Line 64">
            <a:extLst>
              <a:ext uri="{FF2B5EF4-FFF2-40B4-BE49-F238E27FC236}">
                <a16:creationId xmlns:a16="http://schemas.microsoft.com/office/drawing/2014/main" id="{4C04015B-60C9-4FE2-4080-C43982B817AB}"/>
              </a:ext>
            </a:extLst>
          </p:cNvPr>
          <p:cNvSpPr>
            <a:spLocks noChangeShapeType="1"/>
          </p:cNvSpPr>
          <p:nvPr/>
        </p:nvSpPr>
        <p:spPr bwMode="auto">
          <a:xfrm>
            <a:off x="4325250" y="2433393"/>
            <a:ext cx="0" cy="796500"/>
          </a:xfrm>
          <a:prstGeom prst="line">
            <a:avLst/>
          </a:prstGeom>
          <a:noFill/>
          <a:ln w="25400">
            <a:solidFill>
              <a:schemeClr val="accent5"/>
            </a:solidFill>
            <a:round/>
            <a:headEnd type="triangle" w="med" len="med"/>
            <a:tailEnd type="none" w="med" len="med"/>
          </a:ln>
        </p:spPr>
        <p:txBody>
          <a:bodyPr wrap="none" lIns="62308" tIns="29908" rIns="62308" bIns="29908">
            <a:spAutoFit/>
          </a:bodyPr>
          <a:lstStyle/>
          <a:p>
            <a:endParaRPr lang="en-GB" sz="761" noProof="0" dirty="0"/>
          </a:p>
        </p:txBody>
      </p:sp>
      <p:sp>
        <p:nvSpPr>
          <p:cNvPr id="101" name="Line 65">
            <a:extLst>
              <a:ext uri="{FF2B5EF4-FFF2-40B4-BE49-F238E27FC236}">
                <a16:creationId xmlns:a16="http://schemas.microsoft.com/office/drawing/2014/main" id="{F31984D9-FA45-D0B7-EC5B-D24FC883E7CF}"/>
              </a:ext>
            </a:extLst>
          </p:cNvPr>
          <p:cNvSpPr>
            <a:spLocks noChangeShapeType="1"/>
          </p:cNvSpPr>
          <p:nvPr/>
        </p:nvSpPr>
        <p:spPr bwMode="auto">
          <a:xfrm>
            <a:off x="7567004" y="2122213"/>
            <a:ext cx="270000" cy="0"/>
          </a:xfrm>
          <a:prstGeom prst="line">
            <a:avLst/>
          </a:prstGeom>
          <a:noFill/>
          <a:ln w="25400">
            <a:solidFill>
              <a:schemeClr val="accent5"/>
            </a:solidFill>
            <a:round/>
            <a:headEnd type="none" w="med" len="med"/>
            <a:tailEnd type="triangle" w="med" len="med"/>
          </a:ln>
        </p:spPr>
        <p:txBody>
          <a:bodyPr wrap="square" lIns="62308" tIns="29908" rIns="62308" bIns="29908">
            <a:noAutofit/>
          </a:bodyPr>
          <a:lstStyle/>
          <a:p>
            <a:endParaRPr lang="en-GB" sz="761" noProof="0" dirty="0">
              <a:ln>
                <a:solidFill>
                  <a:schemeClr val="tx1"/>
                </a:solidFill>
                <a:prstDash val="solid"/>
              </a:ln>
            </a:endParaRPr>
          </a:p>
        </p:txBody>
      </p:sp>
      <p:sp>
        <p:nvSpPr>
          <p:cNvPr id="104" name="TextBox 8">
            <a:extLst>
              <a:ext uri="{FF2B5EF4-FFF2-40B4-BE49-F238E27FC236}">
                <a16:creationId xmlns:a16="http://schemas.microsoft.com/office/drawing/2014/main" id="{FF51CF4F-73D3-4397-C290-0ABE1A0526A7}"/>
              </a:ext>
            </a:extLst>
          </p:cNvPr>
          <p:cNvSpPr txBox="1"/>
          <p:nvPr/>
        </p:nvSpPr>
        <p:spPr>
          <a:xfrm rot="16200000">
            <a:off x="167375" y="2644869"/>
            <a:ext cx="1094460" cy="164732"/>
          </a:xfrm>
          <a:prstGeom prst="rect">
            <a:avLst/>
          </a:prstGeom>
          <a:noFill/>
        </p:spPr>
        <p:txBody>
          <a:bodyPr wrap="square" lIns="0" tIns="0" rIns="0" bIns="0" rtlCol="0">
            <a:noAutofit/>
          </a:bodyPr>
          <a:lstStyle/>
          <a:p>
            <a:pPr algn="ctr" defTabSz="247650">
              <a:spcBef>
                <a:spcPts val="225"/>
              </a:spcBef>
            </a:pPr>
            <a:r>
              <a:rPr lang="en-GB" sz="788" b="1" kern="0" noProof="0" dirty="0">
                <a:solidFill>
                  <a:schemeClr val="accent1"/>
                </a:solidFill>
                <a:latin typeface="Corbel" pitchFamily="34" charset="0"/>
              </a:rPr>
              <a:t>Household packaging</a:t>
            </a:r>
          </a:p>
          <a:p>
            <a:pPr algn="ctr" defTabSz="247650">
              <a:spcBef>
                <a:spcPts val="225"/>
              </a:spcBef>
            </a:pPr>
            <a:endParaRPr lang="en-GB" sz="788" b="1" kern="0" noProof="0" dirty="0">
              <a:solidFill>
                <a:schemeClr val="accent1"/>
              </a:solidFill>
              <a:latin typeface="Corbel" pitchFamily="34" charset="0"/>
            </a:endParaRPr>
          </a:p>
        </p:txBody>
      </p:sp>
      <p:sp>
        <p:nvSpPr>
          <p:cNvPr id="110" name="Text Box 70">
            <a:extLst>
              <a:ext uri="{FF2B5EF4-FFF2-40B4-BE49-F238E27FC236}">
                <a16:creationId xmlns:a16="http://schemas.microsoft.com/office/drawing/2014/main" id="{B95D5419-B1C0-8460-FE0D-DA410019D66C}"/>
              </a:ext>
            </a:extLst>
          </p:cNvPr>
          <p:cNvSpPr txBox="1">
            <a:spLocks noChangeArrowheads="1"/>
          </p:cNvSpPr>
          <p:nvPr/>
        </p:nvSpPr>
        <p:spPr bwMode="auto">
          <a:xfrm>
            <a:off x="1416114" y="2112400"/>
            <a:ext cx="1114568" cy="372024"/>
          </a:xfrm>
          <a:prstGeom prst="rect">
            <a:avLst/>
          </a:prstGeom>
          <a:noFill/>
          <a:ln w="12700">
            <a:noFill/>
            <a:miter lim="800000"/>
            <a:headEnd/>
            <a:tailEnd/>
          </a:ln>
        </p:spPr>
        <p:txBody>
          <a:bodyPr lIns="62308" tIns="29908" rIns="62308" bIns="29908">
            <a:spAutoFit/>
          </a:bodyPr>
          <a:lstStyle/>
          <a:p>
            <a:pPr defTabSz="685800" fontAlgn="base">
              <a:spcBef>
                <a:spcPct val="50000"/>
              </a:spcBef>
              <a:spcAft>
                <a:spcPct val="0"/>
              </a:spcAft>
              <a:buClr>
                <a:srgbClr val="41474C"/>
              </a:buClr>
            </a:pPr>
            <a:r>
              <a:rPr kumimoji="1" lang="en-GB" sz="675" noProof="0" dirty="0">
                <a:solidFill>
                  <a:srgbClr val="41474C"/>
                </a:solidFill>
                <a:latin typeface="Calibri" panose="020F0502020204030204" pitchFamily="34" charset="0"/>
                <a:cs typeface="Arial" charset="0"/>
              </a:rPr>
              <a:t>Bin collection from </a:t>
            </a:r>
            <a:br>
              <a:rPr kumimoji="1" lang="en-GB" sz="675" noProof="0" dirty="0">
                <a:solidFill>
                  <a:srgbClr val="41474C"/>
                </a:solidFill>
                <a:latin typeface="Calibri" panose="020F0502020204030204" pitchFamily="34" charset="0"/>
                <a:cs typeface="Arial" charset="0"/>
              </a:rPr>
            </a:br>
            <a:r>
              <a:rPr kumimoji="1" lang="en-GB" sz="675" noProof="0" dirty="0">
                <a:solidFill>
                  <a:srgbClr val="41474C"/>
                </a:solidFill>
                <a:latin typeface="Calibri" panose="020F0502020204030204" pitchFamily="34" charset="0"/>
                <a:cs typeface="Arial" charset="0"/>
              </a:rPr>
              <a:t>public collection </a:t>
            </a:r>
            <a:br>
              <a:rPr kumimoji="1" lang="en-GB" sz="675" noProof="0" dirty="0">
                <a:solidFill>
                  <a:srgbClr val="41474C"/>
                </a:solidFill>
                <a:latin typeface="Calibri" panose="020F0502020204030204" pitchFamily="34" charset="0"/>
                <a:cs typeface="Arial" charset="0"/>
              </a:rPr>
            </a:br>
            <a:r>
              <a:rPr kumimoji="1" lang="en-GB" sz="675" noProof="0" dirty="0">
                <a:solidFill>
                  <a:srgbClr val="41474C"/>
                </a:solidFill>
                <a:latin typeface="Calibri" panose="020F0502020204030204" pitchFamily="34" charset="0"/>
                <a:cs typeface="Arial" charset="0"/>
              </a:rPr>
              <a:t>points</a:t>
            </a:r>
          </a:p>
        </p:txBody>
      </p:sp>
      <p:sp>
        <p:nvSpPr>
          <p:cNvPr id="111" name="Text Box 74">
            <a:extLst>
              <a:ext uri="{FF2B5EF4-FFF2-40B4-BE49-F238E27FC236}">
                <a16:creationId xmlns:a16="http://schemas.microsoft.com/office/drawing/2014/main" id="{E0FD2BE5-1147-B9D7-A908-AB3A93A7769D}"/>
              </a:ext>
            </a:extLst>
          </p:cNvPr>
          <p:cNvSpPr txBox="1">
            <a:spLocks noChangeArrowheads="1"/>
          </p:cNvSpPr>
          <p:nvPr/>
        </p:nvSpPr>
        <p:spPr bwMode="auto">
          <a:xfrm>
            <a:off x="1431113" y="2578442"/>
            <a:ext cx="1063913" cy="372024"/>
          </a:xfrm>
          <a:prstGeom prst="rect">
            <a:avLst/>
          </a:prstGeom>
          <a:noFill/>
          <a:ln w="12700">
            <a:noFill/>
            <a:miter lim="800000"/>
            <a:headEnd/>
            <a:tailEnd/>
          </a:ln>
        </p:spPr>
        <p:txBody>
          <a:bodyPr lIns="62308" tIns="29908" rIns="62308" bIns="29908">
            <a:spAutoFit/>
          </a:bodyPr>
          <a:lstStyle/>
          <a:p>
            <a:pPr defTabSz="685800" fontAlgn="base">
              <a:spcBef>
                <a:spcPct val="50000"/>
              </a:spcBef>
              <a:spcAft>
                <a:spcPct val="0"/>
              </a:spcAft>
              <a:buClr>
                <a:srgbClr val="41474C"/>
              </a:buClr>
            </a:pPr>
            <a:r>
              <a:rPr kumimoji="1" lang="en-GB" sz="675" noProof="0" dirty="0">
                <a:solidFill>
                  <a:srgbClr val="41474C"/>
                </a:solidFill>
                <a:latin typeface="Calibri" panose="020F0502020204030204" pitchFamily="34" charset="0"/>
                <a:cs typeface="Arial" charset="0"/>
              </a:rPr>
              <a:t>Bin collection </a:t>
            </a:r>
            <a:br>
              <a:rPr kumimoji="1" lang="en-GB" sz="675" noProof="0" dirty="0">
                <a:solidFill>
                  <a:srgbClr val="41474C"/>
                </a:solidFill>
                <a:latin typeface="Calibri" panose="020F0502020204030204" pitchFamily="34" charset="0"/>
                <a:cs typeface="Arial" charset="0"/>
              </a:rPr>
            </a:br>
            <a:r>
              <a:rPr kumimoji="1" lang="en-GB" sz="675" noProof="0" dirty="0">
                <a:solidFill>
                  <a:srgbClr val="41474C"/>
                </a:solidFill>
                <a:latin typeface="Calibri" panose="020F0502020204030204" pitchFamily="34" charset="0"/>
                <a:cs typeface="Arial" charset="0"/>
              </a:rPr>
              <a:t>from small </a:t>
            </a:r>
            <a:br>
              <a:rPr kumimoji="1" lang="en-GB" sz="675" noProof="0" dirty="0">
                <a:solidFill>
                  <a:srgbClr val="41474C"/>
                </a:solidFill>
                <a:latin typeface="Calibri" panose="020F0502020204030204" pitchFamily="34" charset="0"/>
                <a:cs typeface="Arial" charset="0"/>
              </a:rPr>
            </a:br>
            <a:r>
              <a:rPr kumimoji="1" lang="en-GB" sz="675" noProof="0" dirty="0">
                <a:solidFill>
                  <a:srgbClr val="41474C"/>
                </a:solidFill>
                <a:latin typeface="Calibri" panose="020F0502020204030204" pitchFamily="34" charset="0"/>
                <a:cs typeface="Arial" charset="0"/>
              </a:rPr>
              <a:t>businesses</a:t>
            </a:r>
          </a:p>
        </p:txBody>
      </p:sp>
      <p:grpSp>
        <p:nvGrpSpPr>
          <p:cNvPr id="113" name="Gruppieren 112">
            <a:extLst>
              <a:ext uri="{FF2B5EF4-FFF2-40B4-BE49-F238E27FC236}">
                <a16:creationId xmlns:a16="http://schemas.microsoft.com/office/drawing/2014/main" id="{9E899030-9AE6-CF04-89E6-FB4B21A975E9}"/>
              </a:ext>
            </a:extLst>
          </p:cNvPr>
          <p:cNvGrpSpPr/>
          <p:nvPr/>
        </p:nvGrpSpPr>
        <p:grpSpPr>
          <a:xfrm>
            <a:off x="4246009" y="1675954"/>
            <a:ext cx="1186589" cy="745106"/>
            <a:chOff x="4861572" y="2223413"/>
            <a:chExt cx="1784713" cy="1120693"/>
          </a:xfrm>
        </p:grpSpPr>
        <p:sp>
          <p:nvSpPr>
            <p:cNvPr id="114" name="Line 36">
              <a:extLst>
                <a:ext uri="{FF2B5EF4-FFF2-40B4-BE49-F238E27FC236}">
                  <a16:creationId xmlns:a16="http://schemas.microsoft.com/office/drawing/2014/main" id="{40BE9309-416F-2FAA-2BAC-3911386ED7E3}"/>
                </a:ext>
              </a:extLst>
            </p:cNvPr>
            <p:cNvSpPr>
              <a:spLocks noChangeShapeType="1"/>
            </p:cNvSpPr>
            <p:nvPr/>
          </p:nvSpPr>
          <p:spPr bwMode="auto">
            <a:xfrm rot="16200000" flipV="1">
              <a:off x="4674694" y="2842319"/>
              <a:ext cx="609150" cy="0"/>
            </a:xfrm>
            <a:prstGeom prst="line">
              <a:avLst/>
            </a:prstGeom>
            <a:noFill/>
            <a:ln w="22225">
              <a:solidFill>
                <a:schemeClr val="accent5"/>
              </a:solidFill>
              <a:round/>
              <a:headEnd type="none" w="med" len="med"/>
              <a:tailEnd type="none" w="med" len="med"/>
            </a:ln>
          </p:spPr>
          <p:txBody>
            <a:bodyPr lIns="62308" tIns="29908" rIns="62308" bIns="29908">
              <a:spAutoFit/>
            </a:bodyPr>
            <a:lstStyle/>
            <a:p>
              <a:endParaRPr lang="en-GB" sz="675" noProof="0" dirty="0"/>
            </a:p>
          </p:txBody>
        </p:sp>
        <p:sp>
          <p:nvSpPr>
            <p:cNvPr id="115" name="Text Box 50">
              <a:extLst>
                <a:ext uri="{FF2B5EF4-FFF2-40B4-BE49-F238E27FC236}">
                  <a16:creationId xmlns:a16="http://schemas.microsoft.com/office/drawing/2014/main" id="{26A721FC-41BA-514B-670A-BF23C633653A}"/>
                </a:ext>
              </a:extLst>
            </p:cNvPr>
            <p:cNvSpPr txBox="1">
              <a:spLocks noChangeArrowheads="1"/>
            </p:cNvSpPr>
            <p:nvPr/>
          </p:nvSpPr>
          <p:spPr bwMode="auto">
            <a:xfrm>
              <a:off x="5368356" y="2223413"/>
              <a:ext cx="1277929" cy="559551"/>
            </a:xfrm>
            <a:prstGeom prst="rect">
              <a:avLst/>
            </a:prstGeom>
            <a:noFill/>
            <a:ln w="12700">
              <a:noFill/>
              <a:miter lim="800000"/>
              <a:headEnd/>
              <a:tailEnd/>
            </a:ln>
          </p:spPr>
          <p:txBody>
            <a:bodyPr wrap="square" lIns="62308" tIns="29908" rIns="62308" bIns="29908">
              <a:spAutoFit/>
            </a:bodyPr>
            <a:lstStyle/>
            <a:p>
              <a:pPr algn="ctr" defTabSz="685800" fontAlgn="base">
                <a:spcBef>
                  <a:spcPct val="50000"/>
                </a:spcBef>
                <a:spcAft>
                  <a:spcPct val="0"/>
                </a:spcAft>
                <a:buClr>
                  <a:srgbClr val="41474C"/>
                </a:buClr>
              </a:pPr>
              <a:r>
                <a:rPr kumimoji="1" lang="en-GB" sz="675" i="1" noProof="0" dirty="0">
                  <a:solidFill>
                    <a:srgbClr val="009252"/>
                  </a:solidFill>
                  <a:latin typeface="Calibri" panose="020F0502020204030204" pitchFamily="34" charset="0"/>
                  <a:cs typeface="Arial" charset="0"/>
                </a:rPr>
                <a:t>Collected material </a:t>
              </a:r>
              <a:br>
                <a:rPr kumimoji="1" lang="en-GB" sz="675" i="1" noProof="0" dirty="0">
                  <a:solidFill>
                    <a:srgbClr val="009252"/>
                  </a:solidFill>
                  <a:latin typeface="Calibri" panose="020F0502020204030204" pitchFamily="34" charset="0"/>
                  <a:cs typeface="Arial" charset="0"/>
                </a:rPr>
              </a:br>
              <a:r>
                <a:rPr kumimoji="1" lang="en-GB" sz="675" i="1" noProof="0" dirty="0">
                  <a:solidFill>
                    <a:srgbClr val="009252"/>
                  </a:solidFill>
                  <a:latin typeface="Calibri" panose="020F0502020204030204" pitchFamily="34" charset="0"/>
                  <a:cs typeface="Arial" charset="0"/>
                </a:rPr>
                <a:t>to co-using household systems</a:t>
              </a:r>
            </a:p>
          </p:txBody>
        </p:sp>
        <p:sp>
          <p:nvSpPr>
            <p:cNvPr id="116" name="Line 36">
              <a:extLst>
                <a:ext uri="{FF2B5EF4-FFF2-40B4-BE49-F238E27FC236}">
                  <a16:creationId xmlns:a16="http://schemas.microsoft.com/office/drawing/2014/main" id="{1678D7B4-673C-AE6D-F6A4-DFAB5C2500D7}"/>
                </a:ext>
              </a:extLst>
            </p:cNvPr>
            <p:cNvSpPr>
              <a:spLocks noChangeShapeType="1"/>
            </p:cNvSpPr>
            <p:nvPr/>
          </p:nvSpPr>
          <p:spPr bwMode="auto">
            <a:xfrm flipV="1">
              <a:off x="4979280" y="2549850"/>
              <a:ext cx="446709" cy="0"/>
            </a:xfrm>
            <a:prstGeom prst="line">
              <a:avLst/>
            </a:prstGeom>
            <a:noFill/>
            <a:ln w="22225">
              <a:solidFill>
                <a:schemeClr val="accent5"/>
              </a:solidFill>
              <a:round/>
              <a:headEnd/>
              <a:tailEnd type="triangle" w="med" len="med"/>
            </a:ln>
          </p:spPr>
          <p:txBody>
            <a:bodyPr lIns="62308" tIns="29908" rIns="62308" bIns="29908">
              <a:spAutoFit/>
            </a:bodyPr>
            <a:lstStyle/>
            <a:p>
              <a:endParaRPr lang="en-GB" sz="675" noProof="0" dirty="0"/>
            </a:p>
          </p:txBody>
        </p:sp>
        <p:sp>
          <p:nvSpPr>
            <p:cNvPr id="117" name="Ellipse 116">
              <a:extLst>
                <a:ext uri="{FF2B5EF4-FFF2-40B4-BE49-F238E27FC236}">
                  <a16:creationId xmlns:a16="http://schemas.microsoft.com/office/drawing/2014/main" id="{60E16C5F-2CF4-377C-5D6F-8E9D1C8A66D4}"/>
                </a:ext>
              </a:extLst>
            </p:cNvPr>
            <p:cNvSpPr/>
            <p:nvPr/>
          </p:nvSpPr>
          <p:spPr>
            <a:xfrm>
              <a:off x="4861572" y="3111427"/>
              <a:ext cx="230909" cy="232679"/>
            </a:xfrm>
            <a:prstGeom prst="ellipse">
              <a:avLst/>
            </a:prstGeom>
            <a:solidFill>
              <a:srgbClr val="009252"/>
            </a:solidFill>
            <a:ln>
              <a:solidFill>
                <a:schemeClr val="bg1"/>
              </a:solidFill>
            </a:ln>
          </p:spPr>
          <p:txBody>
            <a:bodyPr lIns="0" tIns="0" rIns="0" bIns="0" rtlCol="0" anchor="ctr">
              <a:noAutofit/>
            </a:bodyPr>
            <a:lstStyle/>
            <a:p>
              <a:pPr algn="ctr" defTabSz="247650">
                <a:spcBef>
                  <a:spcPts val="225"/>
                </a:spcBef>
              </a:pPr>
              <a:r>
                <a:rPr lang="en-GB" sz="600" kern="0" noProof="0" dirty="0">
                  <a:solidFill>
                    <a:schemeClr val="bg1"/>
                  </a:solidFill>
                  <a:latin typeface="Corbel" pitchFamily="34" charset="0"/>
                </a:rPr>
                <a:t>%</a:t>
              </a:r>
              <a:endParaRPr lang="en-GB" sz="825" kern="0" noProof="0" dirty="0">
                <a:solidFill>
                  <a:schemeClr val="bg1"/>
                </a:solidFill>
                <a:latin typeface="Corbel" pitchFamily="34" charset="0"/>
              </a:endParaRPr>
            </a:p>
          </p:txBody>
        </p:sp>
      </p:grpSp>
      <p:pic>
        <p:nvPicPr>
          <p:cNvPr id="31" name="Grafik 30">
            <a:extLst>
              <a:ext uri="{FF2B5EF4-FFF2-40B4-BE49-F238E27FC236}">
                <a16:creationId xmlns:a16="http://schemas.microsoft.com/office/drawing/2014/main" id="{E74CB8F3-FEEC-D8F8-0EA4-C602E41CF701}"/>
              </a:ext>
            </a:extLst>
          </p:cNvPr>
          <p:cNvPicPr>
            <a:picLocks noChangeAspect="1"/>
          </p:cNvPicPr>
          <p:nvPr/>
        </p:nvPicPr>
        <p:blipFill>
          <a:blip r:embed="rId2"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002769" y="3074546"/>
            <a:ext cx="270000" cy="270000"/>
          </a:xfrm>
          <a:prstGeom prst="rect">
            <a:avLst/>
          </a:prstGeom>
        </p:spPr>
      </p:pic>
      <p:grpSp>
        <p:nvGrpSpPr>
          <p:cNvPr id="129" name="Gruppieren 128">
            <a:extLst>
              <a:ext uri="{FF2B5EF4-FFF2-40B4-BE49-F238E27FC236}">
                <a16:creationId xmlns:a16="http://schemas.microsoft.com/office/drawing/2014/main" id="{4108F2EA-DC3C-CE0F-FBB1-F48E04618D29}"/>
              </a:ext>
            </a:extLst>
          </p:cNvPr>
          <p:cNvGrpSpPr/>
          <p:nvPr/>
        </p:nvGrpSpPr>
        <p:grpSpPr>
          <a:xfrm>
            <a:off x="3867671" y="1168665"/>
            <a:ext cx="972000" cy="287220"/>
            <a:chOff x="3578636" y="1719615"/>
            <a:chExt cx="1088205" cy="382960"/>
          </a:xfrm>
          <a:solidFill>
            <a:schemeClr val="accent1"/>
          </a:solidFill>
        </p:grpSpPr>
        <p:sp>
          <p:nvSpPr>
            <p:cNvPr id="130" name="Chevron 94">
              <a:extLst>
                <a:ext uri="{FF2B5EF4-FFF2-40B4-BE49-F238E27FC236}">
                  <a16:creationId xmlns:a16="http://schemas.microsoft.com/office/drawing/2014/main" id="{03E8F00F-B431-0BC1-211F-3B1A50F680E5}"/>
                </a:ext>
              </a:extLst>
            </p:cNvPr>
            <p:cNvSpPr/>
            <p:nvPr/>
          </p:nvSpPr>
          <p:spPr>
            <a:xfrm>
              <a:off x="3578636" y="1719615"/>
              <a:ext cx="1053141" cy="382960"/>
            </a:xfrm>
            <a:prstGeom prst="chevron">
              <a:avLst/>
            </a:prstGeom>
            <a:solidFill>
              <a:schemeClr val="accent1"/>
            </a:solidFill>
            <a:ln>
              <a:solidFill>
                <a:srgbClr val="009252"/>
              </a:solidFill>
            </a:ln>
          </p:spPr>
          <p:txBody>
            <a:bodyPr lIns="0" tIns="0" rIns="0" bIns="0" rtlCol="0" anchor="ctr">
              <a:noAutofit/>
            </a:bodyPr>
            <a:lstStyle/>
            <a:p>
              <a:pPr marL="207169" indent="-207169" algn="ctr" defTabSz="247650">
                <a:spcBef>
                  <a:spcPts val="225"/>
                </a:spcBef>
                <a:buFont typeface="Symbol" pitchFamily="18" charset="2"/>
                <a:buChar char="-"/>
              </a:pPr>
              <a:endParaRPr lang="en-GB" sz="1050" kern="0" noProof="0" dirty="0">
                <a:solidFill>
                  <a:schemeClr val="bg1"/>
                </a:solidFill>
                <a:latin typeface="Corbel" pitchFamily="34" charset="0"/>
              </a:endParaRPr>
            </a:p>
          </p:txBody>
        </p:sp>
        <p:sp>
          <p:nvSpPr>
            <p:cNvPr id="131" name="Text Box 15">
              <a:extLst>
                <a:ext uri="{FF2B5EF4-FFF2-40B4-BE49-F238E27FC236}">
                  <a16:creationId xmlns:a16="http://schemas.microsoft.com/office/drawing/2014/main" id="{67F280C4-D023-2C44-0CF4-34A551D17AC2}"/>
                </a:ext>
              </a:extLst>
            </p:cNvPr>
            <p:cNvSpPr txBox="1">
              <a:spLocks noChangeArrowheads="1"/>
            </p:cNvSpPr>
            <p:nvPr/>
          </p:nvSpPr>
          <p:spPr bwMode="auto">
            <a:xfrm>
              <a:off x="3653592" y="1780577"/>
              <a:ext cx="1013249" cy="244681"/>
            </a:xfrm>
            <a:prstGeom prst="rect">
              <a:avLst/>
            </a:prstGeom>
            <a:noFill/>
            <a:ln w="12700">
              <a:noFill/>
              <a:miter lim="800000"/>
              <a:headEnd/>
              <a:tailEnd/>
            </a:ln>
          </p:spPr>
          <p:txBody>
            <a:bodyPr lIns="62308" tIns="29908" rIns="62308" bIns="29908" anchor="ctr">
              <a:spAutoFit/>
            </a:bodyPr>
            <a:lstStyle/>
            <a:p>
              <a:pPr algn="ctr">
                <a:spcBef>
                  <a:spcPct val="50000"/>
                </a:spcBef>
              </a:pPr>
              <a:r>
                <a:rPr lang="en-GB" sz="800" kern="0" dirty="0">
                  <a:solidFill>
                    <a:schemeClr val="bg1"/>
                  </a:solidFill>
                  <a:latin typeface="Corbel" pitchFamily="34" charset="0"/>
                </a:rPr>
                <a:t>transfer</a:t>
              </a:r>
            </a:p>
          </p:txBody>
        </p:sp>
      </p:grpSp>
      <p:grpSp>
        <p:nvGrpSpPr>
          <p:cNvPr id="145" name="Grafik 30">
            <a:extLst>
              <a:ext uri="{FF2B5EF4-FFF2-40B4-BE49-F238E27FC236}">
                <a16:creationId xmlns:a16="http://schemas.microsoft.com/office/drawing/2014/main" id="{DEF782AC-E893-089B-D9F6-431AE3697C6B}"/>
              </a:ext>
            </a:extLst>
          </p:cNvPr>
          <p:cNvGrpSpPr/>
          <p:nvPr/>
        </p:nvGrpSpPr>
        <p:grpSpPr>
          <a:xfrm>
            <a:off x="3321130" y="3086113"/>
            <a:ext cx="367234" cy="223936"/>
            <a:chOff x="3744051" y="3270351"/>
            <a:chExt cx="539124" cy="328753"/>
          </a:xfrm>
          <a:solidFill>
            <a:schemeClr val="accent1"/>
          </a:solidFill>
        </p:grpSpPr>
        <p:grpSp>
          <p:nvGrpSpPr>
            <p:cNvPr id="146" name="Grafik 30">
              <a:extLst>
                <a:ext uri="{FF2B5EF4-FFF2-40B4-BE49-F238E27FC236}">
                  <a16:creationId xmlns:a16="http://schemas.microsoft.com/office/drawing/2014/main" id="{BC2228F3-C5DF-1137-0B39-917882C6F626}"/>
                </a:ext>
              </a:extLst>
            </p:cNvPr>
            <p:cNvGrpSpPr/>
            <p:nvPr/>
          </p:nvGrpSpPr>
          <p:grpSpPr>
            <a:xfrm>
              <a:off x="3744051" y="3270351"/>
              <a:ext cx="539124" cy="328753"/>
              <a:chOff x="3744051" y="3270351"/>
              <a:chExt cx="539124" cy="328753"/>
            </a:xfrm>
            <a:grpFill/>
          </p:grpSpPr>
          <p:grpSp>
            <p:nvGrpSpPr>
              <p:cNvPr id="147" name="Grafik 30">
                <a:extLst>
                  <a:ext uri="{FF2B5EF4-FFF2-40B4-BE49-F238E27FC236}">
                    <a16:creationId xmlns:a16="http://schemas.microsoft.com/office/drawing/2014/main" id="{5C17943F-7518-1C55-CF20-CDEE457ACC4C}"/>
                  </a:ext>
                </a:extLst>
              </p:cNvPr>
              <p:cNvGrpSpPr/>
              <p:nvPr/>
            </p:nvGrpSpPr>
            <p:grpSpPr>
              <a:xfrm>
                <a:off x="3744051" y="3270351"/>
                <a:ext cx="539124" cy="328753"/>
                <a:chOff x="3744051" y="3270351"/>
                <a:chExt cx="539124" cy="328753"/>
              </a:xfrm>
              <a:grpFill/>
            </p:grpSpPr>
            <p:sp>
              <p:nvSpPr>
                <p:cNvPr id="148" name="Freihandform: Form 147">
                  <a:extLst>
                    <a:ext uri="{FF2B5EF4-FFF2-40B4-BE49-F238E27FC236}">
                      <a16:creationId xmlns:a16="http://schemas.microsoft.com/office/drawing/2014/main" id="{BACBD08D-5A5F-B001-9D25-8E9D4C853807}"/>
                    </a:ext>
                  </a:extLst>
                </p:cNvPr>
                <p:cNvSpPr/>
                <p:nvPr/>
              </p:nvSpPr>
              <p:spPr>
                <a:xfrm>
                  <a:off x="4152929" y="3513541"/>
                  <a:ext cx="54380" cy="54380"/>
                </a:xfrm>
                <a:custGeom>
                  <a:avLst/>
                  <a:gdLst>
                    <a:gd name="connsiteX0" fmla="*/ 27190 w 54380"/>
                    <a:gd name="connsiteY0" fmla="*/ 0 h 54380"/>
                    <a:gd name="connsiteX1" fmla="*/ 0 w 54380"/>
                    <a:gd name="connsiteY1" fmla="*/ 27190 h 54380"/>
                    <a:gd name="connsiteX2" fmla="*/ 27190 w 54380"/>
                    <a:gd name="connsiteY2" fmla="*/ 54380 h 54380"/>
                    <a:gd name="connsiteX3" fmla="*/ 54380 w 54380"/>
                    <a:gd name="connsiteY3" fmla="*/ 27190 h 54380"/>
                    <a:gd name="connsiteX4" fmla="*/ 27190 w 54380"/>
                    <a:gd name="connsiteY4" fmla="*/ 0 h 54380"/>
                    <a:gd name="connsiteX5" fmla="*/ 27190 w 54380"/>
                    <a:gd name="connsiteY5" fmla="*/ 37268 h 54380"/>
                    <a:gd name="connsiteX6" fmla="*/ 17113 w 54380"/>
                    <a:gd name="connsiteY6" fmla="*/ 27190 h 54380"/>
                    <a:gd name="connsiteX7" fmla="*/ 27190 w 54380"/>
                    <a:gd name="connsiteY7" fmla="*/ 17113 h 54380"/>
                    <a:gd name="connsiteX8" fmla="*/ 37268 w 54380"/>
                    <a:gd name="connsiteY8" fmla="*/ 27190 h 54380"/>
                    <a:gd name="connsiteX9" fmla="*/ 27190 w 54380"/>
                    <a:gd name="connsiteY9" fmla="*/ 37268 h 54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380" h="54380">
                      <a:moveTo>
                        <a:pt x="27190" y="0"/>
                      </a:moveTo>
                      <a:cubicBezTo>
                        <a:pt x="12169" y="0"/>
                        <a:pt x="0" y="12169"/>
                        <a:pt x="0" y="27190"/>
                      </a:cubicBezTo>
                      <a:cubicBezTo>
                        <a:pt x="0" y="42211"/>
                        <a:pt x="12169" y="54380"/>
                        <a:pt x="27190" y="54380"/>
                      </a:cubicBezTo>
                      <a:cubicBezTo>
                        <a:pt x="42211" y="54380"/>
                        <a:pt x="54380" y="42211"/>
                        <a:pt x="54380" y="27190"/>
                      </a:cubicBezTo>
                      <a:cubicBezTo>
                        <a:pt x="54380" y="12169"/>
                        <a:pt x="42211" y="0"/>
                        <a:pt x="27190" y="0"/>
                      </a:cubicBezTo>
                      <a:close/>
                      <a:moveTo>
                        <a:pt x="27190" y="37268"/>
                      </a:moveTo>
                      <a:cubicBezTo>
                        <a:pt x="21676" y="37268"/>
                        <a:pt x="17113" y="32704"/>
                        <a:pt x="17113" y="27190"/>
                      </a:cubicBezTo>
                      <a:cubicBezTo>
                        <a:pt x="17113" y="21676"/>
                        <a:pt x="21676" y="17113"/>
                        <a:pt x="27190" y="17113"/>
                      </a:cubicBezTo>
                      <a:cubicBezTo>
                        <a:pt x="32704" y="17113"/>
                        <a:pt x="37268" y="21676"/>
                        <a:pt x="37268" y="27190"/>
                      </a:cubicBezTo>
                      <a:cubicBezTo>
                        <a:pt x="37268" y="32704"/>
                        <a:pt x="32704" y="37268"/>
                        <a:pt x="27190" y="37268"/>
                      </a:cubicBezTo>
                      <a:close/>
                    </a:path>
                  </a:pathLst>
                </a:custGeom>
                <a:grpFill/>
                <a:ln w="1878" cap="flat">
                  <a:noFill/>
                  <a:prstDash val="solid"/>
                  <a:miter/>
                </a:ln>
              </p:spPr>
              <p:txBody>
                <a:bodyPr rtlCol="0" anchor="ctr"/>
                <a:lstStyle/>
                <a:p>
                  <a:endParaRPr lang="en-GB" noProof="0" dirty="0"/>
                </a:p>
              </p:txBody>
            </p:sp>
            <p:sp>
              <p:nvSpPr>
                <p:cNvPr id="149" name="Freihandform: Form 148">
                  <a:extLst>
                    <a:ext uri="{FF2B5EF4-FFF2-40B4-BE49-F238E27FC236}">
                      <a16:creationId xmlns:a16="http://schemas.microsoft.com/office/drawing/2014/main" id="{A86B5664-6BA9-6BDA-835B-BC9DC92F90FE}"/>
                    </a:ext>
                  </a:extLst>
                </p:cNvPr>
                <p:cNvSpPr/>
                <p:nvPr/>
              </p:nvSpPr>
              <p:spPr>
                <a:xfrm>
                  <a:off x="3850225" y="3513541"/>
                  <a:ext cx="54380" cy="54380"/>
                </a:xfrm>
                <a:custGeom>
                  <a:avLst/>
                  <a:gdLst>
                    <a:gd name="connsiteX0" fmla="*/ 27190 w 54380"/>
                    <a:gd name="connsiteY0" fmla="*/ 0 h 54380"/>
                    <a:gd name="connsiteX1" fmla="*/ 0 w 54380"/>
                    <a:gd name="connsiteY1" fmla="*/ 27190 h 54380"/>
                    <a:gd name="connsiteX2" fmla="*/ 27190 w 54380"/>
                    <a:gd name="connsiteY2" fmla="*/ 54380 h 54380"/>
                    <a:gd name="connsiteX3" fmla="*/ 54380 w 54380"/>
                    <a:gd name="connsiteY3" fmla="*/ 27190 h 54380"/>
                    <a:gd name="connsiteX4" fmla="*/ 27190 w 54380"/>
                    <a:gd name="connsiteY4" fmla="*/ 0 h 54380"/>
                    <a:gd name="connsiteX5" fmla="*/ 27190 w 54380"/>
                    <a:gd name="connsiteY5" fmla="*/ 37268 h 54380"/>
                    <a:gd name="connsiteX6" fmla="*/ 17113 w 54380"/>
                    <a:gd name="connsiteY6" fmla="*/ 27190 h 54380"/>
                    <a:gd name="connsiteX7" fmla="*/ 27190 w 54380"/>
                    <a:gd name="connsiteY7" fmla="*/ 17113 h 54380"/>
                    <a:gd name="connsiteX8" fmla="*/ 37268 w 54380"/>
                    <a:gd name="connsiteY8" fmla="*/ 27190 h 54380"/>
                    <a:gd name="connsiteX9" fmla="*/ 27190 w 54380"/>
                    <a:gd name="connsiteY9" fmla="*/ 37268 h 54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380" h="54380">
                      <a:moveTo>
                        <a:pt x="27190" y="0"/>
                      </a:moveTo>
                      <a:cubicBezTo>
                        <a:pt x="12169" y="0"/>
                        <a:pt x="0" y="12169"/>
                        <a:pt x="0" y="27190"/>
                      </a:cubicBezTo>
                      <a:cubicBezTo>
                        <a:pt x="0" y="42211"/>
                        <a:pt x="12169" y="54380"/>
                        <a:pt x="27190" y="54380"/>
                      </a:cubicBezTo>
                      <a:cubicBezTo>
                        <a:pt x="42211" y="54380"/>
                        <a:pt x="54380" y="42211"/>
                        <a:pt x="54380" y="27190"/>
                      </a:cubicBezTo>
                      <a:cubicBezTo>
                        <a:pt x="54380" y="12169"/>
                        <a:pt x="42211" y="0"/>
                        <a:pt x="27190" y="0"/>
                      </a:cubicBezTo>
                      <a:close/>
                      <a:moveTo>
                        <a:pt x="27190" y="37268"/>
                      </a:moveTo>
                      <a:cubicBezTo>
                        <a:pt x="21676" y="37268"/>
                        <a:pt x="17113" y="32704"/>
                        <a:pt x="17113" y="27190"/>
                      </a:cubicBezTo>
                      <a:cubicBezTo>
                        <a:pt x="17113" y="21676"/>
                        <a:pt x="21676" y="17113"/>
                        <a:pt x="27190" y="17113"/>
                      </a:cubicBezTo>
                      <a:cubicBezTo>
                        <a:pt x="32704" y="17113"/>
                        <a:pt x="37268" y="21676"/>
                        <a:pt x="37268" y="27190"/>
                      </a:cubicBezTo>
                      <a:cubicBezTo>
                        <a:pt x="37268" y="32704"/>
                        <a:pt x="32704" y="37268"/>
                        <a:pt x="27190" y="37268"/>
                      </a:cubicBezTo>
                      <a:close/>
                    </a:path>
                  </a:pathLst>
                </a:custGeom>
                <a:grpFill/>
                <a:ln w="1878" cap="flat">
                  <a:noFill/>
                  <a:prstDash val="solid"/>
                  <a:miter/>
                </a:ln>
              </p:spPr>
              <p:txBody>
                <a:bodyPr rtlCol="0" anchor="ctr"/>
                <a:lstStyle/>
                <a:p>
                  <a:endParaRPr lang="en-GB" noProof="0" dirty="0"/>
                </a:p>
              </p:txBody>
            </p:sp>
            <p:sp>
              <p:nvSpPr>
                <p:cNvPr id="150" name="Freihandform: Form 149">
                  <a:extLst>
                    <a:ext uri="{FF2B5EF4-FFF2-40B4-BE49-F238E27FC236}">
                      <a16:creationId xmlns:a16="http://schemas.microsoft.com/office/drawing/2014/main" id="{DFE2BB40-D39B-0D79-164D-A56429311270}"/>
                    </a:ext>
                  </a:extLst>
                </p:cNvPr>
                <p:cNvSpPr/>
                <p:nvPr/>
              </p:nvSpPr>
              <p:spPr>
                <a:xfrm>
                  <a:off x="3770366" y="3324541"/>
                  <a:ext cx="512809" cy="274563"/>
                </a:xfrm>
                <a:custGeom>
                  <a:avLst/>
                  <a:gdLst>
                    <a:gd name="connsiteX0" fmla="*/ 506535 w 512809"/>
                    <a:gd name="connsiteY0" fmla="*/ 176070 h 274563"/>
                    <a:gd name="connsiteX1" fmla="*/ 506725 w 512809"/>
                    <a:gd name="connsiteY1" fmla="*/ 175500 h 274563"/>
                    <a:gd name="connsiteX2" fmla="*/ 506725 w 512809"/>
                    <a:gd name="connsiteY2" fmla="*/ 104577 h 274563"/>
                    <a:gd name="connsiteX3" fmla="*/ 505585 w 512809"/>
                    <a:gd name="connsiteY3" fmla="*/ 100394 h 274563"/>
                    <a:gd name="connsiteX4" fmla="*/ 456718 w 512809"/>
                    <a:gd name="connsiteY4" fmla="*/ 11979 h 274563"/>
                    <a:gd name="connsiteX5" fmla="*/ 454056 w 512809"/>
                    <a:gd name="connsiteY5" fmla="*/ 8937 h 274563"/>
                    <a:gd name="connsiteX6" fmla="*/ 442458 w 512809"/>
                    <a:gd name="connsiteY6" fmla="*/ 1331 h 274563"/>
                    <a:gd name="connsiteX7" fmla="*/ 437704 w 512809"/>
                    <a:gd name="connsiteY7" fmla="*/ 0 h 274563"/>
                    <a:gd name="connsiteX8" fmla="*/ 437704 w 512809"/>
                    <a:gd name="connsiteY8" fmla="*/ 0 h 274563"/>
                    <a:gd name="connsiteX9" fmla="*/ 370204 w 512809"/>
                    <a:gd name="connsiteY9" fmla="*/ 0 h 274563"/>
                    <a:gd name="connsiteX10" fmla="*/ 361648 w 512809"/>
                    <a:gd name="connsiteY10" fmla="*/ 8366 h 274563"/>
                    <a:gd name="connsiteX11" fmla="*/ 360697 w 512809"/>
                    <a:gd name="connsiteY11" fmla="*/ 170746 h 274563"/>
                    <a:gd name="connsiteX12" fmla="*/ 144317 w 512809"/>
                    <a:gd name="connsiteY12" fmla="*/ 170746 h 274563"/>
                    <a:gd name="connsiteX13" fmla="*/ 107049 w 512809"/>
                    <a:gd name="connsiteY13" fmla="*/ 157246 h 274563"/>
                    <a:gd name="connsiteX14" fmla="*/ 69782 w 512809"/>
                    <a:gd name="connsiteY14" fmla="*/ 170746 h 274563"/>
                    <a:gd name="connsiteX15" fmla="*/ 12930 w 512809"/>
                    <a:gd name="connsiteY15" fmla="*/ 170746 h 274563"/>
                    <a:gd name="connsiteX16" fmla="*/ 0 w 512809"/>
                    <a:gd name="connsiteY16" fmla="*/ 185958 h 274563"/>
                    <a:gd name="connsiteX17" fmla="*/ 0 w 512809"/>
                    <a:gd name="connsiteY17" fmla="*/ 209155 h 274563"/>
                    <a:gd name="connsiteX18" fmla="*/ 12930 w 512809"/>
                    <a:gd name="connsiteY18" fmla="*/ 224366 h 274563"/>
                    <a:gd name="connsiteX19" fmla="*/ 49056 w 512809"/>
                    <a:gd name="connsiteY19" fmla="*/ 224366 h 274563"/>
                    <a:gd name="connsiteX20" fmla="*/ 107049 w 512809"/>
                    <a:gd name="connsiteY20" fmla="*/ 274563 h 274563"/>
                    <a:gd name="connsiteX21" fmla="*/ 165042 w 512809"/>
                    <a:gd name="connsiteY21" fmla="*/ 224366 h 274563"/>
                    <a:gd name="connsiteX22" fmla="*/ 351951 w 512809"/>
                    <a:gd name="connsiteY22" fmla="*/ 224366 h 274563"/>
                    <a:gd name="connsiteX23" fmla="*/ 409944 w 512809"/>
                    <a:gd name="connsiteY23" fmla="*/ 274563 h 274563"/>
                    <a:gd name="connsiteX24" fmla="*/ 467937 w 512809"/>
                    <a:gd name="connsiteY24" fmla="*/ 223986 h 274563"/>
                    <a:gd name="connsiteX25" fmla="*/ 470599 w 512809"/>
                    <a:gd name="connsiteY25" fmla="*/ 224556 h 274563"/>
                    <a:gd name="connsiteX26" fmla="*/ 505965 w 512809"/>
                    <a:gd name="connsiteY26" fmla="*/ 224556 h 274563"/>
                    <a:gd name="connsiteX27" fmla="*/ 512810 w 512809"/>
                    <a:gd name="connsiteY27" fmla="*/ 217711 h 274563"/>
                    <a:gd name="connsiteX28" fmla="*/ 512810 w 512809"/>
                    <a:gd name="connsiteY28" fmla="*/ 182725 h 274563"/>
                    <a:gd name="connsiteX29" fmla="*/ 506535 w 512809"/>
                    <a:gd name="connsiteY29" fmla="*/ 176070 h 274563"/>
                    <a:gd name="connsiteX30" fmla="*/ 49056 w 512809"/>
                    <a:gd name="connsiteY30" fmla="*/ 207634 h 274563"/>
                    <a:gd name="connsiteX31" fmla="*/ 16923 w 512809"/>
                    <a:gd name="connsiteY31" fmla="*/ 207634 h 274563"/>
                    <a:gd name="connsiteX32" fmla="*/ 16923 w 512809"/>
                    <a:gd name="connsiteY32" fmla="*/ 187859 h 274563"/>
                    <a:gd name="connsiteX33" fmla="*/ 55711 w 512809"/>
                    <a:gd name="connsiteY33" fmla="*/ 187859 h 274563"/>
                    <a:gd name="connsiteX34" fmla="*/ 49056 w 512809"/>
                    <a:gd name="connsiteY34" fmla="*/ 207634 h 274563"/>
                    <a:gd name="connsiteX35" fmla="*/ 107049 w 512809"/>
                    <a:gd name="connsiteY35" fmla="*/ 257641 h 274563"/>
                    <a:gd name="connsiteX36" fmla="*/ 65408 w 512809"/>
                    <a:gd name="connsiteY36" fmla="*/ 216000 h 274563"/>
                    <a:gd name="connsiteX37" fmla="*/ 107049 w 512809"/>
                    <a:gd name="connsiteY37" fmla="*/ 174359 h 274563"/>
                    <a:gd name="connsiteX38" fmla="*/ 148690 w 512809"/>
                    <a:gd name="connsiteY38" fmla="*/ 216000 h 274563"/>
                    <a:gd name="connsiteX39" fmla="*/ 107049 w 512809"/>
                    <a:gd name="connsiteY39" fmla="*/ 257641 h 274563"/>
                    <a:gd name="connsiteX40" fmla="*/ 351761 w 512809"/>
                    <a:gd name="connsiteY40" fmla="*/ 207634 h 274563"/>
                    <a:gd name="connsiteX41" fmla="*/ 164852 w 512809"/>
                    <a:gd name="connsiteY41" fmla="*/ 207634 h 274563"/>
                    <a:gd name="connsiteX42" fmla="*/ 158197 w 512809"/>
                    <a:gd name="connsiteY42" fmla="*/ 187859 h 274563"/>
                    <a:gd name="connsiteX43" fmla="*/ 358225 w 512809"/>
                    <a:gd name="connsiteY43" fmla="*/ 187859 h 274563"/>
                    <a:gd name="connsiteX44" fmla="*/ 351761 w 512809"/>
                    <a:gd name="connsiteY44" fmla="*/ 207634 h 274563"/>
                    <a:gd name="connsiteX45" fmla="*/ 378570 w 512809"/>
                    <a:gd name="connsiteY45" fmla="*/ 17113 h 274563"/>
                    <a:gd name="connsiteX46" fmla="*/ 435232 w 512809"/>
                    <a:gd name="connsiteY46" fmla="*/ 17113 h 274563"/>
                    <a:gd name="connsiteX47" fmla="*/ 442838 w 512809"/>
                    <a:gd name="connsiteY47" fmla="*/ 22246 h 274563"/>
                    <a:gd name="connsiteX48" fmla="*/ 449113 w 512809"/>
                    <a:gd name="connsiteY48" fmla="*/ 33465 h 274563"/>
                    <a:gd name="connsiteX49" fmla="*/ 378380 w 512809"/>
                    <a:gd name="connsiteY49" fmla="*/ 33465 h 274563"/>
                    <a:gd name="connsiteX50" fmla="*/ 378570 w 512809"/>
                    <a:gd name="connsiteY50" fmla="*/ 17113 h 274563"/>
                    <a:gd name="connsiteX51" fmla="*/ 378190 w 512809"/>
                    <a:gd name="connsiteY51" fmla="*/ 50197 h 274563"/>
                    <a:gd name="connsiteX52" fmla="*/ 458430 w 512809"/>
                    <a:gd name="connsiteY52" fmla="*/ 50197 h 274563"/>
                    <a:gd name="connsiteX53" fmla="*/ 489613 w 512809"/>
                    <a:gd name="connsiteY53" fmla="*/ 106859 h 274563"/>
                    <a:gd name="connsiteX54" fmla="*/ 489613 w 512809"/>
                    <a:gd name="connsiteY54" fmla="*/ 123021 h 274563"/>
                    <a:gd name="connsiteX55" fmla="*/ 471169 w 512809"/>
                    <a:gd name="connsiteY55" fmla="*/ 123021 h 274563"/>
                    <a:gd name="connsiteX56" fmla="*/ 465845 w 512809"/>
                    <a:gd name="connsiteY56" fmla="*/ 120739 h 274563"/>
                    <a:gd name="connsiteX57" fmla="*/ 450254 w 512809"/>
                    <a:gd name="connsiteY57" fmla="*/ 104577 h 274563"/>
                    <a:gd name="connsiteX58" fmla="*/ 432761 w 512809"/>
                    <a:gd name="connsiteY58" fmla="*/ 97162 h 274563"/>
                    <a:gd name="connsiteX59" fmla="*/ 377810 w 512809"/>
                    <a:gd name="connsiteY59" fmla="*/ 97162 h 274563"/>
                    <a:gd name="connsiteX60" fmla="*/ 378190 w 512809"/>
                    <a:gd name="connsiteY60" fmla="*/ 50197 h 274563"/>
                    <a:gd name="connsiteX61" fmla="*/ 409754 w 512809"/>
                    <a:gd name="connsiteY61" fmla="*/ 257641 h 274563"/>
                    <a:gd name="connsiteX62" fmla="*/ 368113 w 512809"/>
                    <a:gd name="connsiteY62" fmla="*/ 216000 h 274563"/>
                    <a:gd name="connsiteX63" fmla="*/ 409754 w 512809"/>
                    <a:gd name="connsiteY63" fmla="*/ 174359 h 274563"/>
                    <a:gd name="connsiteX64" fmla="*/ 451394 w 512809"/>
                    <a:gd name="connsiteY64" fmla="*/ 216000 h 274563"/>
                    <a:gd name="connsiteX65" fmla="*/ 409754 w 512809"/>
                    <a:gd name="connsiteY65" fmla="*/ 257641 h 274563"/>
                    <a:gd name="connsiteX66" fmla="*/ 463563 w 512809"/>
                    <a:gd name="connsiteY66" fmla="*/ 182725 h 274563"/>
                    <a:gd name="connsiteX67" fmla="*/ 463563 w 512809"/>
                    <a:gd name="connsiteY67" fmla="*/ 192803 h 274563"/>
                    <a:gd name="connsiteX68" fmla="*/ 409754 w 512809"/>
                    <a:gd name="connsiteY68" fmla="*/ 157437 h 274563"/>
                    <a:gd name="connsiteX69" fmla="*/ 377620 w 512809"/>
                    <a:gd name="connsiteY69" fmla="*/ 167134 h 274563"/>
                    <a:gd name="connsiteX70" fmla="*/ 377810 w 512809"/>
                    <a:gd name="connsiteY70" fmla="*/ 114085 h 274563"/>
                    <a:gd name="connsiteX71" fmla="*/ 432761 w 512809"/>
                    <a:gd name="connsiteY71" fmla="*/ 114085 h 274563"/>
                    <a:gd name="connsiteX72" fmla="*/ 438275 w 512809"/>
                    <a:gd name="connsiteY72" fmla="*/ 116366 h 274563"/>
                    <a:gd name="connsiteX73" fmla="*/ 453866 w 512809"/>
                    <a:gd name="connsiteY73" fmla="*/ 132528 h 274563"/>
                    <a:gd name="connsiteX74" fmla="*/ 471359 w 512809"/>
                    <a:gd name="connsiteY74" fmla="*/ 139944 h 274563"/>
                    <a:gd name="connsiteX75" fmla="*/ 489803 w 512809"/>
                    <a:gd name="connsiteY75" fmla="*/ 139944 h 274563"/>
                    <a:gd name="connsiteX76" fmla="*/ 489803 w 512809"/>
                    <a:gd name="connsiteY76" fmla="*/ 175500 h 274563"/>
                    <a:gd name="connsiteX77" fmla="*/ 489803 w 512809"/>
                    <a:gd name="connsiteY77" fmla="*/ 175880 h 274563"/>
                    <a:gd name="connsiteX78" fmla="*/ 470408 w 512809"/>
                    <a:gd name="connsiteY78" fmla="*/ 175880 h 274563"/>
                    <a:gd name="connsiteX79" fmla="*/ 463563 w 512809"/>
                    <a:gd name="connsiteY79" fmla="*/ 182725 h 274563"/>
                    <a:gd name="connsiteX80" fmla="*/ 498930 w 512809"/>
                    <a:gd name="connsiteY80" fmla="*/ 211056 h 274563"/>
                    <a:gd name="connsiteX81" fmla="*/ 477063 w 512809"/>
                    <a:gd name="connsiteY81" fmla="*/ 211056 h 274563"/>
                    <a:gd name="connsiteX82" fmla="*/ 477063 w 512809"/>
                    <a:gd name="connsiteY82" fmla="*/ 189570 h 274563"/>
                    <a:gd name="connsiteX83" fmla="*/ 498930 w 512809"/>
                    <a:gd name="connsiteY83" fmla="*/ 189570 h 274563"/>
                    <a:gd name="connsiteX84" fmla="*/ 498930 w 512809"/>
                    <a:gd name="connsiteY84" fmla="*/ 211056 h 274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512809" h="274563">
                      <a:moveTo>
                        <a:pt x="506535" y="176070"/>
                      </a:moveTo>
                      <a:cubicBezTo>
                        <a:pt x="506535" y="175880"/>
                        <a:pt x="506725" y="175690"/>
                        <a:pt x="506725" y="175500"/>
                      </a:cubicBezTo>
                      <a:lnTo>
                        <a:pt x="506725" y="104577"/>
                      </a:lnTo>
                      <a:cubicBezTo>
                        <a:pt x="506725" y="103056"/>
                        <a:pt x="506345" y="101725"/>
                        <a:pt x="505585" y="100394"/>
                      </a:cubicBezTo>
                      <a:lnTo>
                        <a:pt x="456718" y="11979"/>
                      </a:lnTo>
                      <a:cubicBezTo>
                        <a:pt x="456148" y="10838"/>
                        <a:pt x="455197" y="9697"/>
                        <a:pt x="454056" y="8937"/>
                      </a:cubicBezTo>
                      <a:lnTo>
                        <a:pt x="442458" y="1331"/>
                      </a:lnTo>
                      <a:cubicBezTo>
                        <a:pt x="441127" y="380"/>
                        <a:pt x="439416" y="0"/>
                        <a:pt x="437704" y="0"/>
                      </a:cubicBezTo>
                      <a:lnTo>
                        <a:pt x="437704" y="0"/>
                      </a:lnTo>
                      <a:lnTo>
                        <a:pt x="370204" y="0"/>
                      </a:lnTo>
                      <a:cubicBezTo>
                        <a:pt x="365641" y="0"/>
                        <a:pt x="361838" y="3803"/>
                        <a:pt x="361648" y="8366"/>
                      </a:cubicBezTo>
                      <a:cubicBezTo>
                        <a:pt x="360317" y="123401"/>
                        <a:pt x="360507" y="159148"/>
                        <a:pt x="360697" y="170746"/>
                      </a:cubicBezTo>
                      <a:lnTo>
                        <a:pt x="144317" y="170746"/>
                      </a:lnTo>
                      <a:cubicBezTo>
                        <a:pt x="134239" y="162380"/>
                        <a:pt x="121120" y="157246"/>
                        <a:pt x="107049" y="157246"/>
                      </a:cubicBezTo>
                      <a:cubicBezTo>
                        <a:pt x="92979" y="157246"/>
                        <a:pt x="79859" y="162380"/>
                        <a:pt x="69782" y="170746"/>
                      </a:cubicBezTo>
                      <a:lnTo>
                        <a:pt x="12930" y="170746"/>
                      </a:lnTo>
                      <a:cubicBezTo>
                        <a:pt x="4373" y="170746"/>
                        <a:pt x="0" y="178352"/>
                        <a:pt x="0" y="185958"/>
                      </a:cubicBezTo>
                      <a:lnTo>
                        <a:pt x="0" y="209155"/>
                      </a:lnTo>
                      <a:cubicBezTo>
                        <a:pt x="0" y="220183"/>
                        <a:pt x="7986" y="224366"/>
                        <a:pt x="12930" y="224366"/>
                      </a:cubicBezTo>
                      <a:lnTo>
                        <a:pt x="49056" y="224366"/>
                      </a:lnTo>
                      <a:cubicBezTo>
                        <a:pt x="53239" y="252697"/>
                        <a:pt x="77577" y="274563"/>
                        <a:pt x="107049" y="274563"/>
                      </a:cubicBezTo>
                      <a:cubicBezTo>
                        <a:pt x="136521" y="274563"/>
                        <a:pt x="160859" y="252697"/>
                        <a:pt x="165042" y="224366"/>
                      </a:cubicBezTo>
                      <a:lnTo>
                        <a:pt x="351951" y="224366"/>
                      </a:lnTo>
                      <a:cubicBezTo>
                        <a:pt x="356134" y="252697"/>
                        <a:pt x="380472" y="274563"/>
                        <a:pt x="409944" y="274563"/>
                      </a:cubicBezTo>
                      <a:cubicBezTo>
                        <a:pt x="439606" y="274563"/>
                        <a:pt x="464134" y="252507"/>
                        <a:pt x="467937" y="223986"/>
                      </a:cubicBezTo>
                      <a:cubicBezTo>
                        <a:pt x="468697" y="224366"/>
                        <a:pt x="469648" y="224556"/>
                        <a:pt x="470599" y="224556"/>
                      </a:cubicBezTo>
                      <a:lnTo>
                        <a:pt x="505965" y="224556"/>
                      </a:lnTo>
                      <a:cubicBezTo>
                        <a:pt x="509768" y="224556"/>
                        <a:pt x="512810" y="221514"/>
                        <a:pt x="512810" y="217711"/>
                      </a:cubicBezTo>
                      <a:lnTo>
                        <a:pt x="512810" y="182725"/>
                      </a:lnTo>
                      <a:cubicBezTo>
                        <a:pt x="512620" y="179303"/>
                        <a:pt x="509958" y="176451"/>
                        <a:pt x="506535" y="176070"/>
                      </a:cubicBezTo>
                      <a:close/>
                      <a:moveTo>
                        <a:pt x="49056" y="207634"/>
                      </a:moveTo>
                      <a:lnTo>
                        <a:pt x="16923" y="207634"/>
                      </a:lnTo>
                      <a:lnTo>
                        <a:pt x="16923" y="187859"/>
                      </a:lnTo>
                      <a:lnTo>
                        <a:pt x="55711" y="187859"/>
                      </a:lnTo>
                      <a:cubicBezTo>
                        <a:pt x="52289" y="193754"/>
                        <a:pt x="50197" y="200599"/>
                        <a:pt x="49056" y="207634"/>
                      </a:cubicBezTo>
                      <a:close/>
                      <a:moveTo>
                        <a:pt x="107049" y="257641"/>
                      </a:moveTo>
                      <a:cubicBezTo>
                        <a:pt x="84042" y="257641"/>
                        <a:pt x="65408" y="239007"/>
                        <a:pt x="65408" y="216000"/>
                      </a:cubicBezTo>
                      <a:cubicBezTo>
                        <a:pt x="65408" y="192993"/>
                        <a:pt x="84042" y="174359"/>
                        <a:pt x="107049" y="174359"/>
                      </a:cubicBezTo>
                      <a:cubicBezTo>
                        <a:pt x="130056" y="174359"/>
                        <a:pt x="148690" y="192993"/>
                        <a:pt x="148690" y="216000"/>
                      </a:cubicBezTo>
                      <a:cubicBezTo>
                        <a:pt x="148690" y="239007"/>
                        <a:pt x="130056" y="257641"/>
                        <a:pt x="107049" y="257641"/>
                      </a:cubicBezTo>
                      <a:close/>
                      <a:moveTo>
                        <a:pt x="351761" y="207634"/>
                      </a:moveTo>
                      <a:lnTo>
                        <a:pt x="164852" y="207634"/>
                      </a:lnTo>
                      <a:cubicBezTo>
                        <a:pt x="163901" y="200599"/>
                        <a:pt x="161620" y="193944"/>
                        <a:pt x="158197" y="187859"/>
                      </a:cubicBezTo>
                      <a:lnTo>
                        <a:pt x="358225" y="187859"/>
                      </a:lnTo>
                      <a:cubicBezTo>
                        <a:pt x="354993" y="193754"/>
                        <a:pt x="352901" y="200599"/>
                        <a:pt x="351761" y="207634"/>
                      </a:cubicBezTo>
                      <a:close/>
                      <a:moveTo>
                        <a:pt x="378570" y="17113"/>
                      </a:moveTo>
                      <a:lnTo>
                        <a:pt x="435232" y="17113"/>
                      </a:lnTo>
                      <a:lnTo>
                        <a:pt x="442838" y="22246"/>
                      </a:lnTo>
                      <a:lnTo>
                        <a:pt x="449113" y="33465"/>
                      </a:lnTo>
                      <a:lnTo>
                        <a:pt x="378380" y="33465"/>
                      </a:lnTo>
                      <a:cubicBezTo>
                        <a:pt x="378380" y="27761"/>
                        <a:pt x="378570" y="22246"/>
                        <a:pt x="378570" y="17113"/>
                      </a:cubicBezTo>
                      <a:close/>
                      <a:moveTo>
                        <a:pt x="378190" y="50197"/>
                      </a:moveTo>
                      <a:lnTo>
                        <a:pt x="458430" y="50197"/>
                      </a:lnTo>
                      <a:lnTo>
                        <a:pt x="489613" y="106859"/>
                      </a:lnTo>
                      <a:lnTo>
                        <a:pt x="489613" y="123021"/>
                      </a:lnTo>
                      <a:lnTo>
                        <a:pt x="471169" y="123021"/>
                      </a:lnTo>
                      <a:cubicBezTo>
                        <a:pt x="468317" y="123021"/>
                        <a:pt x="465845" y="120739"/>
                        <a:pt x="465845" y="120739"/>
                      </a:cubicBezTo>
                      <a:lnTo>
                        <a:pt x="450254" y="104577"/>
                      </a:lnTo>
                      <a:cubicBezTo>
                        <a:pt x="443218" y="97352"/>
                        <a:pt x="433711" y="97162"/>
                        <a:pt x="432761" y="97162"/>
                      </a:cubicBezTo>
                      <a:lnTo>
                        <a:pt x="377810" y="97162"/>
                      </a:lnTo>
                      <a:cubicBezTo>
                        <a:pt x="378000" y="81951"/>
                        <a:pt x="378000" y="65979"/>
                        <a:pt x="378190" y="50197"/>
                      </a:cubicBezTo>
                      <a:close/>
                      <a:moveTo>
                        <a:pt x="409754" y="257641"/>
                      </a:moveTo>
                      <a:cubicBezTo>
                        <a:pt x="386747" y="257641"/>
                        <a:pt x="368113" y="239007"/>
                        <a:pt x="368113" y="216000"/>
                      </a:cubicBezTo>
                      <a:cubicBezTo>
                        <a:pt x="368113" y="192993"/>
                        <a:pt x="386747" y="174359"/>
                        <a:pt x="409754" y="174359"/>
                      </a:cubicBezTo>
                      <a:cubicBezTo>
                        <a:pt x="432761" y="174359"/>
                        <a:pt x="451394" y="192993"/>
                        <a:pt x="451394" y="216000"/>
                      </a:cubicBezTo>
                      <a:cubicBezTo>
                        <a:pt x="451394" y="239007"/>
                        <a:pt x="432761" y="257641"/>
                        <a:pt x="409754" y="257641"/>
                      </a:cubicBezTo>
                      <a:close/>
                      <a:moveTo>
                        <a:pt x="463563" y="182725"/>
                      </a:moveTo>
                      <a:lnTo>
                        <a:pt x="463563" y="192803"/>
                      </a:lnTo>
                      <a:cubicBezTo>
                        <a:pt x="454627" y="172077"/>
                        <a:pt x="433901" y="157437"/>
                        <a:pt x="409754" y="157437"/>
                      </a:cubicBezTo>
                      <a:cubicBezTo>
                        <a:pt x="397775" y="157437"/>
                        <a:pt x="386747" y="161049"/>
                        <a:pt x="377620" y="167134"/>
                      </a:cubicBezTo>
                      <a:cubicBezTo>
                        <a:pt x="377620" y="157246"/>
                        <a:pt x="377620" y="137662"/>
                        <a:pt x="377810" y="114085"/>
                      </a:cubicBezTo>
                      <a:lnTo>
                        <a:pt x="432761" y="114085"/>
                      </a:lnTo>
                      <a:cubicBezTo>
                        <a:pt x="432761" y="114085"/>
                        <a:pt x="436183" y="114275"/>
                        <a:pt x="438275" y="116366"/>
                      </a:cubicBezTo>
                      <a:lnTo>
                        <a:pt x="453866" y="132528"/>
                      </a:lnTo>
                      <a:cubicBezTo>
                        <a:pt x="454627" y="133289"/>
                        <a:pt x="461282" y="139944"/>
                        <a:pt x="471359" y="139944"/>
                      </a:cubicBezTo>
                      <a:lnTo>
                        <a:pt x="489803" y="139944"/>
                      </a:lnTo>
                      <a:lnTo>
                        <a:pt x="489803" y="175500"/>
                      </a:lnTo>
                      <a:cubicBezTo>
                        <a:pt x="489803" y="175690"/>
                        <a:pt x="489803" y="175690"/>
                        <a:pt x="489803" y="175880"/>
                      </a:cubicBezTo>
                      <a:lnTo>
                        <a:pt x="470408" y="175880"/>
                      </a:lnTo>
                      <a:cubicBezTo>
                        <a:pt x="466606" y="175880"/>
                        <a:pt x="463563" y="178923"/>
                        <a:pt x="463563" y="182725"/>
                      </a:cubicBezTo>
                      <a:close/>
                      <a:moveTo>
                        <a:pt x="498930" y="211056"/>
                      </a:moveTo>
                      <a:lnTo>
                        <a:pt x="477063" y="211056"/>
                      </a:lnTo>
                      <a:lnTo>
                        <a:pt x="477063" y="189570"/>
                      </a:lnTo>
                      <a:lnTo>
                        <a:pt x="498930" y="189570"/>
                      </a:lnTo>
                      <a:lnTo>
                        <a:pt x="498930" y="211056"/>
                      </a:lnTo>
                      <a:close/>
                    </a:path>
                  </a:pathLst>
                </a:custGeom>
                <a:grpFill/>
                <a:ln w="1878" cap="flat">
                  <a:noFill/>
                  <a:prstDash val="solid"/>
                  <a:miter/>
                </a:ln>
              </p:spPr>
              <p:txBody>
                <a:bodyPr rtlCol="0" anchor="ctr"/>
                <a:lstStyle/>
                <a:p>
                  <a:endParaRPr lang="en-GB" noProof="0" dirty="0"/>
                </a:p>
              </p:txBody>
            </p:sp>
            <p:sp>
              <p:nvSpPr>
                <p:cNvPr id="151" name="Freihandform: Form 150">
                  <a:extLst>
                    <a:ext uri="{FF2B5EF4-FFF2-40B4-BE49-F238E27FC236}">
                      <a16:creationId xmlns:a16="http://schemas.microsoft.com/office/drawing/2014/main" id="{DDCDD1A4-8F3A-7DFC-6463-FCF968CBE65A}"/>
                    </a:ext>
                  </a:extLst>
                </p:cNvPr>
                <p:cNvSpPr>
                  <a:spLocks noChangeAspect="1"/>
                </p:cNvSpPr>
                <p:nvPr/>
              </p:nvSpPr>
              <p:spPr>
                <a:xfrm>
                  <a:off x="3744051" y="3270351"/>
                  <a:ext cx="360000" cy="199448"/>
                </a:xfrm>
                <a:custGeom>
                  <a:avLst/>
                  <a:gdLst>
                    <a:gd name="connsiteX0" fmla="*/ 55027 w 372371"/>
                    <a:gd name="connsiteY0" fmla="*/ 206303 h 206302"/>
                    <a:gd name="connsiteX1" fmla="*/ 331682 w 372371"/>
                    <a:gd name="connsiteY1" fmla="*/ 206303 h 206302"/>
                    <a:gd name="connsiteX2" fmla="*/ 339668 w 372371"/>
                    <a:gd name="connsiteY2" fmla="*/ 200789 h 206302"/>
                    <a:gd name="connsiteX3" fmla="*/ 371421 w 372371"/>
                    <a:gd name="connsiteY3" fmla="*/ 116937 h 206302"/>
                    <a:gd name="connsiteX4" fmla="*/ 371992 w 372371"/>
                    <a:gd name="connsiteY4" fmla="*/ 113894 h 206302"/>
                    <a:gd name="connsiteX5" fmla="*/ 372372 w 372371"/>
                    <a:gd name="connsiteY5" fmla="*/ 8556 h 206302"/>
                    <a:gd name="connsiteX6" fmla="*/ 369900 w 372371"/>
                    <a:gd name="connsiteY6" fmla="*/ 2472 h 206302"/>
                    <a:gd name="connsiteX7" fmla="*/ 363815 w 372371"/>
                    <a:gd name="connsiteY7" fmla="*/ 0 h 206302"/>
                    <a:gd name="connsiteX8" fmla="*/ 44189 w 372371"/>
                    <a:gd name="connsiteY8" fmla="*/ 0 h 206302"/>
                    <a:gd name="connsiteX9" fmla="*/ 36203 w 372371"/>
                    <a:gd name="connsiteY9" fmla="*/ 5704 h 206302"/>
                    <a:gd name="connsiteX10" fmla="*/ 456 w 372371"/>
                    <a:gd name="connsiteY10" fmla="*/ 106099 h 206302"/>
                    <a:gd name="connsiteX11" fmla="*/ 1027 w 372371"/>
                    <a:gd name="connsiteY11" fmla="*/ 112944 h 206302"/>
                    <a:gd name="connsiteX12" fmla="*/ 47801 w 372371"/>
                    <a:gd name="connsiteY12" fmla="*/ 201739 h 206302"/>
                    <a:gd name="connsiteX13" fmla="*/ 55027 w 372371"/>
                    <a:gd name="connsiteY13" fmla="*/ 206303 h 206302"/>
                    <a:gd name="connsiteX14" fmla="*/ 285097 w 372371"/>
                    <a:gd name="connsiteY14" fmla="*/ 17303 h 206302"/>
                    <a:gd name="connsiteX15" fmla="*/ 355449 w 372371"/>
                    <a:gd name="connsiteY15" fmla="*/ 17303 h 206302"/>
                    <a:gd name="connsiteX16" fmla="*/ 355069 w 372371"/>
                    <a:gd name="connsiteY16" fmla="*/ 103437 h 206302"/>
                    <a:gd name="connsiteX17" fmla="*/ 285097 w 372371"/>
                    <a:gd name="connsiteY17" fmla="*/ 103437 h 206302"/>
                    <a:gd name="connsiteX18" fmla="*/ 285097 w 372371"/>
                    <a:gd name="connsiteY18" fmla="*/ 17303 h 206302"/>
                    <a:gd name="connsiteX19" fmla="*/ 198393 w 372371"/>
                    <a:gd name="connsiteY19" fmla="*/ 17303 h 206302"/>
                    <a:gd name="connsiteX20" fmla="*/ 268175 w 372371"/>
                    <a:gd name="connsiteY20" fmla="*/ 17303 h 206302"/>
                    <a:gd name="connsiteX21" fmla="*/ 268175 w 372371"/>
                    <a:gd name="connsiteY21" fmla="*/ 103437 h 206302"/>
                    <a:gd name="connsiteX22" fmla="*/ 198393 w 372371"/>
                    <a:gd name="connsiteY22" fmla="*/ 103437 h 206302"/>
                    <a:gd name="connsiteX23" fmla="*/ 198393 w 372371"/>
                    <a:gd name="connsiteY23" fmla="*/ 17303 h 206302"/>
                    <a:gd name="connsiteX24" fmla="*/ 111308 w 372371"/>
                    <a:gd name="connsiteY24" fmla="*/ 17303 h 206302"/>
                    <a:gd name="connsiteX25" fmla="*/ 181470 w 372371"/>
                    <a:gd name="connsiteY25" fmla="*/ 17303 h 206302"/>
                    <a:gd name="connsiteX26" fmla="*/ 181470 w 372371"/>
                    <a:gd name="connsiteY26" fmla="*/ 103437 h 206302"/>
                    <a:gd name="connsiteX27" fmla="*/ 111308 w 372371"/>
                    <a:gd name="connsiteY27" fmla="*/ 103437 h 206302"/>
                    <a:gd name="connsiteX28" fmla="*/ 111308 w 372371"/>
                    <a:gd name="connsiteY28" fmla="*/ 17303 h 206302"/>
                    <a:gd name="connsiteX29" fmla="*/ 50083 w 372371"/>
                    <a:gd name="connsiteY29" fmla="*/ 17303 h 206302"/>
                    <a:gd name="connsiteX30" fmla="*/ 94196 w 372371"/>
                    <a:gd name="connsiteY30" fmla="*/ 17303 h 206302"/>
                    <a:gd name="connsiteX31" fmla="*/ 94196 w 372371"/>
                    <a:gd name="connsiteY31" fmla="*/ 103437 h 206302"/>
                    <a:gd name="connsiteX32" fmla="*/ 19280 w 372371"/>
                    <a:gd name="connsiteY32" fmla="*/ 103437 h 206302"/>
                    <a:gd name="connsiteX33" fmla="*/ 50083 w 372371"/>
                    <a:gd name="connsiteY33" fmla="*/ 17303 h 206302"/>
                    <a:gd name="connsiteX34" fmla="*/ 23844 w 372371"/>
                    <a:gd name="connsiteY34" fmla="*/ 120359 h 206302"/>
                    <a:gd name="connsiteX35" fmla="*/ 352027 w 372371"/>
                    <a:gd name="connsiteY35" fmla="*/ 120359 h 206302"/>
                    <a:gd name="connsiteX36" fmla="*/ 347083 w 372371"/>
                    <a:gd name="connsiteY36" fmla="*/ 133669 h 206302"/>
                    <a:gd name="connsiteX37" fmla="*/ 30879 w 372371"/>
                    <a:gd name="connsiteY37" fmla="*/ 133669 h 206302"/>
                    <a:gd name="connsiteX38" fmla="*/ 23844 w 372371"/>
                    <a:gd name="connsiteY38" fmla="*/ 120359 h 206302"/>
                    <a:gd name="connsiteX39" fmla="*/ 340618 w 372371"/>
                    <a:gd name="connsiteY39" fmla="*/ 150592 h 206302"/>
                    <a:gd name="connsiteX40" fmla="*/ 325977 w 372371"/>
                    <a:gd name="connsiteY40" fmla="*/ 189380 h 206302"/>
                    <a:gd name="connsiteX41" fmla="*/ 60161 w 372371"/>
                    <a:gd name="connsiteY41" fmla="*/ 189380 h 206302"/>
                    <a:gd name="connsiteX42" fmla="*/ 39815 w 372371"/>
                    <a:gd name="connsiteY42" fmla="*/ 150592 h 206302"/>
                    <a:gd name="connsiteX43" fmla="*/ 340618 w 372371"/>
                    <a:gd name="connsiteY43" fmla="*/ 150592 h 206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72371" h="206302">
                      <a:moveTo>
                        <a:pt x="55027" y="206303"/>
                      </a:moveTo>
                      <a:lnTo>
                        <a:pt x="331682" y="206303"/>
                      </a:lnTo>
                      <a:cubicBezTo>
                        <a:pt x="335294" y="206303"/>
                        <a:pt x="338337" y="204211"/>
                        <a:pt x="339668" y="200789"/>
                      </a:cubicBezTo>
                      <a:lnTo>
                        <a:pt x="371421" y="116937"/>
                      </a:lnTo>
                      <a:cubicBezTo>
                        <a:pt x="371801" y="115986"/>
                        <a:pt x="371992" y="115035"/>
                        <a:pt x="371992" y="113894"/>
                      </a:cubicBezTo>
                      <a:lnTo>
                        <a:pt x="372372" y="8556"/>
                      </a:lnTo>
                      <a:cubicBezTo>
                        <a:pt x="372372" y="6275"/>
                        <a:pt x="371421" y="4183"/>
                        <a:pt x="369900" y="2472"/>
                      </a:cubicBezTo>
                      <a:cubicBezTo>
                        <a:pt x="368379" y="951"/>
                        <a:pt x="366097" y="0"/>
                        <a:pt x="363815" y="0"/>
                      </a:cubicBezTo>
                      <a:lnTo>
                        <a:pt x="44189" y="0"/>
                      </a:lnTo>
                      <a:cubicBezTo>
                        <a:pt x="40576" y="0"/>
                        <a:pt x="37344" y="2282"/>
                        <a:pt x="36203" y="5704"/>
                      </a:cubicBezTo>
                      <a:lnTo>
                        <a:pt x="456" y="106099"/>
                      </a:lnTo>
                      <a:cubicBezTo>
                        <a:pt x="-304" y="108380"/>
                        <a:pt x="-114" y="110852"/>
                        <a:pt x="1027" y="112944"/>
                      </a:cubicBezTo>
                      <a:lnTo>
                        <a:pt x="47801" y="201739"/>
                      </a:lnTo>
                      <a:cubicBezTo>
                        <a:pt x="48942" y="204592"/>
                        <a:pt x="51985" y="206303"/>
                        <a:pt x="55027" y="206303"/>
                      </a:cubicBezTo>
                      <a:close/>
                      <a:moveTo>
                        <a:pt x="285097" y="17303"/>
                      </a:moveTo>
                      <a:lnTo>
                        <a:pt x="355449" y="17303"/>
                      </a:lnTo>
                      <a:lnTo>
                        <a:pt x="355069" y="103437"/>
                      </a:lnTo>
                      <a:lnTo>
                        <a:pt x="285097" y="103437"/>
                      </a:lnTo>
                      <a:lnTo>
                        <a:pt x="285097" y="17303"/>
                      </a:lnTo>
                      <a:close/>
                      <a:moveTo>
                        <a:pt x="198393" y="17303"/>
                      </a:moveTo>
                      <a:lnTo>
                        <a:pt x="268175" y="17303"/>
                      </a:lnTo>
                      <a:lnTo>
                        <a:pt x="268175" y="103437"/>
                      </a:lnTo>
                      <a:lnTo>
                        <a:pt x="198393" y="103437"/>
                      </a:lnTo>
                      <a:lnTo>
                        <a:pt x="198393" y="17303"/>
                      </a:lnTo>
                      <a:close/>
                      <a:moveTo>
                        <a:pt x="111308" y="17303"/>
                      </a:moveTo>
                      <a:lnTo>
                        <a:pt x="181470" y="17303"/>
                      </a:lnTo>
                      <a:lnTo>
                        <a:pt x="181470" y="103437"/>
                      </a:lnTo>
                      <a:lnTo>
                        <a:pt x="111308" y="103437"/>
                      </a:lnTo>
                      <a:lnTo>
                        <a:pt x="111308" y="17303"/>
                      </a:lnTo>
                      <a:close/>
                      <a:moveTo>
                        <a:pt x="50083" y="17303"/>
                      </a:moveTo>
                      <a:lnTo>
                        <a:pt x="94196" y="17303"/>
                      </a:lnTo>
                      <a:lnTo>
                        <a:pt x="94196" y="103437"/>
                      </a:lnTo>
                      <a:lnTo>
                        <a:pt x="19280" y="103437"/>
                      </a:lnTo>
                      <a:lnTo>
                        <a:pt x="50083" y="17303"/>
                      </a:lnTo>
                      <a:close/>
                      <a:moveTo>
                        <a:pt x="23844" y="120359"/>
                      </a:moveTo>
                      <a:lnTo>
                        <a:pt x="352027" y="120359"/>
                      </a:lnTo>
                      <a:lnTo>
                        <a:pt x="347083" y="133669"/>
                      </a:lnTo>
                      <a:lnTo>
                        <a:pt x="30879" y="133669"/>
                      </a:lnTo>
                      <a:lnTo>
                        <a:pt x="23844" y="120359"/>
                      </a:lnTo>
                      <a:close/>
                      <a:moveTo>
                        <a:pt x="340618" y="150592"/>
                      </a:moveTo>
                      <a:lnTo>
                        <a:pt x="325977" y="189380"/>
                      </a:lnTo>
                      <a:lnTo>
                        <a:pt x="60161" y="189380"/>
                      </a:lnTo>
                      <a:lnTo>
                        <a:pt x="39815" y="150592"/>
                      </a:lnTo>
                      <a:lnTo>
                        <a:pt x="340618" y="150592"/>
                      </a:lnTo>
                      <a:close/>
                    </a:path>
                  </a:pathLst>
                </a:custGeom>
                <a:grpFill/>
                <a:ln w="1878" cap="flat">
                  <a:noFill/>
                  <a:prstDash val="solid"/>
                  <a:miter/>
                </a:ln>
              </p:spPr>
              <p:txBody>
                <a:bodyPr rtlCol="0" anchor="ctr"/>
                <a:lstStyle/>
                <a:p>
                  <a:endParaRPr lang="en-GB" noProof="0" dirty="0"/>
                </a:p>
              </p:txBody>
            </p:sp>
          </p:grpSp>
        </p:grpSp>
      </p:grpSp>
      <p:grpSp>
        <p:nvGrpSpPr>
          <p:cNvPr id="201" name="Grafik 9">
            <a:extLst>
              <a:ext uri="{FF2B5EF4-FFF2-40B4-BE49-F238E27FC236}">
                <a16:creationId xmlns:a16="http://schemas.microsoft.com/office/drawing/2014/main" id="{91BC0558-0B87-24E5-8E39-998641A028A8}"/>
              </a:ext>
            </a:extLst>
          </p:cNvPr>
          <p:cNvGrpSpPr>
            <a:grpSpLocks noChangeAspect="1"/>
          </p:cNvGrpSpPr>
          <p:nvPr/>
        </p:nvGrpSpPr>
        <p:grpSpPr>
          <a:xfrm>
            <a:off x="993769" y="2165421"/>
            <a:ext cx="288000" cy="260491"/>
            <a:chOff x="4674715" y="3790008"/>
            <a:chExt cx="491706" cy="444739"/>
          </a:xfrm>
          <a:solidFill>
            <a:schemeClr val="accent1"/>
          </a:solidFill>
        </p:grpSpPr>
        <p:grpSp>
          <p:nvGrpSpPr>
            <p:cNvPr id="202" name="Grafik 9">
              <a:extLst>
                <a:ext uri="{FF2B5EF4-FFF2-40B4-BE49-F238E27FC236}">
                  <a16:creationId xmlns:a16="http://schemas.microsoft.com/office/drawing/2014/main" id="{565BF143-9C51-728F-812D-D9E46CDF0914}"/>
                </a:ext>
              </a:extLst>
            </p:cNvPr>
            <p:cNvGrpSpPr/>
            <p:nvPr/>
          </p:nvGrpSpPr>
          <p:grpSpPr>
            <a:xfrm>
              <a:off x="4674715" y="3790008"/>
              <a:ext cx="491706" cy="444739"/>
              <a:chOff x="4674715" y="3790008"/>
              <a:chExt cx="491706" cy="444739"/>
            </a:xfrm>
            <a:grpFill/>
          </p:grpSpPr>
          <p:grpSp>
            <p:nvGrpSpPr>
              <p:cNvPr id="203" name="Grafik 9">
                <a:extLst>
                  <a:ext uri="{FF2B5EF4-FFF2-40B4-BE49-F238E27FC236}">
                    <a16:creationId xmlns:a16="http://schemas.microsoft.com/office/drawing/2014/main" id="{1A00DD71-047E-BBDD-CD8D-BDEA00949AC6}"/>
                  </a:ext>
                </a:extLst>
              </p:cNvPr>
              <p:cNvGrpSpPr/>
              <p:nvPr/>
            </p:nvGrpSpPr>
            <p:grpSpPr>
              <a:xfrm>
                <a:off x="4674715" y="3790008"/>
                <a:ext cx="491706" cy="444739"/>
                <a:chOff x="4674715" y="3790008"/>
                <a:chExt cx="491706" cy="444739"/>
              </a:xfrm>
              <a:grpFill/>
            </p:grpSpPr>
            <p:sp>
              <p:nvSpPr>
                <p:cNvPr id="204" name="Freihandform: Form 203">
                  <a:extLst>
                    <a:ext uri="{FF2B5EF4-FFF2-40B4-BE49-F238E27FC236}">
                      <a16:creationId xmlns:a16="http://schemas.microsoft.com/office/drawing/2014/main" id="{2194FB8F-B205-B028-67E9-AF07C3F42482}"/>
                    </a:ext>
                  </a:extLst>
                </p:cNvPr>
                <p:cNvSpPr/>
                <p:nvPr/>
              </p:nvSpPr>
              <p:spPr>
                <a:xfrm>
                  <a:off x="4674715" y="3790008"/>
                  <a:ext cx="491706" cy="444739"/>
                </a:xfrm>
                <a:custGeom>
                  <a:avLst/>
                  <a:gdLst>
                    <a:gd name="connsiteX0" fmla="*/ 483148 w 491704"/>
                    <a:gd name="connsiteY0" fmla="*/ 427627 h 444739"/>
                    <a:gd name="connsiteX1" fmla="*/ 443979 w 491704"/>
                    <a:gd name="connsiteY1" fmla="*/ 427627 h 444739"/>
                    <a:gd name="connsiteX2" fmla="*/ 443979 w 491704"/>
                    <a:gd name="connsiteY2" fmla="*/ 427627 h 444739"/>
                    <a:gd name="connsiteX3" fmla="*/ 443979 w 491704"/>
                    <a:gd name="connsiteY3" fmla="*/ 17113 h 444739"/>
                    <a:gd name="connsiteX4" fmla="*/ 457859 w 491704"/>
                    <a:gd name="connsiteY4" fmla="*/ 17113 h 444739"/>
                    <a:gd name="connsiteX5" fmla="*/ 466416 w 491704"/>
                    <a:gd name="connsiteY5" fmla="*/ 8556 h 444739"/>
                    <a:gd name="connsiteX6" fmla="*/ 457859 w 491704"/>
                    <a:gd name="connsiteY6" fmla="*/ 0 h 444739"/>
                    <a:gd name="connsiteX7" fmla="*/ 32894 w 491704"/>
                    <a:gd name="connsiteY7" fmla="*/ 0 h 444739"/>
                    <a:gd name="connsiteX8" fmla="*/ 24338 w 491704"/>
                    <a:gd name="connsiteY8" fmla="*/ 8556 h 444739"/>
                    <a:gd name="connsiteX9" fmla="*/ 32894 w 491704"/>
                    <a:gd name="connsiteY9" fmla="*/ 17113 h 444739"/>
                    <a:gd name="connsiteX10" fmla="*/ 48676 w 491704"/>
                    <a:gd name="connsiteY10" fmla="*/ 17113 h 444739"/>
                    <a:gd name="connsiteX11" fmla="*/ 48676 w 491704"/>
                    <a:gd name="connsiteY11" fmla="*/ 427627 h 444739"/>
                    <a:gd name="connsiteX12" fmla="*/ 8556 w 491704"/>
                    <a:gd name="connsiteY12" fmla="*/ 427627 h 444739"/>
                    <a:gd name="connsiteX13" fmla="*/ 0 w 491704"/>
                    <a:gd name="connsiteY13" fmla="*/ 436183 h 444739"/>
                    <a:gd name="connsiteX14" fmla="*/ 8556 w 491704"/>
                    <a:gd name="connsiteY14" fmla="*/ 444739 h 444739"/>
                    <a:gd name="connsiteX15" fmla="*/ 483148 w 491704"/>
                    <a:gd name="connsiteY15" fmla="*/ 444739 h 444739"/>
                    <a:gd name="connsiteX16" fmla="*/ 491704 w 491704"/>
                    <a:gd name="connsiteY16" fmla="*/ 436183 h 444739"/>
                    <a:gd name="connsiteX17" fmla="*/ 483148 w 491704"/>
                    <a:gd name="connsiteY17" fmla="*/ 427627 h 444739"/>
                    <a:gd name="connsiteX18" fmla="*/ 237296 w 491704"/>
                    <a:gd name="connsiteY18" fmla="*/ 427627 h 444739"/>
                    <a:gd name="connsiteX19" fmla="*/ 206113 w 491704"/>
                    <a:gd name="connsiteY19" fmla="*/ 427627 h 444739"/>
                    <a:gd name="connsiteX20" fmla="*/ 206113 w 491704"/>
                    <a:gd name="connsiteY20" fmla="*/ 308979 h 444739"/>
                    <a:gd name="connsiteX21" fmla="*/ 237296 w 491704"/>
                    <a:gd name="connsiteY21" fmla="*/ 308979 h 444739"/>
                    <a:gd name="connsiteX22" fmla="*/ 237296 w 491704"/>
                    <a:gd name="connsiteY22" fmla="*/ 427627 h 444739"/>
                    <a:gd name="connsiteX23" fmla="*/ 285592 w 491704"/>
                    <a:gd name="connsiteY23" fmla="*/ 427627 h 444739"/>
                    <a:gd name="connsiteX24" fmla="*/ 254408 w 491704"/>
                    <a:gd name="connsiteY24" fmla="*/ 427627 h 444739"/>
                    <a:gd name="connsiteX25" fmla="*/ 254408 w 491704"/>
                    <a:gd name="connsiteY25" fmla="*/ 308979 h 444739"/>
                    <a:gd name="connsiteX26" fmla="*/ 285592 w 491704"/>
                    <a:gd name="connsiteY26" fmla="*/ 308979 h 444739"/>
                    <a:gd name="connsiteX27" fmla="*/ 285592 w 491704"/>
                    <a:gd name="connsiteY27" fmla="*/ 427627 h 444739"/>
                    <a:gd name="connsiteX28" fmla="*/ 302894 w 491704"/>
                    <a:gd name="connsiteY28" fmla="*/ 427627 h 444739"/>
                    <a:gd name="connsiteX29" fmla="*/ 302894 w 491704"/>
                    <a:gd name="connsiteY29" fmla="*/ 300423 h 444739"/>
                    <a:gd name="connsiteX30" fmla="*/ 294338 w 491704"/>
                    <a:gd name="connsiteY30" fmla="*/ 291866 h 444739"/>
                    <a:gd name="connsiteX31" fmla="*/ 197556 w 491704"/>
                    <a:gd name="connsiteY31" fmla="*/ 291866 h 444739"/>
                    <a:gd name="connsiteX32" fmla="*/ 189000 w 491704"/>
                    <a:gd name="connsiteY32" fmla="*/ 300423 h 444739"/>
                    <a:gd name="connsiteX33" fmla="*/ 189000 w 491704"/>
                    <a:gd name="connsiteY33" fmla="*/ 427627 h 444739"/>
                    <a:gd name="connsiteX34" fmla="*/ 65979 w 491704"/>
                    <a:gd name="connsiteY34" fmla="*/ 427627 h 444739"/>
                    <a:gd name="connsiteX35" fmla="*/ 65979 w 491704"/>
                    <a:gd name="connsiteY35" fmla="*/ 17113 h 444739"/>
                    <a:gd name="connsiteX36" fmla="*/ 426866 w 491704"/>
                    <a:gd name="connsiteY36" fmla="*/ 17113 h 444739"/>
                    <a:gd name="connsiteX37" fmla="*/ 426866 w 491704"/>
                    <a:gd name="connsiteY37" fmla="*/ 427627 h 444739"/>
                    <a:gd name="connsiteX38" fmla="*/ 426866 w 491704"/>
                    <a:gd name="connsiteY38" fmla="*/ 427627 h 444739"/>
                    <a:gd name="connsiteX39" fmla="*/ 302894 w 491704"/>
                    <a:gd name="connsiteY39" fmla="*/ 427627 h 44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91704" h="444739">
                      <a:moveTo>
                        <a:pt x="483148" y="427627"/>
                      </a:moveTo>
                      <a:lnTo>
                        <a:pt x="443979" y="427627"/>
                      </a:lnTo>
                      <a:cubicBezTo>
                        <a:pt x="443979" y="427627"/>
                        <a:pt x="443979" y="427627"/>
                        <a:pt x="443979" y="427627"/>
                      </a:cubicBezTo>
                      <a:lnTo>
                        <a:pt x="443979" y="17113"/>
                      </a:lnTo>
                      <a:lnTo>
                        <a:pt x="457859" y="17113"/>
                      </a:lnTo>
                      <a:cubicBezTo>
                        <a:pt x="462613" y="17113"/>
                        <a:pt x="466416" y="13310"/>
                        <a:pt x="466416" y="8556"/>
                      </a:cubicBezTo>
                      <a:cubicBezTo>
                        <a:pt x="466416" y="3803"/>
                        <a:pt x="462613" y="0"/>
                        <a:pt x="457859" y="0"/>
                      </a:cubicBezTo>
                      <a:lnTo>
                        <a:pt x="32894" y="0"/>
                      </a:lnTo>
                      <a:cubicBezTo>
                        <a:pt x="28141" y="0"/>
                        <a:pt x="24338" y="3803"/>
                        <a:pt x="24338" y="8556"/>
                      </a:cubicBezTo>
                      <a:cubicBezTo>
                        <a:pt x="24338" y="13310"/>
                        <a:pt x="28141" y="17113"/>
                        <a:pt x="32894" y="17113"/>
                      </a:cubicBezTo>
                      <a:lnTo>
                        <a:pt x="48676" y="17113"/>
                      </a:lnTo>
                      <a:lnTo>
                        <a:pt x="48676" y="427627"/>
                      </a:lnTo>
                      <a:lnTo>
                        <a:pt x="8556" y="427627"/>
                      </a:lnTo>
                      <a:cubicBezTo>
                        <a:pt x="3803" y="427627"/>
                        <a:pt x="0" y="431430"/>
                        <a:pt x="0" y="436183"/>
                      </a:cubicBezTo>
                      <a:cubicBezTo>
                        <a:pt x="0" y="440937"/>
                        <a:pt x="3803" y="444739"/>
                        <a:pt x="8556" y="444739"/>
                      </a:cubicBezTo>
                      <a:lnTo>
                        <a:pt x="483148" y="444739"/>
                      </a:lnTo>
                      <a:cubicBezTo>
                        <a:pt x="487901" y="444739"/>
                        <a:pt x="491704" y="440937"/>
                        <a:pt x="491704" y="436183"/>
                      </a:cubicBezTo>
                      <a:cubicBezTo>
                        <a:pt x="491704" y="431430"/>
                        <a:pt x="487901" y="427627"/>
                        <a:pt x="483148" y="427627"/>
                      </a:cubicBezTo>
                      <a:close/>
                      <a:moveTo>
                        <a:pt x="237296" y="427627"/>
                      </a:moveTo>
                      <a:lnTo>
                        <a:pt x="206113" y="427627"/>
                      </a:lnTo>
                      <a:lnTo>
                        <a:pt x="206113" y="308979"/>
                      </a:lnTo>
                      <a:lnTo>
                        <a:pt x="237296" y="308979"/>
                      </a:lnTo>
                      <a:lnTo>
                        <a:pt x="237296" y="427627"/>
                      </a:lnTo>
                      <a:close/>
                      <a:moveTo>
                        <a:pt x="285592" y="427627"/>
                      </a:moveTo>
                      <a:lnTo>
                        <a:pt x="254408" y="427627"/>
                      </a:lnTo>
                      <a:lnTo>
                        <a:pt x="254408" y="308979"/>
                      </a:lnTo>
                      <a:lnTo>
                        <a:pt x="285592" y="308979"/>
                      </a:lnTo>
                      <a:lnTo>
                        <a:pt x="285592" y="427627"/>
                      </a:lnTo>
                      <a:close/>
                      <a:moveTo>
                        <a:pt x="302894" y="427627"/>
                      </a:moveTo>
                      <a:lnTo>
                        <a:pt x="302894" y="300423"/>
                      </a:lnTo>
                      <a:cubicBezTo>
                        <a:pt x="302894" y="295669"/>
                        <a:pt x="299092" y="291866"/>
                        <a:pt x="294338" y="291866"/>
                      </a:cubicBezTo>
                      <a:lnTo>
                        <a:pt x="197556" y="291866"/>
                      </a:lnTo>
                      <a:cubicBezTo>
                        <a:pt x="192803" y="291866"/>
                        <a:pt x="189000" y="295669"/>
                        <a:pt x="189000" y="300423"/>
                      </a:cubicBezTo>
                      <a:lnTo>
                        <a:pt x="189000" y="427627"/>
                      </a:lnTo>
                      <a:lnTo>
                        <a:pt x="65979" y="427627"/>
                      </a:lnTo>
                      <a:lnTo>
                        <a:pt x="65979" y="17113"/>
                      </a:lnTo>
                      <a:lnTo>
                        <a:pt x="426866" y="17113"/>
                      </a:lnTo>
                      <a:lnTo>
                        <a:pt x="426866" y="427627"/>
                      </a:lnTo>
                      <a:cubicBezTo>
                        <a:pt x="426866" y="427627"/>
                        <a:pt x="426866" y="427627"/>
                        <a:pt x="426866" y="427627"/>
                      </a:cubicBezTo>
                      <a:lnTo>
                        <a:pt x="302894" y="427627"/>
                      </a:lnTo>
                      <a:close/>
                    </a:path>
                  </a:pathLst>
                </a:custGeom>
                <a:grpFill/>
                <a:ln w="1878" cap="flat">
                  <a:noFill/>
                  <a:prstDash val="solid"/>
                  <a:miter/>
                </a:ln>
              </p:spPr>
              <p:txBody>
                <a:bodyPr rtlCol="0" anchor="ctr"/>
                <a:lstStyle/>
                <a:p>
                  <a:endParaRPr lang="en-GB" noProof="0" dirty="0"/>
                </a:p>
              </p:txBody>
            </p:sp>
            <p:sp>
              <p:nvSpPr>
                <p:cNvPr id="205" name="Freihandform: Form 204">
                  <a:extLst>
                    <a:ext uri="{FF2B5EF4-FFF2-40B4-BE49-F238E27FC236}">
                      <a16:creationId xmlns:a16="http://schemas.microsoft.com/office/drawing/2014/main" id="{D23BF551-6D17-2B00-50B2-96340CD12EDF}"/>
                    </a:ext>
                  </a:extLst>
                </p:cNvPr>
                <p:cNvSpPr/>
                <p:nvPr/>
              </p:nvSpPr>
              <p:spPr>
                <a:xfrm>
                  <a:off x="4997766" y="4081684"/>
                  <a:ext cx="69598" cy="71683"/>
                </a:xfrm>
                <a:custGeom>
                  <a:avLst/>
                  <a:gdLst>
                    <a:gd name="connsiteX0" fmla="*/ 61035 w 69598"/>
                    <a:gd name="connsiteY0" fmla="*/ 0 h 71683"/>
                    <a:gd name="connsiteX1" fmla="*/ 8556 w 69598"/>
                    <a:gd name="connsiteY1" fmla="*/ 0 h 71683"/>
                    <a:gd name="connsiteX2" fmla="*/ 0 w 69598"/>
                    <a:gd name="connsiteY2" fmla="*/ 8556 h 71683"/>
                    <a:gd name="connsiteX3" fmla="*/ 0 w 69598"/>
                    <a:gd name="connsiteY3" fmla="*/ 63127 h 71683"/>
                    <a:gd name="connsiteX4" fmla="*/ 8556 w 69598"/>
                    <a:gd name="connsiteY4" fmla="*/ 71683 h 71683"/>
                    <a:gd name="connsiteX5" fmla="*/ 61035 w 69598"/>
                    <a:gd name="connsiteY5" fmla="*/ 71683 h 71683"/>
                    <a:gd name="connsiteX6" fmla="*/ 69592 w 69598"/>
                    <a:gd name="connsiteY6" fmla="*/ 63127 h 71683"/>
                    <a:gd name="connsiteX7" fmla="*/ 69592 w 69598"/>
                    <a:gd name="connsiteY7" fmla="*/ 8556 h 71683"/>
                    <a:gd name="connsiteX8" fmla="*/ 61035 w 69598"/>
                    <a:gd name="connsiteY8" fmla="*/ 0 h 71683"/>
                    <a:gd name="connsiteX9" fmla="*/ 52479 w 69598"/>
                    <a:gd name="connsiteY9" fmla="*/ 54570 h 71683"/>
                    <a:gd name="connsiteX10" fmla="*/ 17113 w 69598"/>
                    <a:gd name="connsiteY10" fmla="*/ 54570 h 71683"/>
                    <a:gd name="connsiteX11" fmla="*/ 17113 w 69598"/>
                    <a:gd name="connsiteY11" fmla="*/ 17303 h 71683"/>
                    <a:gd name="connsiteX12" fmla="*/ 52479 w 69598"/>
                    <a:gd name="connsiteY12" fmla="*/ 17303 h 71683"/>
                    <a:gd name="connsiteX13" fmla="*/ 52479 w 69598"/>
                    <a:gd name="connsiteY13" fmla="*/ 54570 h 7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598" h="71683">
                      <a:moveTo>
                        <a:pt x="61035" y="0"/>
                      </a:moveTo>
                      <a:lnTo>
                        <a:pt x="8556" y="0"/>
                      </a:lnTo>
                      <a:cubicBezTo>
                        <a:pt x="3803" y="0"/>
                        <a:pt x="0" y="3803"/>
                        <a:pt x="0" y="8556"/>
                      </a:cubicBezTo>
                      <a:lnTo>
                        <a:pt x="0" y="63127"/>
                      </a:lnTo>
                      <a:cubicBezTo>
                        <a:pt x="0" y="67880"/>
                        <a:pt x="3803" y="71683"/>
                        <a:pt x="8556" y="71683"/>
                      </a:cubicBezTo>
                      <a:lnTo>
                        <a:pt x="61035" y="71683"/>
                      </a:lnTo>
                      <a:cubicBezTo>
                        <a:pt x="65789" y="71683"/>
                        <a:pt x="69592" y="67880"/>
                        <a:pt x="69592" y="63127"/>
                      </a:cubicBezTo>
                      <a:lnTo>
                        <a:pt x="69592" y="8556"/>
                      </a:lnTo>
                      <a:cubicBezTo>
                        <a:pt x="69782" y="3993"/>
                        <a:pt x="65789" y="0"/>
                        <a:pt x="61035" y="0"/>
                      </a:cubicBezTo>
                      <a:close/>
                      <a:moveTo>
                        <a:pt x="52479" y="54570"/>
                      </a:moveTo>
                      <a:lnTo>
                        <a:pt x="17113" y="54570"/>
                      </a:lnTo>
                      <a:lnTo>
                        <a:pt x="17113" y="17303"/>
                      </a:lnTo>
                      <a:lnTo>
                        <a:pt x="52479" y="17303"/>
                      </a:lnTo>
                      <a:lnTo>
                        <a:pt x="52479" y="54570"/>
                      </a:lnTo>
                      <a:close/>
                    </a:path>
                  </a:pathLst>
                </a:custGeom>
                <a:grpFill/>
                <a:ln w="1878" cap="flat">
                  <a:noFill/>
                  <a:prstDash val="solid"/>
                  <a:miter/>
                </a:ln>
              </p:spPr>
              <p:txBody>
                <a:bodyPr rtlCol="0" anchor="ctr"/>
                <a:lstStyle/>
                <a:p>
                  <a:endParaRPr lang="en-GB" noProof="0" dirty="0"/>
                </a:p>
              </p:txBody>
            </p:sp>
            <p:sp>
              <p:nvSpPr>
                <p:cNvPr id="206" name="Freihandform: Form 205">
                  <a:extLst>
                    <a:ext uri="{FF2B5EF4-FFF2-40B4-BE49-F238E27FC236}">
                      <a16:creationId xmlns:a16="http://schemas.microsoft.com/office/drawing/2014/main" id="{B6A63EED-6B99-2370-CBA2-8C210DD261FD}"/>
                    </a:ext>
                  </a:extLst>
                </p:cNvPr>
                <p:cNvSpPr/>
                <p:nvPr/>
              </p:nvSpPr>
              <p:spPr>
                <a:xfrm>
                  <a:off x="4771689" y="4081684"/>
                  <a:ext cx="69598" cy="71683"/>
                </a:xfrm>
                <a:custGeom>
                  <a:avLst/>
                  <a:gdLst>
                    <a:gd name="connsiteX0" fmla="*/ 61225 w 69598"/>
                    <a:gd name="connsiteY0" fmla="*/ 0 h 71683"/>
                    <a:gd name="connsiteX1" fmla="*/ 8556 w 69598"/>
                    <a:gd name="connsiteY1" fmla="*/ 0 h 71683"/>
                    <a:gd name="connsiteX2" fmla="*/ 0 w 69598"/>
                    <a:gd name="connsiteY2" fmla="*/ 8556 h 71683"/>
                    <a:gd name="connsiteX3" fmla="*/ 0 w 69598"/>
                    <a:gd name="connsiteY3" fmla="*/ 63127 h 71683"/>
                    <a:gd name="connsiteX4" fmla="*/ 8556 w 69598"/>
                    <a:gd name="connsiteY4" fmla="*/ 71683 h 71683"/>
                    <a:gd name="connsiteX5" fmla="*/ 61035 w 69598"/>
                    <a:gd name="connsiteY5" fmla="*/ 71683 h 71683"/>
                    <a:gd name="connsiteX6" fmla="*/ 69592 w 69598"/>
                    <a:gd name="connsiteY6" fmla="*/ 63127 h 71683"/>
                    <a:gd name="connsiteX7" fmla="*/ 69592 w 69598"/>
                    <a:gd name="connsiteY7" fmla="*/ 8556 h 71683"/>
                    <a:gd name="connsiteX8" fmla="*/ 61225 w 69598"/>
                    <a:gd name="connsiteY8" fmla="*/ 0 h 71683"/>
                    <a:gd name="connsiteX9" fmla="*/ 52479 w 69598"/>
                    <a:gd name="connsiteY9" fmla="*/ 54570 h 71683"/>
                    <a:gd name="connsiteX10" fmla="*/ 17303 w 69598"/>
                    <a:gd name="connsiteY10" fmla="*/ 54570 h 71683"/>
                    <a:gd name="connsiteX11" fmla="*/ 17303 w 69598"/>
                    <a:gd name="connsiteY11" fmla="*/ 17303 h 71683"/>
                    <a:gd name="connsiteX12" fmla="*/ 52479 w 69598"/>
                    <a:gd name="connsiteY12" fmla="*/ 17303 h 71683"/>
                    <a:gd name="connsiteX13" fmla="*/ 52479 w 69598"/>
                    <a:gd name="connsiteY13" fmla="*/ 54570 h 7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598" h="71683">
                      <a:moveTo>
                        <a:pt x="61225" y="0"/>
                      </a:moveTo>
                      <a:lnTo>
                        <a:pt x="8556" y="0"/>
                      </a:lnTo>
                      <a:cubicBezTo>
                        <a:pt x="3803" y="0"/>
                        <a:pt x="0" y="3803"/>
                        <a:pt x="0" y="8556"/>
                      </a:cubicBezTo>
                      <a:lnTo>
                        <a:pt x="0" y="63127"/>
                      </a:lnTo>
                      <a:cubicBezTo>
                        <a:pt x="0" y="67880"/>
                        <a:pt x="3803" y="71683"/>
                        <a:pt x="8556" y="71683"/>
                      </a:cubicBezTo>
                      <a:lnTo>
                        <a:pt x="61035" y="71683"/>
                      </a:lnTo>
                      <a:cubicBezTo>
                        <a:pt x="65789" y="71683"/>
                        <a:pt x="69592" y="67880"/>
                        <a:pt x="69592" y="63127"/>
                      </a:cubicBezTo>
                      <a:lnTo>
                        <a:pt x="69592" y="8556"/>
                      </a:lnTo>
                      <a:cubicBezTo>
                        <a:pt x="69782" y="3993"/>
                        <a:pt x="65979" y="0"/>
                        <a:pt x="61225" y="0"/>
                      </a:cubicBezTo>
                      <a:close/>
                      <a:moveTo>
                        <a:pt x="52479" y="54570"/>
                      </a:moveTo>
                      <a:lnTo>
                        <a:pt x="17303" y="54570"/>
                      </a:lnTo>
                      <a:lnTo>
                        <a:pt x="17303" y="17303"/>
                      </a:lnTo>
                      <a:lnTo>
                        <a:pt x="52479" y="17303"/>
                      </a:lnTo>
                      <a:lnTo>
                        <a:pt x="52479" y="54570"/>
                      </a:lnTo>
                      <a:close/>
                    </a:path>
                  </a:pathLst>
                </a:custGeom>
                <a:grpFill/>
                <a:ln w="1878" cap="flat">
                  <a:noFill/>
                  <a:prstDash val="solid"/>
                  <a:miter/>
                </a:ln>
              </p:spPr>
              <p:txBody>
                <a:bodyPr rtlCol="0" anchor="ctr"/>
                <a:lstStyle/>
                <a:p>
                  <a:endParaRPr lang="en-GB" noProof="0" dirty="0"/>
                </a:p>
              </p:txBody>
            </p:sp>
            <p:sp>
              <p:nvSpPr>
                <p:cNvPr id="207" name="Freihandform: Form 206">
                  <a:extLst>
                    <a:ext uri="{FF2B5EF4-FFF2-40B4-BE49-F238E27FC236}">
                      <a16:creationId xmlns:a16="http://schemas.microsoft.com/office/drawing/2014/main" id="{98B69204-34A9-89F3-B078-92D491DBB1B2}"/>
                    </a:ext>
                  </a:extLst>
                </p:cNvPr>
                <p:cNvSpPr/>
                <p:nvPr/>
              </p:nvSpPr>
              <p:spPr>
                <a:xfrm>
                  <a:off x="4771689" y="3966269"/>
                  <a:ext cx="122640" cy="71683"/>
                </a:xfrm>
                <a:custGeom>
                  <a:avLst/>
                  <a:gdLst>
                    <a:gd name="connsiteX0" fmla="*/ 8556 w 122640"/>
                    <a:gd name="connsiteY0" fmla="*/ 71683 h 71683"/>
                    <a:gd name="connsiteX1" fmla="*/ 114085 w 122640"/>
                    <a:gd name="connsiteY1" fmla="*/ 71683 h 71683"/>
                    <a:gd name="connsiteX2" fmla="*/ 122641 w 122640"/>
                    <a:gd name="connsiteY2" fmla="*/ 63127 h 71683"/>
                    <a:gd name="connsiteX3" fmla="*/ 122641 w 122640"/>
                    <a:gd name="connsiteY3" fmla="*/ 8556 h 71683"/>
                    <a:gd name="connsiteX4" fmla="*/ 114085 w 122640"/>
                    <a:gd name="connsiteY4" fmla="*/ 0 h 71683"/>
                    <a:gd name="connsiteX5" fmla="*/ 8556 w 122640"/>
                    <a:gd name="connsiteY5" fmla="*/ 0 h 71683"/>
                    <a:gd name="connsiteX6" fmla="*/ 0 w 122640"/>
                    <a:gd name="connsiteY6" fmla="*/ 8556 h 71683"/>
                    <a:gd name="connsiteX7" fmla="*/ 0 w 122640"/>
                    <a:gd name="connsiteY7" fmla="*/ 63127 h 71683"/>
                    <a:gd name="connsiteX8" fmla="*/ 8556 w 122640"/>
                    <a:gd name="connsiteY8" fmla="*/ 71683 h 71683"/>
                    <a:gd name="connsiteX9" fmla="*/ 105528 w 122640"/>
                    <a:gd name="connsiteY9" fmla="*/ 54570 h 71683"/>
                    <a:gd name="connsiteX10" fmla="*/ 69972 w 122640"/>
                    <a:gd name="connsiteY10" fmla="*/ 54570 h 71683"/>
                    <a:gd name="connsiteX11" fmla="*/ 69972 w 122640"/>
                    <a:gd name="connsiteY11" fmla="*/ 17303 h 71683"/>
                    <a:gd name="connsiteX12" fmla="*/ 105528 w 122640"/>
                    <a:gd name="connsiteY12" fmla="*/ 17303 h 71683"/>
                    <a:gd name="connsiteX13" fmla="*/ 105528 w 122640"/>
                    <a:gd name="connsiteY13" fmla="*/ 54570 h 71683"/>
                    <a:gd name="connsiteX14" fmla="*/ 17303 w 122640"/>
                    <a:gd name="connsiteY14" fmla="*/ 17113 h 71683"/>
                    <a:gd name="connsiteX15" fmla="*/ 52859 w 122640"/>
                    <a:gd name="connsiteY15" fmla="*/ 17113 h 71683"/>
                    <a:gd name="connsiteX16" fmla="*/ 52859 w 122640"/>
                    <a:gd name="connsiteY16" fmla="*/ 54380 h 71683"/>
                    <a:gd name="connsiteX17" fmla="*/ 17303 w 122640"/>
                    <a:gd name="connsiteY17" fmla="*/ 54380 h 71683"/>
                    <a:gd name="connsiteX18" fmla="*/ 17303 w 122640"/>
                    <a:gd name="connsiteY18" fmla="*/ 17113 h 7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2640" h="71683">
                      <a:moveTo>
                        <a:pt x="8556" y="71683"/>
                      </a:moveTo>
                      <a:lnTo>
                        <a:pt x="114085" y="71683"/>
                      </a:lnTo>
                      <a:cubicBezTo>
                        <a:pt x="118838" y="71683"/>
                        <a:pt x="122641" y="67880"/>
                        <a:pt x="122641" y="63127"/>
                      </a:cubicBezTo>
                      <a:lnTo>
                        <a:pt x="122641" y="8556"/>
                      </a:lnTo>
                      <a:cubicBezTo>
                        <a:pt x="122641" y="3803"/>
                        <a:pt x="118838" y="0"/>
                        <a:pt x="114085" y="0"/>
                      </a:cubicBezTo>
                      <a:lnTo>
                        <a:pt x="8556" y="0"/>
                      </a:lnTo>
                      <a:cubicBezTo>
                        <a:pt x="3803" y="0"/>
                        <a:pt x="0" y="3803"/>
                        <a:pt x="0" y="8556"/>
                      </a:cubicBezTo>
                      <a:lnTo>
                        <a:pt x="0" y="63127"/>
                      </a:lnTo>
                      <a:cubicBezTo>
                        <a:pt x="0" y="67880"/>
                        <a:pt x="3803" y="71683"/>
                        <a:pt x="8556" y="71683"/>
                      </a:cubicBezTo>
                      <a:close/>
                      <a:moveTo>
                        <a:pt x="105528" y="54570"/>
                      </a:moveTo>
                      <a:lnTo>
                        <a:pt x="69972" y="54570"/>
                      </a:lnTo>
                      <a:lnTo>
                        <a:pt x="69972" y="17303"/>
                      </a:lnTo>
                      <a:lnTo>
                        <a:pt x="105528" y="17303"/>
                      </a:lnTo>
                      <a:lnTo>
                        <a:pt x="105528" y="54570"/>
                      </a:lnTo>
                      <a:close/>
                      <a:moveTo>
                        <a:pt x="17303" y="17113"/>
                      </a:moveTo>
                      <a:lnTo>
                        <a:pt x="52859" y="17113"/>
                      </a:lnTo>
                      <a:lnTo>
                        <a:pt x="52859" y="54380"/>
                      </a:lnTo>
                      <a:lnTo>
                        <a:pt x="17303" y="54380"/>
                      </a:lnTo>
                      <a:lnTo>
                        <a:pt x="17303" y="17113"/>
                      </a:lnTo>
                      <a:close/>
                    </a:path>
                  </a:pathLst>
                </a:custGeom>
                <a:grpFill/>
                <a:ln w="1878" cap="flat">
                  <a:noFill/>
                  <a:prstDash val="solid"/>
                  <a:miter/>
                </a:ln>
              </p:spPr>
              <p:txBody>
                <a:bodyPr rtlCol="0" anchor="ctr"/>
                <a:lstStyle/>
                <a:p>
                  <a:endParaRPr lang="en-GB" noProof="0" dirty="0"/>
                </a:p>
              </p:txBody>
            </p:sp>
            <p:sp>
              <p:nvSpPr>
                <p:cNvPr id="208" name="Freihandform: Form 207">
                  <a:extLst>
                    <a:ext uri="{FF2B5EF4-FFF2-40B4-BE49-F238E27FC236}">
                      <a16:creationId xmlns:a16="http://schemas.microsoft.com/office/drawing/2014/main" id="{3CEABFEB-1D12-F935-A912-A8218D149577}"/>
                    </a:ext>
                  </a:extLst>
                </p:cNvPr>
                <p:cNvSpPr/>
                <p:nvPr/>
              </p:nvSpPr>
              <p:spPr>
                <a:xfrm>
                  <a:off x="4944901" y="3966269"/>
                  <a:ext cx="122647" cy="71683"/>
                </a:xfrm>
                <a:custGeom>
                  <a:avLst/>
                  <a:gdLst>
                    <a:gd name="connsiteX0" fmla="*/ 8563 w 122647"/>
                    <a:gd name="connsiteY0" fmla="*/ 71683 h 71683"/>
                    <a:gd name="connsiteX1" fmla="*/ 114091 w 122647"/>
                    <a:gd name="connsiteY1" fmla="*/ 71683 h 71683"/>
                    <a:gd name="connsiteX2" fmla="*/ 122647 w 122647"/>
                    <a:gd name="connsiteY2" fmla="*/ 63127 h 71683"/>
                    <a:gd name="connsiteX3" fmla="*/ 122647 w 122647"/>
                    <a:gd name="connsiteY3" fmla="*/ 8556 h 71683"/>
                    <a:gd name="connsiteX4" fmla="*/ 114091 w 122647"/>
                    <a:gd name="connsiteY4" fmla="*/ 0 h 71683"/>
                    <a:gd name="connsiteX5" fmla="*/ 8563 w 122647"/>
                    <a:gd name="connsiteY5" fmla="*/ 0 h 71683"/>
                    <a:gd name="connsiteX6" fmla="*/ 7 w 122647"/>
                    <a:gd name="connsiteY6" fmla="*/ 8556 h 71683"/>
                    <a:gd name="connsiteX7" fmla="*/ 7 w 122647"/>
                    <a:gd name="connsiteY7" fmla="*/ 63127 h 71683"/>
                    <a:gd name="connsiteX8" fmla="*/ 8563 w 122647"/>
                    <a:gd name="connsiteY8" fmla="*/ 71683 h 71683"/>
                    <a:gd name="connsiteX9" fmla="*/ 105345 w 122647"/>
                    <a:gd name="connsiteY9" fmla="*/ 54570 h 71683"/>
                    <a:gd name="connsiteX10" fmla="*/ 69788 w 122647"/>
                    <a:gd name="connsiteY10" fmla="*/ 54570 h 71683"/>
                    <a:gd name="connsiteX11" fmla="*/ 69788 w 122647"/>
                    <a:gd name="connsiteY11" fmla="*/ 17303 h 71683"/>
                    <a:gd name="connsiteX12" fmla="*/ 105345 w 122647"/>
                    <a:gd name="connsiteY12" fmla="*/ 17303 h 71683"/>
                    <a:gd name="connsiteX13" fmla="*/ 105345 w 122647"/>
                    <a:gd name="connsiteY13" fmla="*/ 54570 h 71683"/>
                    <a:gd name="connsiteX14" fmla="*/ 17119 w 122647"/>
                    <a:gd name="connsiteY14" fmla="*/ 17113 h 71683"/>
                    <a:gd name="connsiteX15" fmla="*/ 52676 w 122647"/>
                    <a:gd name="connsiteY15" fmla="*/ 17113 h 71683"/>
                    <a:gd name="connsiteX16" fmla="*/ 52676 w 122647"/>
                    <a:gd name="connsiteY16" fmla="*/ 54380 h 71683"/>
                    <a:gd name="connsiteX17" fmla="*/ 17119 w 122647"/>
                    <a:gd name="connsiteY17" fmla="*/ 54380 h 71683"/>
                    <a:gd name="connsiteX18" fmla="*/ 17119 w 122647"/>
                    <a:gd name="connsiteY18" fmla="*/ 17113 h 7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2647" h="71683">
                      <a:moveTo>
                        <a:pt x="8563" y="71683"/>
                      </a:moveTo>
                      <a:lnTo>
                        <a:pt x="114091" y="71683"/>
                      </a:lnTo>
                      <a:cubicBezTo>
                        <a:pt x="118845" y="71683"/>
                        <a:pt x="122647" y="67880"/>
                        <a:pt x="122647" y="63127"/>
                      </a:cubicBezTo>
                      <a:lnTo>
                        <a:pt x="122647" y="8556"/>
                      </a:lnTo>
                      <a:cubicBezTo>
                        <a:pt x="122647" y="3803"/>
                        <a:pt x="118845" y="0"/>
                        <a:pt x="114091" y="0"/>
                      </a:cubicBezTo>
                      <a:lnTo>
                        <a:pt x="8563" y="0"/>
                      </a:lnTo>
                      <a:cubicBezTo>
                        <a:pt x="3809" y="0"/>
                        <a:pt x="7" y="3803"/>
                        <a:pt x="7" y="8556"/>
                      </a:cubicBezTo>
                      <a:lnTo>
                        <a:pt x="7" y="63127"/>
                      </a:lnTo>
                      <a:cubicBezTo>
                        <a:pt x="-184" y="67880"/>
                        <a:pt x="3809" y="71683"/>
                        <a:pt x="8563" y="71683"/>
                      </a:cubicBezTo>
                      <a:close/>
                      <a:moveTo>
                        <a:pt x="105345" y="54570"/>
                      </a:moveTo>
                      <a:lnTo>
                        <a:pt x="69788" y="54570"/>
                      </a:lnTo>
                      <a:lnTo>
                        <a:pt x="69788" y="17303"/>
                      </a:lnTo>
                      <a:lnTo>
                        <a:pt x="105345" y="17303"/>
                      </a:lnTo>
                      <a:lnTo>
                        <a:pt x="105345" y="54570"/>
                      </a:lnTo>
                      <a:close/>
                      <a:moveTo>
                        <a:pt x="17119" y="17113"/>
                      </a:moveTo>
                      <a:lnTo>
                        <a:pt x="52676" y="17113"/>
                      </a:lnTo>
                      <a:lnTo>
                        <a:pt x="52676" y="54380"/>
                      </a:lnTo>
                      <a:lnTo>
                        <a:pt x="17119" y="54380"/>
                      </a:lnTo>
                      <a:lnTo>
                        <a:pt x="17119" y="17113"/>
                      </a:lnTo>
                      <a:close/>
                    </a:path>
                  </a:pathLst>
                </a:custGeom>
                <a:grpFill/>
                <a:ln w="1878" cap="flat">
                  <a:noFill/>
                  <a:prstDash val="solid"/>
                  <a:miter/>
                </a:ln>
              </p:spPr>
              <p:txBody>
                <a:bodyPr rtlCol="0" anchor="ctr"/>
                <a:lstStyle/>
                <a:p>
                  <a:endParaRPr lang="en-GB" noProof="0" dirty="0"/>
                </a:p>
              </p:txBody>
            </p:sp>
            <p:sp>
              <p:nvSpPr>
                <p:cNvPr id="209" name="Freihandform: Form 208">
                  <a:extLst>
                    <a:ext uri="{FF2B5EF4-FFF2-40B4-BE49-F238E27FC236}">
                      <a16:creationId xmlns:a16="http://schemas.microsoft.com/office/drawing/2014/main" id="{523970BA-6139-C0D1-01B2-04D3A370D923}"/>
                    </a:ext>
                  </a:extLst>
                </p:cNvPr>
                <p:cNvSpPr/>
                <p:nvPr/>
              </p:nvSpPr>
              <p:spPr>
                <a:xfrm>
                  <a:off x="4944901" y="3850853"/>
                  <a:ext cx="122647" cy="71683"/>
                </a:xfrm>
                <a:custGeom>
                  <a:avLst/>
                  <a:gdLst>
                    <a:gd name="connsiteX0" fmla="*/ 8563 w 122647"/>
                    <a:gd name="connsiteY0" fmla="*/ 71683 h 71683"/>
                    <a:gd name="connsiteX1" fmla="*/ 114091 w 122647"/>
                    <a:gd name="connsiteY1" fmla="*/ 71683 h 71683"/>
                    <a:gd name="connsiteX2" fmla="*/ 122647 w 122647"/>
                    <a:gd name="connsiteY2" fmla="*/ 63127 h 71683"/>
                    <a:gd name="connsiteX3" fmla="*/ 122647 w 122647"/>
                    <a:gd name="connsiteY3" fmla="*/ 8556 h 71683"/>
                    <a:gd name="connsiteX4" fmla="*/ 114091 w 122647"/>
                    <a:gd name="connsiteY4" fmla="*/ 0 h 71683"/>
                    <a:gd name="connsiteX5" fmla="*/ 8563 w 122647"/>
                    <a:gd name="connsiteY5" fmla="*/ 0 h 71683"/>
                    <a:gd name="connsiteX6" fmla="*/ 7 w 122647"/>
                    <a:gd name="connsiteY6" fmla="*/ 8556 h 71683"/>
                    <a:gd name="connsiteX7" fmla="*/ 7 w 122647"/>
                    <a:gd name="connsiteY7" fmla="*/ 63127 h 71683"/>
                    <a:gd name="connsiteX8" fmla="*/ 8563 w 122647"/>
                    <a:gd name="connsiteY8" fmla="*/ 71683 h 71683"/>
                    <a:gd name="connsiteX9" fmla="*/ 105345 w 122647"/>
                    <a:gd name="connsiteY9" fmla="*/ 54380 h 71683"/>
                    <a:gd name="connsiteX10" fmla="*/ 69788 w 122647"/>
                    <a:gd name="connsiteY10" fmla="*/ 54380 h 71683"/>
                    <a:gd name="connsiteX11" fmla="*/ 69788 w 122647"/>
                    <a:gd name="connsiteY11" fmla="*/ 17113 h 71683"/>
                    <a:gd name="connsiteX12" fmla="*/ 105345 w 122647"/>
                    <a:gd name="connsiteY12" fmla="*/ 17113 h 71683"/>
                    <a:gd name="connsiteX13" fmla="*/ 105345 w 122647"/>
                    <a:gd name="connsiteY13" fmla="*/ 54380 h 71683"/>
                    <a:gd name="connsiteX14" fmla="*/ 17119 w 122647"/>
                    <a:gd name="connsiteY14" fmla="*/ 17113 h 71683"/>
                    <a:gd name="connsiteX15" fmla="*/ 52676 w 122647"/>
                    <a:gd name="connsiteY15" fmla="*/ 17113 h 71683"/>
                    <a:gd name="connsiteX16" fmla="*/ 52676 w 122647"/>
                    <a:gd name="connsiteY16" fmla="*/ 54380 h 71683"/>
                    <a:gd name="connsiteX17" fmla="*/ 17119 w 122647"/>
                    <a:gd name="connsiteY17" fmla="*/ 54380 h 71683"/>
                    <a:gd name="connsiteX18" fmla="*/ 17119 w 122647"/>
                    <a:gd name="connsiteY18" fmla="*/ 17113 h 7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2647" h="71683">
                      <a:moveTo>
                        <a:pt x="8563" y="71683"/>
                      </a:moveTo>
                      <a:lnTo>
                        <a:pt x="114091" y="71683"/>
                      </a:lnTo>
                      <a:cubicBezTo>
                        <a:pt x="118845" y="71683"/>
                        <a:pt x="122647" y="67880"/>
                        <a:pt x="122647" y="63127"/>
                      </a:cubicBezTo>
                      <a:lnTo>
                        <a:pt x="122647" y="8556"/>
                      </a:lnTo>
                      <a:cubicBezTo>
                        <a:pt x="122647" y="3803"/>
                        <a:pt x="118845" y="0"/>
                        <a:pt x="114091" y="0"/>
                      </a:cubicBezTo>
                      <a:lnTo>
                        <a:pt x="8563" y="0"/>
                      </a:lnTo>
                      <a:cubicBezTo>
                        <a:pt x="3809" y="0"/>
                        <a:pt x="7" y="3803"/>
                        <a:pt x="7" y="8556"/>
                      </a:cubicBezTo>
                      <a:lnTo>
                        <a:pt x="7" y="63127"/>
                      </a:lnTo>
                      <a:cubicBezTo>
                        <a:pt x="-184" y="67880"/>
                        <a:pt x="3809" y="71683"/>
                        <a:pt x="8563" y="71683"/>
                      </a:cubicBezTo>
                      <a:close/>
                      <a:moveTo>
                        <a:pt x="105345" y="54380"/>
                      </a:moveTo>
                      <a:lnTo>
                        <a:pt x="69788" y="54380"/>
                      </a:lnTo>
                      <a:lnTo>
                        <a:pt x="69788" y="17113"/>
                      </a:lnTo>
                      <a:lnTo>
                        <a:pt x="105345" y="17113"/>
                      </a:lnTo>
                      <a:lnTo>
                        <a:pt x="105345" y="54380"/>
                      </a:lnTo>
                      <a:close/>
                      <a:moveTo>
                        <a:pt x="17119" y="17113"/>
                      </a:moveTo>
                      <a:lnTo>
                        <a:pt x="52676" y="17113"/>
                      </a:lnTo>
                      <a:lnTo>
                        <a:pt x="52676" y="54380"/>
                      </a:lnTo>
                      <a:lnTo>
                        <a:pt x="17119" y="54380"/>
                      </a:lnTo>
                      <a:lnTo>
                        <a:pt x="17119" y="17113"/>
                      </a:lnTo>
                      <a:close/>
                    </a:path>
                  </a:pathLst>
                </a:custGeom>
                <a:grpFill/>
                <a:ln w="1878" cap="flat">
                  <a:noFill/>
                  <a:prstDash val="solid"/>
                  <a:miter/>
                </a:ln>
              </p:spPr>
              <p:txBody>
                <a:bodyPr rtlCol="0" anchor="ctr"/>
                <a:lstStyle/>
                <a:p>
                  <a:endParaRPr lang="en-GB" noProof="0" dirty="0"/>
                </a:p>
              </p:txBody>
            </p:sp>
            <p:sp>
              <p:nvSpPr>
                <p:cNvPr id="210" name="Freihandform: Form 209">
                  <a:extLst>
                    <a:ext uri="{FF2B5EF4-FFF2-40B4-BE49-F238E27FC236}">
                      <a16:creationId xmlns:a16="http://schemas.microsoft.com/office/drawing/2014/main" id="{0E4C0866-0B5A-F0E6-E42C-1AFFD4F35885}"/>
                    </a:ext>
                  </a:extLst>
                </p:cNvPr>
                <p:cNvSpPr/>
                <p:nvPr/>
              </p:nvSpPr>
              <p:spPr>
                <a:xfrm>
                  <a:off x="4771689" y="3850853"/>
                  <a:ext cx="122640" cy="71683"/>
                </a:xfrm>
                <a:custGeom>
                  <a:avLst/>
                  <a:gdLst>
                    <a:gd name="connsiteX0" fmla="*/ 8556 w 122640"/>
                    <a:gd name="connsiteY0" fmla="*/ 71683 h 71683"/>
                    <a:gd name="connsiteX1" fmla="*/ 114085 w 122640"/>
                    <a:gd name="connsiteY1" fmla="*/ 71683 h 71683"/>
                    <a:gd name="connsiteX2" fmla="*/ 122641 w 122640"/>
                    <a:gd name="connsiteY2" fmla="*/ 63127 h 71683"/>
                    <a:gd name="connsiteX3" fmla="*/ 122641 w 122640"/>
                    <a:gd name="connsiteY3" fmla="*/ 8556 h 71683"/>
                    <a:gd name="connsiteX4" fmla="*/ 114085 w 122640"/>
                    <a:gd name="connsiteY4" fmla="*/ 0 h 71683"/>
                    <a:gd name="connsiteX5" fmla="*/ 8556 w 122640"/>
                    <a:gd name="connsiteY5" fmla="*/ 0 h 71683"/>
                    <a:gd name="connsiteX6" fmla="*/ 0 w 122640"/>
                    <a:gd name="connsiteY6" fmla="*/ 8556 h 71683"/>
                    <a:gd name="connsiteX7" fmla="*/ 0 w 122640"/>
                    <a:gd name="connsiteY7" fmla="*/ 63127 h 71683"/>
                    <a:gd name="connsiteX8" fmla="*/ 8556 w 122640"/>
                    <a:gd name="connsiteY8" fmla="*/ 71683 h 71683"/>
                    <a:gd name="connsiteX9" fmla="*/ 105528 w 122640"/>
                    <a:gd name="connsiteY9" fmla="*/ 54380 h 71683"/>
                    <a:gd name="connsiteX10" fmla="*/ 69972 w 122640"/>
                    <a:gd name="connsiteY10" fmla="*/ 54380 h 71683"/>
                    <a:gd name="connsiteX11" fmla="*/ 69972 w 122640"/>
                    <a:gd name="connsiteY11" fmla="*/ 17113 h 71683"/>
                    <a:gd name="connsiteX12" fmla="*/ 105528 w 122640"/>
                    <a:gd name="connsiteY12" fmla="*/ 17113 h 71683"/>
                    <a:gd name="connsiteX13" fmla="*/ 105528 w 122640"/>
                    <a:gd name="connsiteY13" fmla="*/ 54380 h 71683"/>
                    <a:gd name="connsiteX14" fmla="*/ 17303 w 122640"/>
                    <a:gd name="connsiteY14" fmla="*/ 17113 h 71683"/>
                    <a:gd name="connsiteX15" fmla="*/ 52859 w 122640"/>
                    <a:gd name="connsiteY15" fmla="*/ 17113 h 71683"/>
                    <a:gd name="connsiteX16" fmla="*/ 52859 w 122640"/>
                    <a:gd name="connsiteY16" fmla="*/ 54380 h 71683"/>
                    <a:gd name="connsiteX17" fmla="*/ 17303 w 122640"/>
                    <a:gd name="connsiteY17" fmla="*/ 54380 h 71683"/>
                    <a:gd name="connsiteX18" fmla="*/ 17303 w 122640"/>
                    <a:gd name="connsiteY18" fmla="*/ 17113 h 7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2640" h="71683">
                      <a:moveTo>
                        <a:pt x="8556" y="71683"/>
                      </a:moveTo>
                      <a:lnTo>
                        <a:pt x="114085" y="71683"/>
                      </a:lnTo>
                      <a:cubicBezTo>
                        <a:pt x="118838" y="71683"/>
                        <a:pt x="122641" y="67880"/>
                        <a:pt x="122641" y="63127"/>
                      </a:cubicBezTo>
                      <a:lnTo>
                        <a:pt x="122641" y="8556"/>
                      </a:lnTo>
                      <a:cubicBezTo>
                        <a:pt x="122641" y="3803"/>
                        <a:pt x="118838" y="0"/>
                        <a:pt x="114085" y="0"/>
                      </a:cubicBezTo>
                      <a:lnTo>
                        <a:pt x="8556" y="0"/>
                      </a:lnTo>
                      <a:cubicBezTo>
                        <a:pt x="3803" y="0"/>
                        <a:pt x="0" y="3803"/>
                        <a:pt x="0" y="8556"/>
                      </a:cubicBezTo>
                      <a:lnTo>
                        <a:pt x="0" y="63127"/>
                      </a:lnTo>
                      <a:cubicBezTo>
                        <a:pt x="0" y="67880"/>
                        <a:pt x="3803" y="71683"/>
                        <a:pt x="8556" y="71683"/>
                      </a:cubicBezTo>
                      <a:close/>
                      <a:moveTo>
                        <a:pt x="105528" y="54380"/>
                      </a:moveTo>
                      <a:lnTo>
                        <a:pt x="69972" y="54380"/>
                      </a:lnTo>
                      <a:lnTo>
                        <a:pt x="69972" y="17113"/>
                      </a:lnTo>
                      <a:lnTo>
                        <a:pt x="105528" y="17113"/>
                      </a:lnTo>
                      <a:lnTo>
                        <a:pt x="105528" y="54380"/>
                      </a:lnTo>
                      <a:close/>
                      <a:moveTo>
                        <a:pt x="17303" y="17113"/>
                      </a:moveTo>
                      <a:lnTo>
                        <a:pt x="52859" y="17113"/>
                      </a:lnTo>
                      <a:lnTo>
                        <a:pt x="52859" y="54380"/>
                      </a:lnTo>
                      <a:lnTo>
                        <a:pt x="17303" y="54380"/>
                      </a:lnTo>
                      <a:lnTo>
                        <a:pt x="17303" y="17113"/>
                      </a:lnTo>
                      <a:close/>
                    </a:path>
                  </a:pathLst>
                </a:custGeom>
                <a:grpFill/>
                <a:ln w="1878" cap="flat">
                  <a:noFill/>
                  <a:prstDash val="solid"/>
                  <a:miter/>
                </a:ln>
              </p:spPr>
              <p:txBody>
                <a:bodyPr rtlCol="0" anchor="ctr"/>
                <a:lstStyle/>
                <a:p>
                  <a:endParaRPr lang="en-GB" noProof="0" dirty="0"/>
                </a:p>
              </p:txBody>
            </p:sp>
          </p:grpSp>
        </p:grpSp>
      </p:grpSp>
      <p:grpSp>
        <p:nvGrpSpPr>
          <p:cNvPr id="264" name="Grafik 138">
            <a:extLst>
              <a:ext uri="{FF2B5EF4-FFF2-40B4-BE49-F238E27FC236}">
                <a16:creationId xmlns:a16="http://schemas.microsoft.com/office/drawing/2014/main" id="{90355628-DAA8-FB5B-7E6F-C78AF53C1D58}"/>
              </a:ext>
            </a:extLst>
          </p:cNvPr>
          <p:cNvGrpSpPr>
            <a:grpSpLocks noChangeAspect="1"/>
          </p:cNvGrpSpPr>
          <p:nvPr/>
        </p:nvGrpSpPr>
        <p:grpSpPr>
          <a:xfrm>
            <a:off x="2356729" y="3010237"/>
            <a:ext cx="294690" cy="294690"/>
            <a:chOff x="957731" y="3520661"/>
            <a:chExt cx="540000" cy="540000"/>
          </a:xfrm>
          <a:solidFill>
            <a:schemeClr val="accent1"/>
          </a:solidFill>
        </p:grpSpPr>
        <p:grpSp>
          <p:nvGrpSpPr>
            <p:cNvPr id="265" name="Grafik 138">
              <a:extLst>
                <a:ext uri="{FF2B5EF4-FFF2-40B4-BE49-F238E27FC236}">
                  <a16:creationId xmlns:a16="http://schemas.microsoft.com/office/drawing/2014/main" id="{D62DFB40-6942-9136-832D-B43FE56A3F63}"/>
                </a:ext>
              </a:extLst>
            </p:cNvPr>
            <p:cNvGrpSpPr/>
            <p:nvPr/>
          </p:nvGrpSpPr>
          <p:grpSpPr>
            <a:xfrm>
              <a:off x="957731" y="3520661"/>
              <a:ext cx="538859" cy="539049"/>
              <a:chOff x="957731" y="3520661"/>
              <a:chExt cx="538859" cy="539049"/>
            </a:xfrm>
            <a:grpFill/>
          </p:grpSpPr>
          <p:sp>
            <p:nvSpPr>
              <p:cNvPr id="266" name="Freihandform: Form 265">
                <a:extLst>
                  <a:ext uri="{FF2B5EF4-FFF2-40B4-BE49-F238E27FC236}">
                    <a16:creationId xmlns:a16="http://schemas.microsoft.com/office/drawing/2014/main" id="{19E2FF62-9CCD-F937-8B8A-4B2DFA710C90}"/>
                  </a:ext>
                </a:extLst>
              </p:cNvPr>
              <p:cNvSpPr/>
              <p:nvPr/>
            </p:nvSpPr>
            <p:spPr>
              <a:xfrm>
                <a:off x="957731" y="3726963"/>
                <a:ext cx="538859" cy="332746"/>
              </a:xfrm>
              <a:custGeom>
                <a:avLst/>
                <a:gdLst>
                  <a:gd name="connsiteX0" fmla="*/ 56472 w 538859"/>
                  <a:gd name="connsiteY0" fmla="*/ 0 h 332746"/>
                  <a:gd name="connsiteX1" fmla="*/ 0 w 538859"/>
                  <a:gd name="connsiteY1" fmla="*/ 176641 h 332746"/>
                  <a:gd name="connsiteX2" fmla="*/ 73394 w 538859"/>
                  <a:gd name="connsiteY2" fmla="*/ 332746 h 332746"/>
                  <a:gd name="connsiteX3" fmla="*/ 488662 w 538859"/>
                  <a:gd name="connsiteY3" fmla="*/ 332746 h 332746"/>
                  <a:gd name="connsiteX4" fmla="*/ 538289 w 538859"/>
                  <a:gd name="connsiteY4" fmla="*/ 186338 h 332746"/>
                  <a:gd name="connsiteX5" fmla="*/ 538859 w 538859"/>
                  <a:gd name="connsiteY5" fmla="*/ 190 h 332746"/>
                  <a:gd name="connsiteX6" fmla="*/ 56472 w 538859"/>
                  <a:gd name="connsiteY6" fmla="*/ 190 h 332746"/>
                  <a:gd name="connsiteX7" fmla="*/ 521366 w 538859"/>
                  <a:gd name="connsiteY7" fmla="*/ 17493 h 332746"/>
                  <a:gd name="connsiteX8" fmla="*/ 520986 w 538859"/>
                  <a:gd name="connsiteY8" fmla="*/ 171507 h 332746"/>
                  <a:gd name="connsiteX9" fmla="*/ 409373 w 538859"/>
                  <a:gd name="connsiteY9" fmla="*/ 171507 h 332746"/>
                  <a:gd name="connsiteX10" fmla="*/ 409373 w 538859"/>
                  <a:gd name="connsiteY10" fmla="*/ 17493 h 332746"/>
                  <a:gd name="connsiteX11" fmla="*/ 521366 w 538859"/>
                  <a:gd name="connsiteY11" fmla="*/ 17493 h 332746"/>
                  <a:gd name="connsiteX12" fmla="*/ 25099 w 538859"/>
                  <a:gd name="connsiteY12" fmla="*/ 188810 h 332746"/>
                  <a:gd name="connsiteX13" fmla="*/ 519085 w 538859"/>
                  <a:gd name="connsiteY13" fmla="*/ 188810 h 332746"/>
                  <a:gd name="connsiteX14" fmla="*/ 508246 w 538859"/>
                  <a:gd name="connsiteY14" fmla="*/ 220754 h 332746"/>
                  <a:gd name="connsiteX15" fmla="*/ 40120 w 538859"/>
                  <a:gd name="connsiteY15" fmla="*/ 220754 h 332746"/>
                  <a:gd name="connsiteX16" fmla="*/ 25099 w 538859"/>
                  <a:gd name="connsiteY16" fmla="*/ 188810 h 332746"/>
                  <a:gd name="connsiteX17" fmla="*/ 391880 w 538859"/>
                  <a:gd name="connsiteY17" fmla="*/ 17493 h 332746"/>
                  <a:gd name="connsiteX18" fmla="*/ 391880 w 538859"/>
                  <a:gd name="connsiteY18" fmla="*/ 171507 h 332746"/>
                  <a:gd name="connsiteX19" fmla="*/ 284261 w 538859"/>
                  <a:gd name="connsiteY19" fmla="*/ 171507 h 332746"/>
                  <a:gd name="connsiteX20" fmla="*/ 284261 w 538859"/>
                  <a:gd name="connsiteY20" fmla="*/ 17493 h 332746"/>
                  <a:gd name="connsiteX21" fmla="*/ 391880 w 538859"/>
                  <a:gd name="connsiteY21" fmla="*/ 17493 h 332746"/>
                  <a:gd name="connsiteX22" fmla="*/ 266577 w 538859"/>
                  <a:gd name="connsiteY22" fmla="*/ 17493 h 332746"/>
                  <a:gd name="connsiteX23" fmla="*/ 266577 w 538859"/>
                  <a:gd name="connsiteY23" fmla="*/ 171507 h 332746"/>
                  <a:gd name="connsiteX24" fmla="*/ 158387 w 538859"/>
                  <a:gd name="connsiteY24" fmla="*/ 171507 h 332746"/>
                  <a:gd name="connsiteX25" fmla="*/ 158387 w 538859"/>
                  <a:gd name="connsiteY25" fmla="*/ 17493 h 332746"/>
                  <a:gd name="connsiteX26" fmla="*/ 266577 w 538859"/>
                  <a:gd name="connsiteY26" fmla="*/ 17493 h 332746"/>
                  <a:gd name="connsiteX27" fmla="*/ 69211 w 538859"/>
                  <a:gd name="connsiteY27" fmla="*/ 17493 h 332746"/>
                  <a:gd name="connsiteX28" fmla="*/ 140894 w 538859"/>
                  <a:gd name="connsiteY28" fmla="*/ 17493 h 332746"/>
                  <a:gd name="connsiteX29" fmla="*/ 140894 w 538859"/>
                  <a:gd name="connsiteY29" fmla="*/ 171507 h 332746"/>
                  <a:gd name="connsiteX30" fmla="*/ 19965 w 538859"/>
                  <a:gd name="connsiteY30" fmla="*/ 171507 h 332746"/>
                  <a:gd name="connsiteX31" fmla="*/ 69211 w 538859"/>
                  <a:gd name="connsiteY31" fmla="*/ 17493 h 332746"/>
                  <a:gd name="connsiteX32" fmla="*/ 476113 w 538859"/>
                  <a:gd name="connsiteY32" fmla="*/ 315254 h 332746"/>
                  <a:gd name="connsiteX33" fmla="*/ 84423 w 538859"/>
                  <a:gd name="connsiteY33" fmla="*/ 315254 h 332746"/>
                  <a:gd name="connsiteX34" fmla="*/ 48296 w 538859"/>
                  <a:gd name="connsiteY34" fmla="*/ 238246 h 332746"/>
                  <a:gd name="connsiteX35" fmla="*/ 502352 w 538859"/>
                  <a:gd name="connsiteY35" fmla="*/ 238246 h 332746"/>
                  <a:gd name="connsiteX36" fmla="*/ 476113 w 538859"/>
                  <a:gd name="connsiteY36" fmla="*/ 315254 h 33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38859" h="332746">
                    <a:moveTo>
                      <a:pt x="56472" y="0"/>
                    </a:moveTo>
                    <a:lnTo>
                      <a:pt x="0" y="176641"/>
                    </a:lnTo>
                    <a:lnTo>
                      <a:pt x="73394" y="332746"/>
                    </a:lnTo>
                    <a:lnTo>
                      <a:pt x="488662" y="332746"/>
                    </a:lnTo>
                    <a:lnTo>
                      <a:pt x="538289" y="186338"/>
                    </a:lnTo>
                    <a:lnTo>
                      <a:pt x="538859" y="190"/>
                    </a:lnTo>
                    <a:lnTo>
                      <a:pt x="56472" y="190"/>
                    </a:lnTo>
                    <a:close/>
                    <a:moveTo>
                      <a:pt x="521366" y="17493"/>
                    </a:moveTo>
                    <a:lnTo>
                      <a:pt x="520986" y="171507"/>
                    </a:lnTo>
                    <a:lnTo>
                      <a:pt x="409373" y="171507"/>
                    </a:lnTo>
                    <a:lnTo>
                      <a:pt x="409373" y="17493"/>
                    </a:lnTo>
                    <a:lnTo>
                      <a:pt x="521366" y="17493"/>
                    </a:lnTo>
                    <a:close/>
                    <a:moveTo>
                      <a:pt x="25099" y="188810"/>
                    </a:moveTo>
                    <a:lnTo>
                      <a:pt x="519085" y="188810"/>
                    </a:lnTo>
                    <a:lnTo>
                      <a:pt x="508246" y="220754"/>
                    </a:lnTo>
                    <a:lnTo>
                      <a:pt x="40120" y="220754"/>
                    </a:lnTo>
                    <a:lnTo>
                      <a:pt x="25099" y="188810"/>
                    </a:lnTo>
                    <a:close/>
                    <a:moveTo>
                      <a:pt x="391880" y="17493"/>
                    </a:moveTo>
                    <a:lnTo>
                      <a:pt x="391880" y="171507"/>
                    </a:lnTo>
                    <a:lnTo>
                      <a:pt x="284261" y="171507"/>
                    </a:lnTo>
                    <a:lnTo>
                      <a:pt x="284261" y="17493"/>
                    </a:lnTo>
                    <a:lnTo>
                      <a:pt x="391880" y="17493"/>
                    </a:lnTo>
                    <a:close/>
                    <a:moveTo>
                      <a:pt x="266577" y="17493"/>
                    </a:moveTo>
                    <a:lnTo>
                      <a:pt x="266577" y="171507"/>
                    </a:lnTo>
                    <a:lnTo>
                      <a:pt x="158387" y="171507"/>
                    </a:lnTo>
                    <a:lnTo>
                      <a:pt x="158387" y="17493"/>
                    </a:lnTo>
                    <a:lnTo>
                      <a:pt x="266577" y="17493"/>
                    </a:lnTo>
                    <a:close/>
                    <a:moveTo>
                      <a:pt x="69211" y="17493"/>
                    </a:moveTo>
                    <a:lnTo>
                      <a:pt x="140894" y="17493"/>
                    </a:lnTo>
                    <a:lnTo>
                      <a:pt x="140894" y="171507"/>
                    </a:lnTo>
                    <a:lnTo>
                      <a:pt x="19965" y="171507"/>
                    </a:lnTo>
                    <a:lnTo>
                      <a:pt x="69211" y="17493"/>
                    </a:lnTo>
                    <a:close/>
                    <a:moveTo>
                      <a:pt x="476113" y="315254"/>
                    </a:moveTo>
                    <a:lnTo>
                      <a:pt x="84423" y="315254"/>
                    </a:lnTo>
                    <a:lnTo>
                      <a:pt x="48296" y="238246"/>
                    </a:lnTo>
                    <a:lnTo>
                      <a:pt x="502352" y="238246"/>
                    </a:lnTo>
                    <a:lnTo>
                      <a:pt x="476113" y="315254"/>
                    </a:lnTo>
                    <a:close/>
                  </a:path>
                </a:pathLst>
              </a:custGeom>
              <a:grpFill/>
              <a:ln w="1878" cap="flat">
                <a:noFill/>
                <a:prstDash val="solid"/>
                <a:miter/>
              </a:ln>
            </p:spPr>
            <p:txBody>
              <a:bodyPr rtlCol="0" anchor="ctr"/>
              <a:lstStyle/>
              <a:p>
                <a:endParaRPr lang="en-GB" noProof="0" dirty="0"/>
              </a:p>
            </p:txBody>
          </p:sp>
        </p:grpSp>
      </p:grpSp>
      <p:grpSp>
        <p:nvGrpSpPr>
          <p:cNvPr id="275" name="Grafik 6">
            <a:extLst>
              <a:ext uri="{FF2B5EF4-FFF2-40B4-BE49-F238E27FC236}">
                <a16:creationId xmlns:a16="http://schemas.microsoft.com/office/drawing/2014/main" id="{434BB92F-A139-5859-761E-81F76FCFB794}"/>
              </a:ext>
            </a:extLst>
          </p:cNvPr>
          <p:cNvGrpSpPr>
            <a:grpSpLocks noChangeAspect="1"/>
          </p:cNvGrpSpPr>
          <p:nvPr/>
        </p:nvGrpSpPr>
        <p:grpSpPr>
          <a:xfrm>
            <a:off x="975769" y="2569378"/>
            <a:ext cx="324000" cy="324000"/>
            <a:chOff x="2592285" y="3696079"/>
            <a:chExt cx="540000" cy="540000"/>
          </a:xfrm>
          <a:solidFill>
            <a:schemeClr val="accent1"/>
          </a:solidFill>
        </p:grpSpPr>
        <p:grpSp>
          <p:nvGrpSpPr>
            <p:cNvPr id="276" name="Grafik 6">
              <a:extLst>
                <a:ext uri="{FF2B5EF4-FFF2-40B4-BE49-F238E27FC236}">
                  <a16:creationId xmlns:a16="http://schemas.microsoft.com/office/drawing/2014/main" id="{D550DE91-D440-A3AC-9E6B-2570143DFB64}"/>
                </a:ext>
              </a:extLst>
            </p:cNvPr>
            <p:cNvGrpSpPr/>
            <p:nvPr/>
          </p:nvGrpSpPr>
          <p:grpSpPr>
            <a:xfrm>
              <a:off x="2592285" y="3696079"/>
              <a:ext cx="532109" cy="538668"/>
              <a:chOff x="2592285" y="3696079"/>
              <a:chExt cx="532109" cy="538668"/>
            </a:xfrm>
            <a:grpFill/>
          </p:grpSpPr>
          <p:sp>
            <p:nvSpPr>
              <p:cNvPr id="277" name="Freihandform: Form 276">
                <a:extLst>
                  <a:ext uri="{FF2B5EF4-FFF2-40B4-BE49-F238E27FC236}">
                    <a16:creationId xmlns:a16="http://schemas.microsoft.com/office/drawing/2014/main" id="{1920ABF7-DED0-1AE1-FC08-26947930797E}"/>
                  </a:ext>
                </a:extLst>
              </p:cNvPr>
              <p:cNvSpPr/>
              <p:nvPr/>
            </p:nvSpPr>
            <p:spPr>
              <a:xfrm>
                <a:off x="2599152" y="3791339"/>
                <a:ext cx="525241" cy="443408"/>
              </a:xfrm>
              <a:custGeom>
                <a:avLst/>
                <a:gdLst>
                  <a:gd name="connsiteX0" fmla="*/ 524005 w 525241"/>
                  <a:gd name="connsiteY0" fmla="*/ 143176 h 443408"/>
                  <a:gd name="connsiteX1" fmla="*/ 495865 w 525241"/>
                  <a:gd name="connsiteY1" fmla="*/ 98873 h 443408"/>
                  <a:gd name="connsiteX2" fmla="*/ 495865 w 525241"/>
                  <a:gd name="connsiteY2" fmla="*/ 55521 h 443408"/>
                  <a:gd name="connsiteX3" fmla="*/ 487308 w 525241"/>
                  <a:gd name="connsiteY3" fmla="*/ 46965 h 443408"/>
                  <a:gd name="connsiteX4" fmla="*/ 433879 w 525241"/>
                  <a:gd name="connsiteY4" fmla="*/ 46965 h 443408"/>
                  <a:gd name="connsiteX5" fmla="*/ 433879 w 525241"/>
                  <a:gd name="connsiteY5" fmla="*/ 8556 h 443408"/>
                  <a:gd name="connsiteX6" fmla="*/ 425322 w 525241"/>
                  <a:gd name="connsiteY6" fmla="*/ 0 h 443408"/>
                  <a:gd name="connsiteX7" fmla="*/ 99611 w 525241"/>
                  <a:gd name="connsiteY7" fmla="*/ 0 h 443408"/>
                  <a:gd name="connsiteX8" fmla="*/ 91055 w 525241"/>
                  <a:gd name="connsiteY8" fmla="*/ 8556 h 443408"/>
                  <a:gd name="connsiteX9" fmla="*/ 91055 w 525241"/>
                  <a:gd name="connsiteY9" fmla="*/ 46775 h 443408"/>
                  <a:gd name="connsiteX10" fmla="*/ 37625 w 525241"/>
                  <a:gd name="connsiteY10" fmla="*/ 46775 h 443408"/>
                  <a:gd name="connsiteX11" fmla="*/ 29069 w 525241"/>
                  <a:gd name="connsiteY11" fmla="*/ 55331 h 443408"/>
                  <a:gd name="connsiteX12" fmla="*/ 29069 w 525241"/>
                  <a:gd name="connsiteY12" fmla="*/ 99254 h 443408"/>
                  <a:gd name="connsiteX13" fmla="*/ 1308 w 525241"/>
                  <a:gd name="connsiteY13" fmla="*/ 142986 h 443408"/>
                  <a:gd name="connsiteX14" fmla="*/ 1118 w 525241"/>
                  <a:gd name="connsiteY14" fmla="*/ 151732 h 443408"/>
                  <a:gd name="connsiteX15" fmla="*/ 8534 w 525241"/>
                  <a:gd name="connsiteY15" fmla="*/ 156106 h 443408"/>
                  <a:gd name="connsiteX16" fmla="*/ 67667 w 525241"/>
                  <a:gd name="connsiteY16" fmla="*/ 156106 h 443408"/>
                  <a:gd name="connsiteX17" fmla="*/ 67667 w 525241"/>
                  <a:gd name="connsiteY17" fmla="*/ 426296 h 443408"/>
                  <a:gd name="connsiteX18" fmla="*/ 25266 w 525241"/>
                  <a:gd name="connsiteY18" fmla="*/ 426296 h 443408"/>
                  <a:gd name="connsiteX19" fmla="*/ 16710 w 525241"/>
                  <a:gd name="connsiteY19" fmla="*/ 434852 h 443408"/>
                  <a:gd name="connsiteX20" fmla="*/ 25266 w 525241"/>
                  <a:gd name="connsiteY20" fmla="*/ 443408 h 443408"/>
                  <a:gd name="connsiteX21" fmla="*/ 499858 w 525241"/>
                  <a:gd name="connsiteY21" fmla="*/ 443408 h 443408"/>
                  <a:gd name="connsiteX22" fmla="*/ 508414 w 525241"/>
                  <a:gd name="connsiteY22" fmla="*/ 434852 h 443408"/>
                  <a:gd name="connsiteX23" fmla="*/ 499858 w 525241"/>
                  <a:gd name="connsiteY23" fmla="*/ 426296 h 443408"/>
                  <a:gd name="connsiteX24" fmla="*/ 457456 w 525241"/>
                  <a:gd name="connsiteY24" fmla="*/ 426296 h 443408"/>
                  <a:gd name="connsiteX25" fmla="*/ 457456 w 525241"/>
                  <a:gd name="connsiteY25" fmla="*/ 156106 h 443408"/>
                  <a:gd name="connsiteX26" fmla="*/ 516780 w 525241"/>
                  <a:gd name="connsiteY26" fmla="*/ 156106 h 443408"/>
                  <a:gd name="connsiteX27" fmla="*/ 524196 w 525241"/>
                  <a:gd name="connsiteY27" fmla="*/ 151732 h 443408"/>
                  <a:gd name="connsiteX28" fmla="*/ 524005 w 525241"/>
                  <a:gd name="connsiteY28" fmla="*/ 143176 h 443408"/>
                  <a:gd name="connsiteX29" fmla="*/ 450991 w 525241"/>
                  <a:gd name="connsiteY29" fmla="*/ 139183 h 443408"/>
                  <a:gd name="connsiteX30" fmla="*/ 441865 w 525241"/>
                  <a:gd name="connsiteY30" fmla="*/ 110282 h 443408"/>
                  <a:gd name="connsiteX31" fmla="*/ 482745 w 525241"/>
                  <a:gd name="connsiteY31" fmla="*/ 110282 h 443408"/>
                  <a:gd name="connsiteX32" fmla="*/ 501189 w 525241"/>
                  <a:gd name="connsiteY32" fmla="*/ 139183 h 443408"/>
                  <a:gd name="connsiteX33" fmla="*/ 450991 w 525241"/>
                  <a:gd name="connsiteY33" fmla="*/ 139183 h 443408"/>
                  <a:gd name="connsiteX34" fmla="*/ 108167 w 525241"/>
                  <a:gd name="connsiteY34" fmla="*/ 17113 h 443408"/>
                  <a:gd name="connsiteX35" fmla="*/ 416576 w 525241"/>
                  <a:gd name="connsiteY35" fmla="*/ 17113 h 443408"/>
                  <a:gd name="connsiteX36" fmla="*/ 416576 w 525241"/>
                  <a:gd name="connsiteY36" fmla="*/ 46014 h 443408"/>
                  <a:gd name="connsiteX37" fmla="*/ 108167 w 525241"/>
                  <a:gd name="connsiteY37" fmla="*/ 46014 h 443408"/>
                  <a:gd name="connsiteX38" fmla="*/ 108167 w 525241"/>
                  <a:gd name="connsiteY38" fmla="*/ 17113 h 443408"/>
                  <a:gd name="connsiteX39" fmla="*/ 478752 w 525241"/>
                  <a:gd name="connsiteY39" fmla="*/ 64077 h 443408"/>
                  <a:gd name="connsiteX40" fmla="*/ 478752 w 525241"/>
                  <a:gd name="connsiteY40" fmla="*/ 92979 h 443408"/>
                  <a:gd name="connsiteX41" fmla="*/ 46182 w 525241"/>
                  <a:gd name="connsiteY41" fmla="*/ 92979 h 443408"/>
                  <a:gd name="connsiteX42" fmla="*/ 46182 w 525241"/>
                  <a:gd name="connsiteY42" fmla="*/ 64077 h 443408"/>
                  <a:gd name="connsiteX43" fmla="*/ 478752 w 525241"/>
                  <a:gd name="connsiteY43" fmla="*/ 64077 h 443408"/>
                  <a:gd name="connsiteX44" fmla="*/ 305153 w 525241"/>
                  <a:gd name="connsiteY44" fmla="*/ 139183 h 443408"/>
                  <a:gd name="connsiteX45" fmla="*/ 305153 w 525241"/>
                  <a:gd name="connsiteY45" fmla="*/ 110662 h 443408"/>
                  <a:gd name="connsiteX46" fmla="*/ 305153 w 525241"/>
                  <a:gd name="connsiteY46" fmla="*/ 110092 h 443408"/>
                  <a:gd name="connsiteX47" fmla="*/ 305724 w 525241"/>
                  <a:gd name="connsiteY47" fmla="*/ 110092 h 443408"/>
                  <a:gd name="connsiteX48" fmla="*/ 354970 w 525241"/>
                  <a:gd name="connsiteY48" fmla="*/ 110092 h 443408"/>
                  <a:gd name="connsiteX49" fmla="*/ 361055 w 525241"/>
                  <a:gd name="connsiteY49" fmla="*/ 138993 h 443408"/>
                  <a:gd name="connsiteX50" fmla="*/ 305724 w 525241"/>
                  <a:gd name="connsiteY50" fmla="*/ 138993 h 443408"/>
                  <a:gd name="connsiteX51" fmla="*/ 305153 w 525241"/>
                  <a:gd name="connsiteY51" fmla="*/ 138993 h 443408"/>
                  <a:gd name="connsiteX52" fmla="*/ 236132 w 525241"/>
                  <a:gd name="connsiteY52" fmla="*/ 139183 h 443408"/>
                  <a:gd name="connsiteX53" fmla="*/ 236132 w 525241"/>
                  <a:gd name="connsiteY53" fmla="*/ 110662 h 443408"/>
                  <a:gd name="connsiteX54" fmla="*/ 236132 w 525241"/>
                  <a:gd name="connsiteY54" fmla="*/ 110092 h 443408"/>
                  <a:gd name="connsiteX55" fmla="*/ 287851 w 525241"/>
                  <a:gd name="connsiteY55" fmla="*/ 110092 h 443408"/>
                  <a:gd name="connsiteX56" fmla="*/ 287851 w 525241"/>
                  <a:gd name="connsiteY56" fmla="*/ 110662 h 443408"/>
                  <a:gd name="connsiteX57" fmla="*/ 287851 w 525241"/>
                  <a:gd name="connsiteY57" fmla="*/ 139183 h 443408"/>
                  <a:gd name="connsiteX58" fmla="*/ 236132 w 525241"/>
                  <a:gd name="connsiteY58" fmla="*/ 139183 h 443408"/>
                  <a:gd name="connsiteX59" fmla="*/ 92005 w 525241"/>
                  <a:gd name="connsiteY59" fmla="*/ 139183 h 443408"/>
                  <a:gd name="connsiteX60" fmla="*/ 101132 w 525241"/>
                  <a:gd name="connsiteY60" fmla="*/ 110662 h 443408"/>
                  <a:gd name="connsiteX61" fmla="*/ 101322 w 525241"/>
                  <a:gd name="connsiteY61" fmla="*/ 110092 h 443408"/>
                  <a:gd name="connsiteX62" fmla="*/ 101893 w 525241"/>
                  <a:gd name="connsiteY62" fmla="*/ 110092 h 443408"/>
                  <a:gd name="connsiteX63" fmla="*/ 150949 w 525241"/>
                  <a:gd name="connsiteY63" fmla="*/ 110092 h 443408"/>
                  <a:gd name="connsiteX64" fmla="*/ 150759 w 525241"/>
                  <a:gd name="connsiteY64" fmla="*/ 110662 h 443408"/>
                  <a:gd name="connsiteX65" fmla="*/ 144674 w 525241"/>
                  <a:gd name="connsiteY65" fmla="*/ 139183 h 443408"/>
                  <a:gd name="connsiteX66" fmla="*/ 92576 w 525241"/>
                  <a:gd name="connsiteY66" fmla="*/ 139183 h 443408"/>
                  <a:gd name="connsiteX67" fmla="*/ 92005 w 525241"/>
                  <a:gd name="connsiteY67" fmla="*/ 139183 h 443408"/>
                  <a:gd name="connsiteX68" fmla="*/ 168822 w 525241"/>
                  <a:gd name="connsiteY68" fmla="*/ 110282 h 443408"/>
                  <a:gd name="connsiteX69" fmla="*/ 218639 w 525241"/>
                  <a:gd name="connsiteY69" fmla="*/ 110282 h 443408"/>
                  <a:gd name="connsiteX70" fmla="*/ 218639 w 525241"/>
                  <a:gd name="connsiteY70" fmla="*/ 110852 h 443408"/>
                  <a:gd name="connsiteX71" fmla="*/ 218639 w 525241"/>
                  <a:gd name="connsiteY71" fmla="*/ 139373 h 443408"/>
                  <a:gd name="connsiteX72" fmla="*/ 162738 w 525241"/>
                  <a:gd name="connsiteY72" fmla="*/ 139373 h 443408"/>
                  <a:gd name="connsiteX73" fmla="*/ 168822 w 525241"/>
                  <a:gd name="connsiteY73" fmla="*/ 110282 h 443408"/>
                  <a:gd name="connsiteX74" fmla="*/ 378738 w 525241"/>
                  <a:gd name="connsiteY74" fmla="*/ 139183 h 443408"/>
                  <a:gd name="connsiteX75" fmla="*/ 372653 w 525241"/>
                  <a:gd name="connsiteY75" fmla="*/ 110662 h 443408"/>
                  <a:gd name="connsiteX76" fmla="*/ 372463 w 525241"/>
                  <a:gd name="connsiteY76" fmla="*/ 110092 h 443408"/>
                  <a:gd name="connsiteX77" fmla="*/ 422280 w 525241"/>
                  <a:gd name="connsiteY77" fmla="*/ 110092 h 443408"/>
                  <a:gd name="connsiteX78" fmla="*/ 422470 w 525241"/>
                  <a:gd name="connsiteY78" fmla="*/ 110662 h 443408"/>
                  <a:gd name="connsiteX79" fmla="*/ 431597 w 525241"/>
                  <a:gd name="connsiteY79" fmla="*/ 139183 h 443408"/>
                  <a:gd name="connsiteX80" fmla="*/ 378738 w 525241"/>
                  <a:gd name="connsiteY80" fmla="*/ 139183 h 443408"/>
                  <a:gd name="connsiteX81" fmla="*/ 42379 w 525241"/>
                  <a:gd name="connsiteY81" fmla="*/ 110282 h 443408"/>
                  <a:gd name="connsiteX82" fmla="*/ 83069 w 525241"/>
                  <a:gd name="connsiteY82" fmla="*/ 110282 h 443408"/>
                  <a:gd name="connsiteX83" fmla="*/ 73942 w 525241"/>
                  <a:gd name="connsiteY83" fmla="*/ 139183 h 443408"/>
                  <a:gd name="connsiteX84" fmla="*/ 24125 w 525241"/>
                  <a:gd name="connsiteY84" fmla="*/ 139183 h 443408"/>
                  <a:gd name="connsiteX85" fmla="*/ 42379 w 525241"/>
                  <a:gd name="connsiteY85" fmla="*/ 110282 h 443408"/>
                  <a:gd name="connsiteX86" fmla="*/ 84590 w 525241"/>
                  <a:gd name="connsiteY86" fmla="*/ 156296 h 443408"/>
                  <a:gd name="connsiteX87" fmla="*/ 157984 w 525241"/>
                  <a:gd name="connsiteY87" fmla="*/ 156296 h 443408"/>
                  <a:gd name="connsiteX88" fmla="*/ 157984 w 525241"/>
                  <a:gd name="connsiteY88" fmla="*/ 284451 h 443408"/>
                  <a:gd name="connsiteX89" fmla="*/ 84590 w 525241"/>
                  <a:gd name="connsiteY89" fmla="*/ 284451 h 443408"/>
                  <a:gd name="connsiteX90" fmla="*/ 84590 w 525241"/>
                  <a:gd name="connsiteY90" fmla="*/ 156296 h 443408"/>
                  <a:gd name="connsiteX91" fmla="*/ 175097 w 525241"/>
                  <a:gd name="connsiteY91" fmla="*/ 156296 h 443408"/>
                  <a:gd name="connsiteX92" fmla="*/ 349646 w 525241"/>
                  <a:gd name="connsiteY92" fmla="*/ 156296 h 443408"/>
                  <a:gd name="connsiteX93" fmla="*/ 349646 w 525241"/>
                  <a:gd name="connsiteY93" fmla="*/ 284451 h 443408"/>
                  <a:gd name="connsiteX94" fmla="*/ 175097 w 525241"/>
                  <a:gd name="connsiteY94" fmla="*/ 284451 h 443408"/>
                  <a:gd name="connsiteX95" fmla="*/ 175097 w 525241"/>
                  <a:gd name="connsiteY95" fmla="*/ 156296 h 443408"/>
                  <a:gd name="connsiteX96" fmla="*/ 366949 w 525241"/>
                  <a:gd name="connsiteY96" fmla="*/ 156296 h 443408"/>
                  <a:gd name="connsiteX97" fmla="*/ 440343 w 525241"/>
                  <a:gd name="connsiteY97" fmla="*/ 156296 h 443408"/>
                  <a:gd name="connsiteX98" fmla="*/ 440343 w 525241"/>
                  <a:gd name="connsiteY98" fmla="*/ 284451 h 443408"/>
                  <a:gd name="connsiteX99" fmla="*/ 366949 w 525241"/>
                  <a:gd name="connsiteY99" fmla="*/ 284451 h 443408"/>
                  <a:gd name="connsiteX100" fmla="*/ 366949 w 525241"/>
                  <a:gd name="connsiteY100" fmla="*/ 156296 h 443408"/>
                  <a:gd name="connsiteX101" fmla="*/ 84590 w 525241"/>
                  <a:gd name="connsiteY101" fmla="*/ 426676 h 443408"/>
                  <a:gd name="connsiteX102" fmla="*/ 84590 w 525241"/>
                  <a:gd name="connsiteY102" fmla="*/ 301754 h 443408"/>
                  <a:gd name="connsiteX103" fmla="*/ 440343 w 525241"/>
                  <a:gd name="connsiteY103" fmla="*/ 301754 h 443408"/>
                  <a:gd name="connsiteX104" fmla="*/ 440343 w 525241"/>
                  <a:gd name="connsiteY104" fmla="*/ 426676 h 443408"/>
                  <a:gd name="connsiteX105" fmla="*/ 84590 w 525241"/>
                  <a:gd name="connsiteY105" fmla="*/ 426676 h 443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525241" h="443408">
                    <a:moveTo>
                      <a:pt x="524005" y="143176"/>
                    </a:moveTo>
                    <a:lnTo>
                      <a:pt x="495865" y="98873"/>
                    </a:lnTo>
                    <a:lnTo>
                      <a:pt x="495865" y="55521"/>
                    </a:lnTo>
                    <a:cubicBezTo>
                      <a:pt x="495865" y="50768"/>
                      <a:pt x="492062" y="46965"/>
                      <a:pt x="487308" y="46965"/>
                    </a:cubicBezTo>
                    <a:lnTo>
                      <a:pt x="433879" y="46965"/>
                    </a:lnTo>
                    <a:lnTo>
                      <a:pt x="433879" y="8556"/>
                    </a:lnTo>
                    <a:cubicBezTo>
                      <a:pt x="433879" y="3803"/>
                      <a:pt x="430076" y="0"/>
                      <a:pt x="425322" y="0"/>
                    </a:cubicBezTo>
                    <a:lnTo>
                      <a:pt x="99611" y="0"/>
                    </a:lnTo>
                    <a:cubicBezTo>
                      <a:pt x="94858" y="0"/>
                      <a:pt x="91055" y="3803"/>
                      <a:pt x="91055" y="8556"/>
                    </a:cubicBezTo>
                    <a:lnTo>
                      <a:pt x="91055" y="46775"/>
                    </a:lnTo>
                    <a:lnTo>
                      <a:pt x="37625" y="46775"/>
                    </a:lnTo>
                    <a:cubicBezTo>
                      <a:pt x="32872" y="46775"/>
                      <a:pt x="29069" y="50577"/>
                      <a:pt x="29069" y="55331"/>
                    </a:cubicBezTo>
                    <a:lnTo>
                      <a:pt x="29069" y="99254"/>
                    </a:lnTo>
                    <a:lnTo>
                      <a:pt x="1308" y="142986"/>
                    </a:lnTo>
                    <a:cubicBezTo>
                      <a:pt x="-403" y="145648"/>
                      <a:pt x="-403" y="148880"/>
                      <a:pt x="1118" y="151732"/>
                    </a:cubicBezTo>
                    <a:cubicBezTo>
                      <a:pt x="2639" y="154585"/>
                      <a:pt x="5491" y="156106"/>
                      <a:pt x="8534" y="156106"/>
                    </a:cubicBezTo>
                    <a:lnTo>
                      <a:pt x="67667" y="156106"/>
                    </a:lnTo>
                    <a:lnTo>
                      <a:pt x="67667" y="426296"/>
                    </a:lnTo>
                    <a:lnTo>
                      <a:pt x="25266" y="426296"/>
                    </a:lnTo>
                    <a:cubicBezTo>
                      <a:pt x="20512" y="426296"/>
                      <a:pt x="16710" y="430099"/>
                      <a:pt x="16710" y="434852"/>
                    </a:cubicBezTo>
                    <a:cubicBezTo>
                      <a:pt x="16710" y="439606"/>
                      <a:pt x="20512" y="443408"/>
                      <a:pt x="25266" y="443408"/>
                    </a:cubicBezTo>
                    <a:lnTo>
                      <a:pt x="499858" y="443408"/>
                    </a:lnTo>
                    <a:cubicBezTo>
                      <a:pt x="504611" y="443408"/>
                      <a:pt x="508414" y="439606"/>
                      <a:pt x="508414" y="434852"/>
                    </a:cubicBezTo>
                    <a:cubicBezTo>
                      <a:pt x="508414" y="430099"/>
                      <a:pt x="504611" y="426296"/>
                      <a:pt x="499858" y="426296"/>
                    </a:cubicBezTo>
                    <a:lnTo>
                      <a:pt x="457456" y="426296"/>
                    </a:lnTo>
                    <a:lnTo>
                      <a:pt x="457456" y="156106"/>
                    </a:lnTo>
                    <a:lnTo>
                      <a:pt x="516780" y="156106"/>
                    </a:lnTo>
                    <a:cubicBezTo>
                      <a:pt x="519822" y="156106"/>
                      <a:pt x="522865" y="154394"/>
                      <a:pt x="524196" y="151732"/>
                    </a:cubicBezTo>
                    <a:cubicBezTo>
                      <a:pt x="525527" y="149070"/>
                      <a:pt x="525717" y="145838"/>
                      <a:pt x="524005" y="143176"/>
                    </a:cubicBezTo>
                    <a:close/>
                    <a:moveTo>
                      <a:pt x="450991" y="139183"/>
                    </a:moveTo>
                    <a:lnTo>
                      <a:pt x="441865" y="110282"/>
                    </a:lnTo>
                    <a:lnTo>
                      <a:pt x="482745" y="110282"/>
                    </a:lnTo>
                    <a:lnTo>
                      <a:pt x="501189" y="139183"/>
                    </a:lnTo>
                    <a:lnTo>
                      <a:pt x="450991" y="139183"/>
                    </a:lnTo>
                    <a:close/>
                    <a:moveTo>
                      <a:pt x="108167" y="17113"/>
                    </a:moveTo>
                    <a:lnTo>
                      <a:pt x="416576" y="17113"/>
                    </a:lnTo>
                    <a:lnTo>
                      <a:pt x="416576" y="46014"/>
                    </a:lnTo>
                    <a:lnTo>
                      <a:pt x="108167" y="46014"/>
                    </a:lnTo>
                    <a:lnTo>
                      <a:pt x="108167" y="17113"/>
                    </a:lnTo>
                    <a:close/>
                    <a:moveTo>
                      <a:pt x="478752" y="64077"/>
                    </a:moveTo>
                    <a:lnTo>
                      <a:pt x="478752" y="92979"/>
                    </a:lnTo>
                    <a:lnTo>
                      <a:pt x="46182" y="92979"/>
                    </a:lnTo>
                    <a:lnTo>
                      <a:pt x="46182" y="64077"/>
                    </a:lnTo>
                    <a:lnTo>
                      <a:pt x="478752" y="64077"/>
                    </a:lnTo>
                    <a:close/>
                    <a:moveTo>
                      <a:pt x="305153" y="139183"/>
                    </a:moveTo>
                    <a:lnTo>
                      <a:pt x="305153" y="110662"/>
                    </a:lnTo>
                    <a:lnTo>
                      <a:pt x="305153" y="110092"/>
                    </a:lnTo>
                    <a:lnTo>
                      <a:pt x="305724" y="110092"/>
                    </a:lnTo>
                    <a:lnTo>
                      <a:pt x="354970" y="110092"/>
                    </a:lnTo>
                    <a:lnTo>
                      <a:pt x="361055" y="138993"/>
                    </a:lnTo>
                    <a:lnTo>
                      <a:pt x="305724" y="138993"/>
                    </a:lnTo>
                    <a:lnTo>
                      <a:pt x="305153" y="138993"/>
                    </a:lnTo>
                    <a:close/>
                    <a:moveTo>
                      <a:pt x="236132" y="139183"/>
                    </a:moveTo>
                    <a:lnTo>
                      <a:pt x="236132" y="110662"/>
                    </a:lnTo>
                    <a:lnTo>
                      <a:pt x="236132" y="110092"/>
                    </a:lnTo>
                    <a:lnTo>
                      <a:pt x="287851" y="110092"/>
                    </a:lnTo>
                    <a:lnTo>
                      <a:pt x="287851" y="110662"/>
                    </a:lnTo>
                    <a:lnTo>
                      <a:pt x="287851" y="139183"/>
                    </a:lnTo>
                    <a:lnTo>
                      <a:pt x="236132" y="139183"/>
                    </a:lnTo>
                    <a:close/>
                    <a:moveTo>
                      <a:pt x="92005" y="139183"/>
                    </a:moveTo>
                    <a:lnTo>
                      <a:pt x="101132" y="110662"/>
                    </a:lnTo>
                    <a:lnTo>
                      <a:pt x="101322" y="110092"/>
                    </a:lnTo>
                    <a:lnTo>
                      <a:pt x="101893" y="110092"/>
                    </a:lnTo>
                    <a:lnTo>
                      <a:pt x="150949" y="110092"/>
                    </a:lnTo>
                    <a:lnTo>
                      <a:pt x="150759" y="110662"/>
                    </a:lnTo>
                    <a:lnTo>
                      <a:pt x="144674" y="139183"/>
                    </a:lnTo>
                    <a:lnTo>
                      <a:pt x="92576" y="139183"/>
                    </a:lnTo>
                    <a:lnTo>
                      <a:pt x="92005" y="139183"/>
                    </a:lnTo>
                    <a:close/>
                    <a:moveTo>
                      <a:pt x="168822" y="110282"/>
                    </a:moveTo>
                    <a:lnTo>
                      <a:pt x="218639" y="110282"/>
                    </a:lnTo>
                    <a:lnTo>
                      <a:pt x="218639" y="110852"/>
                    </a:lnTo>
                    <a:lnTo>
                      <a:pt x="218639" y="139373"/>
                    </a:lnTo>
                    <a:lnTo>
                      <a:pt x="162738" y="139373"/>
                    </a:lnTo>
                    <a:lnTo>
                      <a:pt x="168822" y="110282"/>
                    </a:lnTo>
                    <a:close/>
                    <a:moveTo>
                      <a:pt x="378738" y="139183"/>
                    </a:moveTo>
                    <a:lnTo>
                      <a:pt x="372653" y="110662"/>
                    </a:lnTo>
                    <a:lnTo>
                      <a:pt x="372463" y="110092"/>
                    </a:lnTo>
                    <a:lnTo>
                      <a:pt x="422280" y="110092"/>
                    </a:lnTo>
                    <a:lnTo>
                      <a:pt x="422470" y="110662"/>
                    </a:lnTo>
                    <a:lnTo>
                      <a:pt x="431597" y="139183"/>
                    </a:lnTo>
                    <a:lnTo>
                      <a:pt x="378738" y="139183"/>
                    </a:lnTo>
                    <a:close/>
                    <a:moveTo>
                      <a:pt x="42379" y="110282"/>
                    </a:moveTo>
                    <a:lnTo>
                      <a:pt x="83069" y="110282"/>
                    </a:lnTo>
                    <a:lnTo>
                      <a:pt x="73942" y="139183"/>
                    </a:lnTo>
                    <a:lnTo>
                      <a:pt x="24125" y="139183"/>
                    </a:lnTo>
                    <a:lnTo>
                      <a:pt x="42379" y="110282"/>
                    </a:lnTo>
                    <a:close/>
                    <a:moveTo>
                      <a:pt x="84590" y="156296"/>
                    </a:moveTo>
                    <a:lnTo>
                      <a:pt x="157984" y="156296"/>
                    </a:lnTo>
                    <a:lnTo>
                      <a:pt x="157984" y="284451"/>
                    </a:lnTo>
                    <a:lnTo>
                      <a:pt x="84590" y="284451"/>
                    </a:lnTo>
                    <a:lnTo>
                      <a:pt x="84590" y="156296"/>
                    </a:lnTo>
                    <a:close/>
                    <a:moveTo>
                      <a:pt x="175097" y="156296"/>
                    </a:moveTo>
                    <a:lnTo>
                      <a:pt x="349646" y="156296"/>
                    </a:lnTo>
                    <a:lnTo>
                      <a:pt x="349646" y="284451"/>
                    </a:lnTo>
                    <a:lnTo>
                      <a:pt x="175097" y="284451"/>
                    </a:lnTo>
                    <a:lnTo>
                      <a:pt x="175097" y="156296"/>
                    </a:lnTo>
                    <a:close/>
                    <a:moveTo>
                      <a:pt x="366949" y="156296"/>
                    </a:moveTo>
                    <a:lnTo>
                      <a:pt x="440343" y="156296"/>
                    </a:lnTo>
                    <a:lnTo>
                      <a:pt x="440343" y="284451"/>
                    </a:lnTo>
                    <a:lnTo>
                      <a:pt x="366949" y="284451"/>
                    </a:lnTo>
                    <a:lnTo>
                      <a:pt x="366949" y="156296"/>
                    </a:lnTo>
                    <a:close/>
                    <a:moveTo>
                      <a:pt x="84590" y="426676"/>
                    </a:moveTo>
                    <a:lnTo>
                      <a:pt x="84590" y="301754"/>
                    </a:lnTo>
                    <a:lnTo>
                      <a:pt x="440343" y="301754"/>
                    </a:lnTo>
                    <a:lnTo>
                      <a:pt x="440343" y="426676"/>
                    </a:lnTo>
                    <a:lnTo>
                      <a:pt x="84590" y="426676"/>
                    </a:lnTo>
                    <a:close/>
                  </a:path>
                </a:pathLst>
              </a:custGeom>
              <a:grpFill/>
              <a:ln w="1878" cap="flat">
                <a:noFill/>
                <a:prstDash val="solid"/>
                <a:miter/>
              </a:ln>
            </p:spPr>
            <p:txBody>
              <a:bodyPr rtlCol="0" anchor="ctr"/>
              <a:lstStyle/>
              <a:p>
                <a:endParaRPr lang="en-GB" noProof="0" dirty="0"/>
              </a:p>
            </p:txBody>
          </p:sp>
        </p:grpSp>
      </p:grpSp>
      <p:grpSp>
        <p:nvGrpSpPr>
          <p:cNvPr id="290" name="Grafik 32">
            <a:extLst>
              <a:ext uri="{FF2B5EF4-FFF2-40B4-BE49-F238E27FC236}">
                <a16:creationId xmlns:a16="http://schemas.microsoft.com/office/drawing/2014/main" id="{7026D016-1EA7-F357-E844-E578C286B7F2}"/>
              </a:ext>
            </a:extLst>
          </p:cNvPr>
          <p:cNvGrpSpPr>
            <a:grpSpLocks noChangeAspect="1"/>
          </p:cNvGrpSpPr>
          <p:nvPr/>
        </p:nvGrpSpPr>
        <p:grpSpPr>
          <a:xfrm flipH="1">
            <a:off x="5538377" y="1840210"/>
            <a:ext cx="381600" cy="381600"/>
            <a:chOff x="4426973" y="3060246"/>
            <a:chExt cx="540000" cy="540000"/>
          </a:xfrm>
          <a:solidFill>
            <a:schemeClr val="accent1"/>
          </a:solidFill>
        </p:grpSpPr>
        <p:grpSp>
          <p:nvGrpSpPr>
            <p:cNvPr id="291" name="Grafik 32">
              <a:extLst>
                <a:ext uri="{FF2B5EF4-FFF2-40B4-BE49-F238E27FC236}">
                  <a16:creationId xmlns:a16="http://schemas.microsoft.com/office/drawing/2014/main" id="{4B6CE9CF-9464-CB92-43F9-C1B530F4AE0A}"/>
                </a:ext>
              </a:extLst>
            </p:cNvPr>
            <p:cNvGrpSpPr/>
            <p:nvPr/>
          </p:nvGrpSpPr>
          <p:grpSpPr>
            <a:xfrm>
              <a:off x="4426886" y="3060246"/>
              <a:ext cx="539326" cy="538859"/>
              <a:chOff x="4426886" y="3060246"/>
              <a:chExt cx="539326" cy="538859"/>
            </a:xfrm>
            <a:grpFill/>
          </p:grpSpPr>
          <p:grpSp>
            <p:nvGrpSpPr>
              <p:cNvPr id="292" name="Grafik 32">
                <a:extLst>
                  <a:ext uri="{FF2B5EF4-FFF2-40B4-BE49-F238E27FC236}">
                    <a16:creationId xmlns:a16="http://schemas.microsoft.com/office/drawing/2014/main" id="{52CDEEF7-C2E3-4612-DFDC-27D58F853ED7}"/>
                  </a:ext>
                </a:extLst>
              </p:cNvPr>
              <p:cNvGrpSpPr/>
              <p:nvPr/>
            </p:nvGrpSpPr>
            <p:grpSpPr>
              <a:xfrm>
                <a:off x="4426886" y="3271866"/>
                <a:ext cx="539326" cy="327238"/>
                <a:chOff x="4426886" y="3271866"/>
                <a:chExt cx="539326" cy="327238"/>
              </a:xfrm>
              <a:grpFill/>
            </p:grpSpPr>
            <p:sp>
              <p:nvSpPr>
                <p:cNvPr id="293" name="Freihandform: Form 292">
                  <a:extLst>
                    <a:ext uri="{FF2B5EF4-FFF2-40B4-BE49-F238E27FC236}">
                      <a16:creationId xmlns:a16="http://schemas.microsoft.com/office/drawing/2014/main" id="{71935F39-22A5-5BE4-3EA9-7BC13D3184B9}"/>
                    </a:ext>
                  </a:extLst>
                </p:cNvPr>
                <p:cNvSpPr/>
                <p:nvPr/>
              </p:nvSpPr>
              <p:spPr>
                <a:xfrm>
                  <a:off x="4426886" y="3271866"/>
                  <a:ext cx="367825" cy="233499"/>
                </a:xfrm>
                <a:custGeom>
                  <a:avLst/>
                  <a:gdLst>
                    <a:gd name="connsiteX0" fmla="*/ 9023 w 367825"/>
                    <a:gd name="connsiteY0" fmla="*/ 233499 h 233499"/>
                    <a:gd name="connsiteX1" fmla="*/ 17199 w 367825"/>
                    <a:gd name="connsiteY1" fmla="*/ 228366 h 233499"/>
                    <a:gd name="connsiteX2" fmla="*/ 76714 w 367825"/>
                    <a:gd name="connsiteY2" fmla="*/ 101351 h 233499"/>
                    <a:gd name="connsiteX3" fmla="*/ 95347 w 367825"/>
                    <a:gd name="connsiteY3" fmla="*/ 181971 h 233499"/>
                    <a:gd name="connsiteX4" fmla="*/ 115312 w 367825"/>
                    <a:gd name="connsiteY4" fmla="*/ 203077 h 233499"/>
                    <a:gd name="connsiteX5" fmla="*/ 122918 w 367825"/>
                    <a:gd name="connsiteY5" fmla="*/ 204028 h 233499"/>
                    <a:gd name="connsiteX6" fmla="*/ 129573 w 367825"/>
                    <a:gd name="connsiteY6" fmla="*/ 203457 h 233499"/>
                    <a:gd name="connsiteX7" fmla="*/ 345763 w 367825"/>
                    <a:gd name="connsiteY7" fmla="*/ 153450 h 233499"/>
                    <a:gd name="connsiteX8" fmla="*/ 367059 w 367825"/>
                    <a:gd name="connsiteY8" fmla="*/ 119225 h 233499"/>
                    <a:gd name="connsiteX9" fmla="*/ 344622 w 367825"/>
                    <a:gd name="connsiteY9" fmla="*/ 22063 h 233499"/>
                    <a:gd name="connsiteX10" fmla="*/ 310397 w 367825"/>
                    <a:gd name="connsiteY10" fmla="*/ 767 h 233499"/>
                    <a:gd name="connsiteX11" fmla="*/ 310397 w 367825"/>
                    <a:gd name="connsiteY11" fmla="*/ 767 h 233499"/>
                    <a:gd name="connsiteX12" fmla="*/ 94206 w 367825"/>
                    <a:gd name="connsiteY12" fmla="*/ 50774 h 233499"/>
                    <a:gd name="connsiteX13" fmla="*/ 76333 w 367825"/>
                    <a:gd name="connsiteY13" fmla="*/ 62753 h 233499"/>
                    <a:gd name="connsiteX14" fmla="*/ 73291 w 367825"/>
                    <a:gd name="connsiteY14" fmla="*/ 66366 h 233499"/>
                    <a:gd name="connsiteX15" fmla="*/ 847 w 367825"/>
                    <a:gd name="connsiteY15" fmla="*/ 220760 h 233499"/>
                    <a:gd name="connsiteX16" fmla="*/ 5221 w 367825"/>
                    <a:gd name="connsiteY16" fmla="*/ 232739 h 233499"/>
                    <a:gd name="connsiteX17" fmla="*/ 9023 w 367825"/>
                    <a:gd name="connsiteY17" fmla="*/ 233499 h 233499"/>
                    <a:gd name="connsiteX18" fmla="*/ 98390 w 367825"/>
                    <a:gd name="connsiteY18" fmla="*/ 68267 h 233499"/>
                    <a:gd name="connsiteX19" fmla="*/ 314580 w 367825"/>
                    <a:gd name="connsiteY19" fmla="*/ 18260 h 233499"/>
                    <a:gd name="connsiteX20" fmla="*/ 327129 w 367825"/>
                    <a:gd name="connsiteY20" fmla="*/ 26056 h 233499"/>
                    <a:gd name="connsiteX21" fmla="*/ 349566 w 367825"/>
                    <a:gd name="connsiteY21" fmla="*/ 123028 h 233499"/>
                    <a:gd name="connsiteX22" fmla="*/ 341770 w 367825"/>
                    <a:gd name="connsiteY22" fmla="*/ 135767 h 233499"/>
                    <a:gd name="connsiteX23" fmla="*/ 125390 w 367825"/>
                    <a:gd name="connsiteY23" fmla="*/ 185774 h 233499"/>
                    <a:gd name="connsiteX24" fmla="*/ 119495 w 367825"/>
                    <a:gd name="connsiteY24" fmla="*/ 185584 h 233499"/>
                    <a:gd name="connsiteX25" fmla="*/ 112840 w 367825"/>
                    <a:gd name="connsiteY25" fmla="*/ 177978 h 233499"/>
                    <a:gd name="connsiteX26" fmla="*/ 90404 w 367825"/>
                    <a:gd name="connsiteY26" fmla="*/ 80816 h 233499"/>
                    <a:gd name="connsiteX27" fmla="*/ 98390 w 367825"/>
                    <a:gd name="connsiteY27" fmla="*/ 68267 h 23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67825" h="233499">
                      <a:moveTo>
                        <a:pt x="9023" y="233499"/>
                      </a:moveTo>
                      <a:cubicBezTo>
                        <a:pt x="12446" y="233499"/>
                        <a:pt x="15678" y="231598"/>
                        <a:pt x="17199" y="228366"/>
                      </a:cubicBezTo>
                      <a:lnTo>
                        <a:pt x="76714" y="101351"/>
                      </a:lnTo>
                      <a:lnTo>
                        <a:pt x="95347" y="181971"/>
                      </a:lnTo>
                      <a:cubicBezTo>
                        <a:pt x="98009" y="193189"/>
                        <a:pt x="105044" y="200605"/>
                        <a:pt x="115312" y="203077"/>
                      </a:cubicBezTo>
                      <a:cubicBezTo>
                        <a:pt x="117974" y="203647"/>
                        <a:pt x="120636" y="204028"/>
                        <a:pt x="122918" y="204028"/>
                      </a:cubicBezTo>
                      <a:cubicBezTo>
                        <a:pt x="126530" y="204028"/>
                        <a:pt x="129192" y="203457"/>
                        <a:pt x="129573" y="203457"/>
                      </a:cubicBezTo>
                      <a:lnTo>
                        <a:pt x="345763" y="153450"/>
                      </a:lnTo>
                      <a:cubicBezTo>
                        <a:pt x="366108" y="148697"/>
                        <a:pt x="369721" y="130443"/>
                        <a:pt x="367059" y="119225"/>
                      </a:cubicBezTo>
                      <a:lnTo>
                        <a:pt x="344622" y="22063"/>
                      </a:lnTo>
                      <a:cubicBezTo>
                        <a:pt x="339868" y="1718"/>
                        <a:pt x="321615" y="-1895"/>
                        <a:pt x="310397" y="767"/>
                      </a:cubicBezTo>
                      <a:cubicBezTo>
                        <a:pt x="310397" y="767"/>
                        <a:pt x="310397" y="767"/>
                        <a:pt x="310397" y="767"/>
                      </a:cubicBezTo>
                      <a:lnTo>
                        <a:pt x="94206" y="50774"/>
                      </a:lnTo>
                      <a:cubicBezTo>
                        <a:pt x="85460" y="52866"/>
                        <a:pt x="79756" y="57429"/>
                        <a:pt x="76333" y="62753"/>
                      </a:cubicBezTo>
                      <a:cubicBezTo>
                        <a:pt x="75002" y="63704"/>
                        <a:pt x="73861" y="64844"/>
                        <a:pt x="73291" y="66366"/>
                      </a:cubicBezTo>
                      <a:lnTo>
                        <a:pt x="847" y="220760"/>
                      </a:lnTo>
                      <a:cubicBezTo>
                        <a:pt x="-1244" y="225323"/>
                        <a:pt x="657" y="230647"/>
                        <a:pt x="5221" y="232739"/>
                      </a:cubicBezTo>
                      <a:cubicBezTo>
                        <a:pt x="6552" y="233309"/>
                        <a:pt x="7883" y="233499"/>
                        <a:pt x="9023" y="233499"/>
                      </a:cubicBezTo>
                      <a:close/>
                      <a:moveTo>
                        <a:pt x="98390" y="68267"/>
                      </a:moveTo>
                      <a:lnTo>
                        <a:pt x="314580" y="18260"/>
                      </a:lnTo>
                      <a:cubicBezTo>
                        <a:pt x="317052" y="17689"/>
                        <a:pt x="325037" y="16549"/>
                        <a:pt x="327129" y="26056"/>
                      </a:cubicBezTo>
                      <a:lnTo>
                        <a:pt x="349566" y="123028"/>
                      </a:lnTo>
                      <a:cubicBezTo>
                        <a:pt x="350326" y="126830"/>
                        <a:pt x="350326" y="133675"/>
                        <a:pt x="341770" y="135767"/>
                      </a:cubicBezTo>
                      <a:lnTo>
                        <a:pt x="125390" y="185774"/>
                      </a:lnTo>
                      <a:cubicBezTo>
                        <a:pt x="125390" y="185774"/>
                        <a:pt x="122537" y="186344"/>
                        <a:pt x="119495" y="185584"/>
                      </a:cubicBezTo>
                      <a:cubicBezTo>
                        <a:pt x="117023" y="185013"/>
                        <a:pt x="114171" y="183492"/>
                        <a:pt x="112840" y="177978"/>
                      </a:cubicBezTo>
                      <a:lnTo>
                        <a:pt x="90404" y="80816"/>
                      </a:lnTo>
                      <a:cubicBezTo>
                        <a:pt x="89833" y="78344"/>
                        <a:pt x="88883" y="70359"/>
                        <a:pt x="98390" y="68267"/>
                      </a:cubicBezTo>
                      <a:close/>
                    </a:path>
                  </a:pathLst>
                </a:custGeom>
                <a:grpFill/>
                <a:ln w="1878" cap="flat">
                  <a:noFill/>
                  <a:prstDash val="solid"/>
                  <a:miter/>
                </a:ln>
              </p:spPr>
              <p:txBody>
                <a:bodyPr rtlCol="0" anchor="ctr"/>
                <a:lstStyle/>
                <a:p>
                  <a:endParaRPr lang="en-GB" noProof="0" dirty="0"/>
                </a:p>
              </p:txBody>
            </p:sp>
            <p:sp>
              <p:nvSpPr>
                <p:cNvPr id="294" name="Freihandform: Form 293">
                  <a:extLst>
                    <a:ext uri="{FF2B5EF4-FFF2-40B4-BE49-F238E27FC236}">
                      <a16:creationId xmlns:a16="http://schemas.microsoft.com/office/drawing/2014/main" id="{FC719F52-A9C6-8F8A-CA62-029B4FC19E42}"/>
                    </a:ext>
                  </a:extLst>
                </p:cNvPr>
                <p:cNvSpPr/>
                <p:nvPr/>
              </p:nvSpPr>
              <p:spPr>
                <a:xfrm>
                  <a:off x="4490860" y="3469809"/>
                  <a:ext cx="17302" cy="17302"/>
                </a:xfrm>
                <a:custGeom>
                  <a:avLst/>
                  <a:gdLst>
                    <a:gd name="connsiteX0" fmla="*/ 0 w 17302"/>
                    <a:gd name="connsiteY0" fmla="*/ 0 h 17302"/>
                    <a:gd name="connsiteX1" fmla="*/ 17303 w 17302"/>
                    <a:gd name="connsiteY1" fmla="*/ 0 h 17302"/>
                    <a:gd name="connsiteX2" fmla="*/ 17303 w 17302"/>
                    <a:gd name="connsiteY2" fmla="*/ 17303 h 17302"/>
                    <a:gd name="connsiteX3" fmla="*/ 0 w 17302"/>
                    <a:gd name="connsiteY3" fmla="*/ 17303 h 17302"/>
                  </a:gdLst>
                  <a:ahLst/>
                  <a:cxnLst>
                    <a:cxn ang="0">
                      <a:pos x="connsiteX0" y="connsiteY0"/>
                    </a:cxn>
                    <a:cxn ang="0">
                      <a:pos x="connsiteX1" y="connsiteY1"/>
                    </a:cxn>
                    <a:cxn ang="0">
                      <a:pos x="connsiteX2" y="connsiteY2"/>
                    </a:cxn>
                    <a:cxn ang="0">
                      <a:pos x="connsiteX3" y="connsiteY3"/>
                    </a:cxn>
                  </a:cxnLst>
                  <a:rect l="l" t="t" r="r" b="b"/>
                  <a:pathLst>
                    <a:path w="17302" h="17302">
                      <a:moveTo>
                        <a:pt x="0" y="0"/>
                      </a:moveTo>
                      <a:lnTo>
                        <a:pt x="17303" y="0"/>
                      </a:lnTo>
                      <a:lnTo>
                        <a:pt x="17303" y="17303"/>
                      </a:lnTo>
                      <a:lnTo>
                        <a:pt x="0" y="17303"/>
                      </a:lnTo>
                      <a:close/>
                    </a:path>
                  </a:pathLst>
                </a:custGeom>
                <a:grpFill/>
                <a:ln w="1878" cap="flat">
                  <a:noFill/>
                  <a:prstDash val="solid"/>
                  <a:miter/>
                </a:ln>
              </p:spPr>
              <p:txBody>
                <a:bodyPr rtlCol="0" anchor="ctr"/>
                <a:lstStyle/>
                <a:p>
                  <a:endParaRPr lang="en-GB" noProof="0" dirty="0"/>
                </a:p>
              </p:txBody>
            </p:sp>
            <p:sp>
              <p:nvSpPr>
                <p:cNvPr id="295" name="Freihandform: Form 294">
                  <a:extLst>
                    <a:ext uri="{FF2B5EF4-FFF2-40B4-BE49-F238E27FC236}">
                      <a16:creationId xmlns:a16="http://schemas.microsoft.com/office/drawing/2014/main" id="{DB456CCD-499B-F70F-4CDF-1A680F93E625}"/>
                    </a:ext>
                  </a:extLst>
                </p:cNvPr>
                <p:cNvSpPr/>
                <p:nvPr/>
              </p:nvSpPr>
              <p:spPr>
                <a:xfrm>
                  <a:off x="4474508" y="3496238"/>
                  <a:ext cx="17302" cy="17302"/>
                </a:xfrm>
                <a:custGeom>
                  <a:avLst/>
                  <a:gdLst>
                    <a:gd name="connsiteX0" fmla="*/ 0 w 17302"/>
                    <a:gd name="connsiteY0" fmla="*/ 0 h 17302"/>
                    <a:gd name="connsiteX1" fmla="*/ 17303 w 17302"/>
                    <a:gd name="connsiteY1" fmla="*/ 0 h 17302"/>
                    <a:gd name="connsiteX2" fmla="*/ 17303 w 17302"/>
                    <a:gd name="connsiteY2" fmla="*/ 17303 h 17302"/>
                    <a:gd name="connsiteX3" fmla="*/ 0 w 17302"/>
                    <a:gd name="connsiteY3" fmla="*/ 17303 h 17302"/>
                  </a:gdLst>
                  <a:ahLst/>
                  <a:cxnLst>
                    <a:cxn ang="0">
                      <a:pos x="connsiteX0" y="connsiteY0"/>
                    </a:cxn>
                    <a:cxn ang="0">
                      <a:pos x="connsiteX1" y="connsiteY1"/>
                    </a:cxn>
                    <a:cxn ang="0">
                      <a:pos x="connsiteX2" y="connsiteY2"/>
                    </a:cxn>
                    <a:cxn ang="0">
                      <a:pos x="connsiteX3" y="connsiteY3"/>
                    </a:cxn>
                  </a:cxnLst>
                  <a:rect l="l" t="t" r="r" b="b"/>
                  <a:pathLst>
                    <a:path w="17302" h="17302">
                      <a:moveTo>
                        <a:pt x="0" y="0"/>
                      </a:moveTo>
                      <a:lnTo>
                        <a:pt x="17303" y="0"/>
                      </a:lnTo>
                      <a:lnTo>
                        <a:pt x="17303" y="17303"/>
                      </a:lnTo>
                      <a:lnTo>
                        <a:pt x="0" y="17303"/>
                      </a:lnTo>
                      <a:close/>
                    </a:path>
                  </a:pathLst>
                </a:custGeom>
                <a:grpFill/>
                <a:ln w="1878" cap="flat">
                  <a:noFill/>
                  <a:prstDash val="solid"/>
                  <a:miter/>
                </a:ln>
              </p:spPr>
              <p:txBody>
                <a:bodyPr rtlCol="0" anchor="ctr"/>
                <a:lstStyle/>
                <a:p>
                  <a:endParaRPr lang="en-GB" noProof="0" dirty="0"/>
                </a:p>
              </p:txBody>
            </p:sp>
            <p:sp>
              <p:nvSpPr>
                <p:cNvPr id="296" name="Freihandform: Form 295">
                  <a:extLst>
                    <a:ext uri="{FF2B5EF4-FFF2-40B4-BE49-F238E27FC236}">
                      <a16:creationId xmlns:a16="http://schemas.microsoft.com/office/drawing/2014/main" id="{04F57719-0486-BDDD-FB55-DD7D177D071D}"/>
                    </a:ext>
                  </a:extLst>
                </p:cNvPr>
                <p:cNvSpPr/>
                <p:nvPr/>
              </p:nvSpPr>
              <p:spPr>
                <a:xfrm>
                  <a:off x="4490099" y="3520006"/>
                  <a:ext cx="17302" cy="17302"/>
                </a:xfrm>
                <a:custGeom>
                  <a:avLst/>
                  <a:gdLst>
                    <a:gd name="connsiteX0" fmla="*/ 0 w 17302"/>
                    <a:gd name="connsiteY0" fmla="*/ 0 h 17302"/>
                    <a:gd name="connsiteX1" fmla="*/ 17303 w 17302"/>
                    <a:gd name="connsiteY1" fmla="*/ 0 h 17302"/>
                    <a:gd name="connsiteX2" fmla="*/ 17303 w 17302"/>
                    <a:gd name="connsiteY2" fmla="*/ 17303 h 17302"/>
                    <a:gd name="connsiteX3" fmla="*/ 0 w 17302"/>
                    <a:gd name="connsiteY3" fmla="*/ 17303 h 17302"/>
                  </a:gdLst>
                  <a:ahLst/>
                  <a:cxnLst>
                    <a:cxn ang="0">
                      <a:pos x="connsiteX0" y="connsiteY0"/>
                    </a:cxn>
                    <a:cxn ang="0">
                      <a:pos x="connsiteX1" y="connsiteY1"/>
                    </a:cxn>
                    <a:cxn ang="0">
                      <a:pos x="connsiteX2" y="connsiteY2"/>
                    </a:cxn>
                    <a:cxn ang="0">
                      <a:pos x="connsiteX3" y="connsiteY3"/>
                    </a:cxn>
                  </a:cxnLst>
                  <a:rect l="l" t="t" r="r" b="b"/>
                  <a:pathLst>
                    <a:path w="17302" h="17302">
                      <a:moveTo>
                        <a:pt x="0" y="0"/>
                      </a:moveTo>
                      <a:lnTo>
                        <a:pt x="17303" y="0"/>
                      </a:lnTo>
                      <a:lnTo>
                        <a:pt x="17303" y="17303"/>
                      </a:lnTo>
                      <a:lnTo>
                        <a:pt x="0" y="17303"/>
                      </a:lnTo>
                      <a:close/>
                    </a:path>
                  </a:pathLst>
                </a:custGeom>
                <a:grpFill/>
                <a:ln w="1878" cap="flat">
                  <a:noFill/>
                  <a:prstDash val="solid"/>
                  <a:miter/>
                </a:ln>
              </p:spPr>
              <p:txBody>
                <a:bodyPr rtlCol="0" anchor="ctr"/>
                <a:lstStyle/>
                <a:p>
                  <a:endParaRPr lang="en-GB" noProof="0" dirty="0"/>
                </a:p>
              </p:txBody>
            </p:sp>
            <p:sp>
              <p:nvSpPr>
                <p:cNvPr id="297" name="Freihandform: Form 296">
                  <a:extLst>
                    <a:ext uri="{FF2B5EF4-FFF2-40B4-BE49-F238E27FC236}">
                      <a16:creationId xmlns:a16="http://schemas.microsoft.com/office/drawing/2014/main" id="{4FE10264-DAAD-5E5C-AF54-3F7276FA84F5}"/>
                    </a:ext>
                  </a:extLst>
                </p:cNvPr>
                <p:cNvSpPr/>
                <p:nvPr/>
              </p:nvSpPr>
              <p:spPr>
                <a:xfrm>
                  <a:off x="4430031" y="3521952"/>
                  <a:ext cx="117709" cy="77152"/>
                </a:xfrm>
                <a:custGeom>
                  <a:avLst/>
                  <a:gdLst>
                    <a:gd name="connsiteX0" fmla="*/ 96575 w 117709"/>
                    <a:gd name="connsiteY0" fmla="*/ 36652 h 77152"/>
                    <a:gd name="connsiteX1" fmla="*/ 50561 w 117709"/>
                    <a:gd name="connsiteY1" fmla="*/ 35131 h 77152"/>
                    <a:gd name="connsiteX2" fmla="*/ 42575 w 117709"/>
                    <a:gd name="connsiteY2" fmla="*/ 34180 h 77152"/>
                    <a:gd name="connsiteX3" fmla="*/ 38202 w 117709"/>
                    <a:gd name="connsiteY3" fmla="*/ 24293 h 77152"/>
                    <a:gd name="connsiteX4" fmla="*/ 38012 w 117709"/>
                    <a:gd name="connsiteY4" fmla="*/ 22772 h 77152"/>
                    <a:gd name="connsiteX5" fmla="*/ 28695 w 117709"/>
                    <a:gd name="connsiteY5" fmla="*/ 4328 h 77152"/>
                    <a:gd name="connsiteX6" fmla="*/ 7019 w 117709"/>
                    <a:gd name="connsiteY6" fmla="*/ 716 h 77152"/>
                    <a:gd name="connsiteX7" fmla="*/ 174 w 117709"/>
                    <a:gd name="connsiteY7" fmla="*/ 11554 h 77152"/>
                    <a:gd name="connsiteX8" fmla="*/ 11012 w 117709"/>
                    <a:gd name="connsiteY8" fmla="*/ 18209 h 77152"/>
                    <a:gd name="connsiteX9" fmla="*/ 18617 w 117709"/>
                    <a:gd name="connsiteY9" fmla="*/ 19159 h 77152"/>
                    <a:gd name="connsiteX10" fmla="*/ 19568 w 117709"/>
                    <a:gd name="connsiteY10" fmla="*/ 19920 h 77152"/>
                    <a:gd name="connsiteX11" fmla="*/ 19948 w 117709"/>
                    <a:gd name="connsiteY11" fmla="*/ 24293 h 77152"/>
                    <a:gd name="connsiteX12" fmla="*/ 20139 w 117709"/>
                    <a:gd name="connsiteY12" fmla="*/ 25814 h 77152"/>
                    <a:gd name="connsiteX13" fmla="*/ 30977 w 117709"/>
                    <a:gd name="connsiteY13" fmla="*/ 48061 h 77152"/>
                    <a:gd name="connsiteX14" fmla="*/ 50181 w 117709"/>
                    <a:gd name="connsiteY14" fmla="*/ 53004 h 77152"/>
                    <a:gd name="connsiteX15" fmla="*/ 51132 w 117709"/>
                    <a:gd name="connsiteY15" fmla="*/ 53004 h 77152"/>
                    <a:gd name="connsiteX16" fmla="*/ 92582 w 117709"/>
                    <a:gd name="connsiteY16" fmla="*/ 54145 h 77152"/>
                    <a:gd name="connsiteX17" fmla="*/ 97146 w 117709"/>
                    <a:gd name="connsiteY17" fmla="*/ 59279 h 77152"/>
                    <a:gd name="connsiteX18" fmla="*/ 10441 w 117709"/>
                    <a:gd name="connsiteY18" fmla="*/ 59279 h 77152"/>
                    <a:gd name="connsiteX19" fmla="*/ 1505 w 117709"/>
                    <a:gd name="connsiteY19" fmla="*/ 68216 h 77152"/>
                    <a:gd name="connsiteX20" fmla="*/ 10441 w 117709"/>
                    <a:gd name="connsiteY20" fmla="*/ 77152 h 77152"/>
                    <a:gd name="connsiteX21" fmla="*/ 108744 w 117709"/>
                    <a:gd name="connsiteY21" fmla="*/ 77152 h 77152"/>
                    <a:gd name="connsiteX22" fmla="*/ 115399 w 117709"/>
                    <a:gd name="connsiteY22" fmla="*/ 74300 h 77152"/>
                    <a:gd name="connsiteX23" fmla="*/ 117681 w 117709"/>
                    <a:gd name="connsiteY23" fmla="*/ 67455 h 77152"/>
                    <a:gd name="connsiteX24" fmla="*/ 96575 w 117709"/>
                    <a:gd name="connsiteY24" fmla="*/ 36652 h 7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7709" h="77152">
                      <a:moveTo>
                        <a:pt x="96575" y="36652"/>
                      </a:moveTo>
                      <a:cubicBezTo>
                        <a:pt x="83646" y="33610"/>
                        <a:pt x="55505" y="34751"/>
                        <a:pt x="50561" y="35131"/>
                      </a:cubicBezTo>
                      <a:cubicBezTo>
                        <a:pt x="47899" y="34941"/>
                        <a:pt x="44287" y="34561"/>
                        <a:pt x="42575" y="34180"/>
                      </a:cubicBezTo>
                      <a:cubicBezTo>
                        <a:pt x="40484" y="31899"/>
                        <a:pt x="38582" y="29237"/>
                        <a:pt x="38202" y="24293"/>
                      </a:cubicBezTo>
                      <a:lnTo>
                        <a:pt x="38012" y="22772"/>
                      </a:lnTo>
                      <a:cubicBezTo>
                        <a:pt x="37251" y="13835"/>
                        <a:pt x="36491" y="9652"/>
                        <a:pt x="28695" y="4328"/>
                      </a:cubicBezTo>
                      <a:cubicBezTo>
                        <a:pt x="19378" y="-1946"/>
                        <a:pt x="8160" y="335"/>
                        <a:pt x="7019" y="716"/>
                      </a:cubicBezTo>
                      <a:cubicBezTo>
                        <a:pt x="2265" y="1857"/>
                        <a:pt x="-777" y="6610"/>
                        <a:pt x="174" y="11554"/>
                      </a:cubicBezTo>
                      <a:cubicBezTo>
                        <a:pt x="1315" y="16307"/>
                        <a:pt x="6068" y="19350"/>
                        <a:pt x="11012" y="18209"/>
                      </a:cubicBezTo>
                      <a:cubicBezTo>
                        <a:pt x="12153" y="18019"/>
                        <a:pt x="16336" y="17638"/>
                        <a:pt x="18617" y="19159"/>
                      </a:cubicBezTo>
                      <a:cubicBezTo>
                        <a:pt x="18998" y="19540"/>
                        <a:pt x="19378" y="19730"/>
                        <a:pt x="19568" y="19920"/>
                      </a:cubicBezTo>
                      <a:cubicBezTo>
                        <a:pt x="19758" y="20871"/>
                        <a:pt x="19948" y="22582"/>
                        <a:pt x="19948" y="24293"/>
                      </a:cubicBezTo>
                      <a:lnTo>
                        <a:pt x="20139" y="25814"/>
                      </a:lnTo>
                      <a:cubicBezTo>
                        <a:pt x="21279" y="38173"/>
                        <a:pt x="27554" y="44638"/>
                        <a:pt x="30977" y="48061"/>
                      </a:cubicBezTo>
                      <a:cubicBezTo>
                        <a:pt x="32498" y="49582"/>
                        <a:pt x="35160" y="52434"/>
                        <a:pt x="50181" y="53004"/>
                      </a:cubicBezTo>
                      <a:cubicBezTo>
                        <a:pt x="50561" y="53004"/>
                        <a:pt x="50751" y="53004"/>
                        <a:pt x="51132" y="53004"/>
                      </a:cubicBezTo>
                      <a:cubicBezTo>
                        <a:pt x="59498" y="52624"/>
                        <a:pt x="83456" y="52054"/>
                        <a:pt x="92582" y="54145"/>
                      </a:cubicBezTo>
                      <a:cubicBezTo>
                        <a:pt x="94484" y="54526"/>
                        <a:pt x="96005" y="56617"/>
                        <a:pt x="97146" y="59279"/>
                      </a:cubicBezTo>
                      <a:lnTo>
                        <a:pt x="10441" y="59279"/>
                      </a:lnTo>
                      <a:cubicBezTo>
                        <a:pt x="5498" y="59279"/>
                        <a:pt x="1505" y="63272"/>
                        <a:pt x="1505" y="68216"/>
                      </a:cubicBezTo>
                      <a:cubicBezTo>
                        <a:pt x="1505" y="73159"/>
                        <a:pt x="5498" y="77152"/>
                        <a:pt x="10441" y="77152"/>
                      </a:cubicBezTo>
                      <a:lnTo>
                        <a:pt x="108744" y="77152"/>
                      </a:lnTo>
                      <a:cubicBezTo>
                        <a:pt x="111216" y="77152"/>
                        <a:pt x="113688" y="76011"/>
                        <a:pt x="115399" y="74300"/>
                      </a:cubicBezTo>
                      <a:cubicBezTo>
                        <a:pt x="117110" y="72399"/>
                        <a:pt x="117871" y="69927"/>
                        <a:pt x="117681" y="67455"/>
                      </a:cubicBezTo>
                      <a:cubicBezTo>
                        <a:pt x="117491" y="64793"/>
                        <a:pt x="114829" y="41026"/>
                        <a:pt x="96575" y="36652"/>
                      </a:cubicBezTo>
                      <a:close/>
                    </a:path>
                  </a:pathLst>
                </a:custGeom>
                <a:grpFill/>
                <a:ln w="1878" cap="flat">
                  <a:noFill/>
                  <a:prstDash val="solid"/>
                  <a:miter/>
                </a:ln>
              </p:spPr>
              <p:txBody>
                <a:bodyPr rtlCol="0" anchor="ctr"/>
                <a:lstStyle/>
                <a:p>
                  <a:endParaRPr lang="en-GB" noProof="0" dirty="0"/>
                </a:p>
              </p:txBody>
            </p:sp>
            <p:grpSp>
              <p:nvGrpSpPr>
                <p:cNvPr id="298" name="Grafik 32">
                  <a:extLst>
                    <a:ext uri="{FF2B5EF4-FFF2-40B4-BE49-F238E27FC236}">
                      <a16:creationId xmlns:a16="http://schemas.microsoft.com/office/drawing/2014/main" id="{5933861A-7450-62F8-6630-1D60921BE3EC}"/>
                    </a:ext>
                  </a:extLst>
                </p:cNvPr>
                <p:cNvGrpSpPr/>
                <p:nvPr/>
              </p:nvGrpSpPr>
              <p:grpSpPr>
                <a:xfrm>
                  <a:off x="4531740" y="3324541"/>
                  <a:ext cx="434471" cy="274563"/>
                  <a:chOff x="4531740" y="3324541"/>
                  <a:chExt cx="434471" cy="274563"/>
                </a:xfrm>
                <a:grpFill/>
              </p:grpSpPr>
              <p:sp>
                <p:nvSpPr>
                  <p:cNvPr id="299" name="Freihandform: Form 298">
                    <a:extLst>
                      <a:ext uri="{FF2B5EF4-FFF2-40B4-BE49-F238E27FC236}">
                        <a16:creationId xmlns:a16="http://schemas.microsoft.com/office/drawing/2014/main" id="{02E6C8C7-B305-732E-F9D6-6E4C36FB13B4}"/>
                      </a:ext>
                    </a:extLst>
                  </p:cNvPr>
                  <p:cNvSpPr/>
                  <p:nvPr/>
                </p:nvSpPr>
                <p:spPr>
                  <a:xfrm>
                    <a:off x="4835965" y="3513541"/>
                    <a:ext cx="54380" cy="54380"/>
                  </a:xfrm>
                  <a:custGeom>
                    <a:avLst/>
                    <a:gdLst>
                      <a:gd name="connsiteX0" fmla="*/ 27190 w 54380"/>
                      <a:gd name="connsiteY0" fmla="*/ 0 h 54380"/>
                      <a:gd name="connsiteX1" fmla="*/ 0 w 54380"/>
                      <a:gd name="connsiteY1" fmla="*/ 27190 h 54380"/>
                      <a:gd name="connsiteX2" fmla="*/ 27190 w 54380"/>
                      <a:gd name="connsiteY2" fmla="*/ 54380 h 54380"/>
                      <a:gd name="connsiteX3" fmla="*/ 54380 w 54380"/>
                      <a:gd name="connsiteY3" fmla="*/ 27190 h 54380"/>
                      <a:gd name="connsiteX4" fmla="*/ 27190 w 54380"/>
                      <a:gd name="connsiteY4" fmla="*/ 0 h 54380"/>
                      <a:gd name="connsiteX5" fmla="*/ 27190 w 54380"/>
                      <a:gd name="connsiteY5" fmla="*/ 37268 h 54380"/>
                      <a:gd name="connsiteX6" fmla="*/ 17113 w 54380"/>
                      <a:gd name="connsiteY6" fmla="*/ 27190 h 54380"/>
                      <a:gd name="connsiteX7" fmla="*/ 27190 w 54380"/>
                      <a:gd name="connsiteY7" fmla="*/ 17113 h 54380"/>
                      <a:gd name="connsiteX8" fmla="*/ 37268 w 54380"/>
                      <a:gd name="connsiteY8" fmla="*/ 27190 h 54380"/>
                      <a:gd name="connsiteX9" fmla="*/ 27190 w 54380"/>
                      <a:gd name="connsiteY9" fmla="*/ 37268 h 54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380" h="54380">
                        <a:moveTo>
                          <a:pt x="27190" y="0"/>
                        </a:moveTo>
                        <a:cubicBezTo>
                          <a:pt x="12169" y="0"/>
                          <a:pt x="0" y="12169"/>
                          <a:pt x="0" y="27190"/>
                        </a:cubicBezTo>
                        <a:cubicBezTo>
                          <a:pt x="0" y="42211"/>
                          <a:pt x="12169" y="54380"/>
                          <a:pt x="27190" y="54380"/>
                        </a:cubicBezTo>
                        <a:cubicBezTo>
                          <a:pt x="42211" y="54380"/>
                          <a:pt x="54380" y="42211"/>
                          <a:pt x="54380" y="27190"/>
                        </a:cubicBezTo>
                        <a:cubicBezTo>
                          <a:pt x="54380" y="12169"/>
                          <a:pt x="42211" y="0"/>
                          <a:pt x="27190" y="0"/>
                        </a:cubicBezTo>
                        <a:close/>
                        <a:moveTo>
                          <a:pt x="27190" y="37268"/>
                        </a:moveTo>
                        <a:cubicBezTo>
                          <a:pt x="21676" y="37268"/>
                          <a:pt x="17113" y="32704"/>
                          <a:pt x="17113" y="27190"/>
                        </a:cubicBezTo>
                        <a:cubicBezTo>
                          <a:pt x="17113" y="21676"/>
                          <a:pt x="21676" y="17113"/>
                          <a:pt x="27190" y="17113"/>
                        </a:cubicBezTo>
                        <a:cubicBezTo>
                          <a:pt x="32704" y="17113"/>
                          <a:pt x="37268" y="21676"/>
                          <a:pt x="37268" y="27190"/>
                        </a:cubicBezTo>
                        <a:cubicBezTo>
                          <a:pt x="37268" y="32704"/>
                          <a:pt x="32704" y="37268"/>
                          <a:pt x="27190" y="37268"/>
                        </a:cubicBezTo>
                        <a:close/>
                      </a:path>
                    </a:pathLst>
                  </a:custGeom>
                  <a:grpFill/>
                  <a:ln w="1878" cap="flat">
                    <a:noFill/>
                    <a:prstDash val="solid"/>
                    <a:miter/>
                  </a:ln>
                </p:spPr>
                <p:txBody>
                  <a:bodyPr rtlCol="0" anchor="ctr"/>
                  <a:lstStyle/>
                  <a:p>
                    <a:endParaRPr lang="en-GB" noProof="0" dirty="0"/>
                  </a:p>
                </p:txBody>
              </p:sp>
              <p:sp>
                <p:nvSpPr>
                  <p:cNvPr id="300" name="Freihandform: Form 299">
                    <a:extLst>
                      <a:ext uri="{FF2B5EF4-FFF2-40B4-BE49-F238E27FC236}">
                        <a16:creationId xmlns:a16="http://schemas.microsoft.com/office/drawing/2014/main" id="{D96FC71B-6B07-7905-6788-236CE2D26AC3}"/>
                      </a:ext>
                    </a:extLst>
                  </p:cNvPr>
                  <p:cNvSpPr/>
                  <p:nvPr/>
                </p:nvSpPr>
                <p:spPr>
                  <a:xfrm>
                    <a:off x="4611599" y="3513541"/>
                    <a:ext cx="54380" cy="54380"/>
                  </a:xfrm>
                  <a:custGeom>
                    <a:avLst/>
                    <a:gdLst>
                      <a:gd name="connsiteX0" fmla="*/ 27190 w 54380"/>
                      <a:gd name="connsiteY0" fmla="*/ 0 h 54380"/>
                      <a:gd name="connsiteX1" fmla="*/ 0 w 54380"/>
                      <a:gd name="connsiteY1" fmla="*/ 27190 h 54380"/>
                      <a:gd name="connsiteX2" fmla="*/ 27190 w 54380"/>
                      <a:gd name="connsiteY2" fmla="*/ 54380 h 54380"/>
                      <a:gd name="connsiteX3" fmla="*/ 54380 w 54380"/>
                      <a:gd name="connsiteY3" fmla="*/ 27190 h 54380"/>
                      <a:gd name="connsiteX4" fmla="*/ 27190 w 54380"/>
                      <a:gd name="connsiteY4" fmla="*/ 0 h 54380"/>
                      <a:gd name="connsiteX5" fmla="*/ 27190 w 54380"/>
                      <a:gd name="connsiteY5" fmla="*/ 37268 h 54380"/>
                      <a:gd name="connsiteX6" fmla="*/ 17113 w 54380"/>
                      <a:gd name="connsiteY6" fmla="*/ 27190 h 54380"/>
                      <a:gd name="connsiteX7" fmla="*/ 27190 w 54380"/>
                      <a:gd name="connsiteY7" fmla="*/ 17113 h 54380"/>
                      <a:gd name="connsiteX8" fmla="*/ 37268 w 54380"/>
                      <a:gd name="connsiteY8" fmla="*/ 27190 h 54380"/>
                      <a:gd name="connsiteX9" fmla="*/ 27190 w 54380"/>
                      <a:gd name="connsiteY9" fmla="*/ 37268 h 54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380" h="54380">
                        <a:moveTo>
                          <a:pt x="27190" y="0"/>
                        </a:moveTo>
                        <a:cubicBezTo>
                          <a:pt x="12169" y="0"/>
                          <a:pt x="0" y="12169"/>
                          <a:pt x="0" y="27190"/>
                        </a:cubicBezTo>
                        <a:cubicBezTo>
                          <a:pt x="0" y="42211"/>
                          <a:pt x="12169" y="54380"/>
                          <a:pt x="27190" y="54380"/>
                        </a:cubicBezTo>
                        <a:cubicBezTo>
                          <a:pt x="42211" y="54380"/>
                          <a:pt x="54380" y="42211"/>
                          <a:pt x="54380" y="27190"/>
                        </a:cubicBezTo>
                        <a:cubicBezTo>
                          <a:pt x="54380" y="12169"/>
                          <a:pt x="42211" y="0"/>
                          <a:pt x="27190" y="0"/>
                        </a:cubicBezTo>
                        <a:close/>
                        <a:moveTo>
                          <a:pt x="27190" y="37268"/>
                        </a:moveTo>
                        <a:cubicBezTo>
                          <a:pt x="21676" y="37268"/>
                          <a:pt x="17113" y="32704"/>
                          <a:pt x="17113" y="27190"/>
                        </a:cubicBezTo>
                        <a:cubicBezTo>
                          <a:pt x="17113" y="21676"/>
                          <a:pt x="21676" y="17113"/>
                          <a:pt x="27190" y="17113"/>
                        </a:cubicBezTo>
                        <a:cubicBezTo>
                          <a:pt x="32704" y="17113"/>
                          <a:pt x="37268" y="21676"/>
                          <a:pt x="37268" y="27190"/>
                        </a:cubicBezTo>
                        <a:cubicBezTo>
                          <a:pt x="37268" y="32704"/>
                          <a:pt x="32704" y="37268"/>
                          <a:pt x="27190" y="37268"/>
                        </a:cubicBezTo>
                        <a:close/>
                      </a:path>
                    </a:pathLst>
                  </a:custGeom>
                  <a:grpFill/>
                  <a:ln w="1878" cap="flat">
                    <a:noFill/>
                    <a:prstDash val="solid"/>
                    <a:miter/>
                  </a:ln>
                </p:spPr>
                <p:txBody>
                  <a:bodyPr rtlCol="0" anchor="ctr"/>
                  <a:lstStyle/>
                  <a:p>
                    <a:endParaRPr lang="en-GB" noProof="0" dirty="0"/>
                  </a:p>
                </p:txBody>
              </p:sp>
              <p:sp>
                <p:nvSpPr>
                  <p:cNvPr id="301" name="Freihandform: Form 300">
                    <a:extLst>
                      <a:ext uri="{FF2B5EF4-FFF2-40B4-BE49-F238E27FC236}">
                        <a16:creationId xmlns:a16="http://schemas.microsoft.com/office/drawing/2014/main" id="{CA705547-4F59-F686-49BA-6CB59F0BC1E0}"/>
                      </a:ext>
                    </a:extLst>
                  </p:cNvPr>
                  <p:cNvSpPr/>
                  <p:nvPr/>
                </p:nvSpPr>
                <p:spPr>
                  <a:xfrm>
                    <a:off x="4531740" y="3324541"/>
                    <a:ext cx="434471" cy="274563"/>
                  </a:xfrm>
                  <a:custGeom>
                    <a:avLst/>
                    <a:gdLst>
                      <a:gd name="connsiteX0" fmla="*/ 428197 w 434471"/>
                      <a:gd name="connsiteY0" fmla="*/ 176070 h 274563"/>
                      <a:gd name="connsiteX1" fmla="*/ 428387 w 434471"/>
                      <a:gd name="connsiteY1" fmla="*/ 175500 h 274563"/>
                      <a:gd name="connsiteX2" fmla="*/ 428387 w 434471"/>
                      <a:gd name="connsiteY2" fmla="*/ 104577 h 274563"/>
                      <a:gd name="connsiteX3" fmla="*/ 427246 w 434471"/>
                      <a:gd name="connsiteY3" fmla="*/ 100394 h 274563"/>
                      <a:gd name="connsiteX4" fmla="*/ 378380 w 434471"/>
                      <a:gd name="connsiteY4" fmla="*/ 11979 h 274563"/>
                      <a:gd name="connsiteX5" fmla="*/ 375718 w 434471"/>
                      <a:gd name="connsiteY5" fmla="*/ 8937 h 274563"/>
                      <a:gd name="connsiteX6" fmla="*/ 364120 w 434471"/>
                      <a:gd name="connsiteY6" fmla="*/ 1331 h 274563"/>
                      <a:gd name="connsiteX7" fmla="*/ 359366 w 434471"/>
                      <a:gd name="connsiteY7" fmla="*/ 0 h 274563"/>
                      <a:gd name="connsiteX8" fmla="*/ 359366 w 434471"/>
                      <a:gd name="connsiteY8" fmla="*/ 0 h 274563"/>
                      <a:gd name="connsiteX9" fmla="*/ 291866 w 434471"/>
                      <a:gd name="connsiteY9" fmla="*/ 0 h 274563"/>
                      <a:gd name="connsiteX10" fmla="*/ 283310 w 434471"/>
                      <a:gd name="connsiteY10" fmla="*/ 8366 h 274563"/>
                      <a:gd name="connsiteX11" fmla="*/ 282359 w 434471"/>
                      <a:gd name="connsiteY11" fmla="*/ 170746 h 274563"/>
                      <a:gd name="connsiteX12" fmla="*/ 144317 w 434471"/>
                      <a:gd name="connsiteY12" fmla="*/ 170746 h 274563"/>
                      <a:gd name="connsiteX13" fmla="*/ 107049 w 434471"/>
                      <a:gd name="connsiteY13" fmla="*/ 157246 h 274563"/>
                      <a:gd name="connsiteX14" fmla="*/ 69782 w 434471"/>
                      <a:gd name="connsiteY14" fmla="*/ 170746 h 274563"/>
                      <a:gd name="connsiteX15" fmla="*/ 12930 w 434471"/>
                      <a:gd name="connsiteY15" fmla="*/ 170746 h 274563"/>
                      <a:gd name="connsiteX16" fmla="*/ 0 w 434471"/>
                      <a:gd name="connsiteY16" fmla="*/ 185958 h 274563"/>
                      <a:gd name="connsiteX17" fmla="*/ 0 w 434471"/>
                      <a:gd name="connsiteY17" fmla="*/ 209155 h 274563"/>
                      <a:gd name="connsiteX18" fmla="*/ 12930 w 434471"/>
                      <a:gd name="connsiteY18" fmla="*/ 224366 h 274563"/>
                      <a:gd name="connsiteX19" fmla="*/ 49056 w 434471"/>
                      <a:gd name="connsiteY19" fmla="*/ 224366 h 274563"/>
                      <a:gd name="connsiteX20" fmla="*/ 107049 w 434471"/>
                      <a:gd name="connsiteY20" fmla="*/ 274563 h 274563"/>
                      <a:gd name="connsiteX21" fmla="*/ 165042 w 434471"/>
                      <a:gd name="connsiteY21" fmla="*/ 224366 h 274563"/>
                      <a:gd name="connsiteX22" fmla="*/ 273613 w 434471"/>
                      <a:gd name="connsiteY22" fmla="*/ 224366 h 274563"/>
                      <a:gd name="connsiteX23" fmla="*/ 331606 w 434471"/>
                      <a:gd name="connsiteY23" fmla="*/ 274563 h 274563"/>
                      <a:gd name="connsiteX24" fmla="*/ 389599 w 434471"/>
                      <a:gd name="connsiteY24" fmla="*/ 223986 h 274563"/>
                      <a:gd name="connsiteX25" fmla="*/ 392261 w 434471"/>
                      <a:gd name="connsiteY25" fmla="*/ 224556 h 274563"/>
                      <a:gd name="connsiteX26" fmla="*/ 427627 w 434471"/>
                      <a:gd name="connsiteY26" fmla="*/ 224556 h 274563"/>
                      <a:gd name="connsiteX27" fmla="*/ 434472 w 434471"/>
                      <a:gd name="connsiteY27" fmla="*/ 217711 h 274563"/>
                      <a:gd name="connsiteX28" fmla="*/ 434472 w 434471"/>
                      <a:gd name="connsiteY28" fmla="*/ 182725 h 274563"/>
                      <a:gd name="connsiteX29" fmla="*/ 428197 w 434471"/>
                      <a:gd name="connsiteY29" fmla="*/ 176070 h 274563"/>
                      <a:gd name="connsiteX30" fmla="*/ 49056 w 434471"/>
                      <a:gd name="connsiteY30" fmla="*/ 207634 h 274563"/>
                      <a:gd name="connsiteX31" fmla="*/ 16923 w 434471"/>
                      <a:gd name="connsiteY31" fmla="*/ 207634 h 274563"/>
                      <a:gd name="connsiteX32" fmla="*/ 16923 w 434471"/>
                      <a:gd name="connsiteY32" fmla="*/ 187859 h 274563"/>
                      <a:gd name="connsiteX33" fmla="*/ 55711 w 434471"/>
                      <a:gd name="connsiteY33" fmla="*/ 187859 h 274563"/>
                      <a:gd name="connsiteX34" fmla="*/ 49056 w 434471"/>
                      <a:gd name="connsiteY34" fmla="*/ 207634 h 274563"/>
                      <a:gd name="connsiteX35" fmla="*/ 107049 w 434471"/>
                      <a:gd name="connsiteY35" fmla="*/ 257641 h 274563"/>
                      <a:gd name="connsiteX36" fmla="*/ 65408 w 434471"/>
                      <a:gd name="connsiteY36" fmla="*/ 216000 h 274563"/>
                      <a:gd name="connsiteX37" fmla="*/ 107049 w 434471"/>
                      <a:gd name="connsiteY37" fmla="*/ 174359 h 274563"/>
                      <a:gd name="connsiteX38" fmla="*/ 148690 w 434471"/>
                      <a:gd name="connsiteY38" fmla="*/ 216000 h 274563"/>
                      <a:gd name="connsiteX39" fmla="*/ 107049 w 434471"/>
                      <a:gd name="connsiteY39" fmla="*/ 257641 h 274563"/>
                      <a:gd name="connsiteX40" fmla="*/ 273423 w 434471"/>
                      <a:gd name="connsiteY40" fmla="*/ 207634 h 274563"/>
                      <a:gd name="connsiteX41" fmla="*/ 164852 w 434471"/>
                      <a:gd name="connsiteY41" fmla="*/ 207634 h 274563"/>
                      <a:gd name="connsiteX42" fmla="*/ 158197 w 434471"/>
                      <a:gd name="connsiteY42" fmla="*/ 187859 h 274563"/>
                      <a:gd name="connsiteX43" fmla="*/ 279887 w 434471"/>
                      <a:gd name="connsiteY43" fmla="*/ 187859 h 274563"/>
                      <a:gd name="connsiteX44" fmla="*/ 273423 w 434471"/>
                      <a:gd name="connsiteY44" fmla="*/ 207634 h 274563"/>
                      <a:gd name="connsiteX45" fmla="*/ 300232 w 434471"/>
                      <a:gd name="connsiteY45" fmla="*/ 17113 h 274563"/>
                      <a:gd name="connsiteX46" fmla="*/ 356894 w 434471"/>
                      <a:gd name="connsiteY46" fmla="*/ 17113 h 274563"/>
                      <a:gd name="connsiteX47" fmla="*/ 364500 w 434471"/>
                      <a:gd name="connsiteY47" fmla="*/ 22246 h 274563"/>
                      <a:gd name="connsiteX48" fmla="*/ 370775 w 434471"/>
                      <a:gd name="connsiteY48" fmla="*/ 33465 h 274563"/>
                      <a:gd name="connsiteX49" fmla="*/ 300042 w 434471"/>
                      <a:gd name="connsiteY49" fmla="*/ 33465 h 274563"/>
                      <a:gd name="connsiteX50" fmla="*/ 300232 w 434471"/>
                      <a:gd name="connsiteY50" fmla="*/ 17113 h 274563"/>
                      <a:gd name="connsiteX51" fmla="*/ 299852 w 434471"/>
                      <a:gd name="connsiteY51" fmla="*/ 50197 h 274563"/>
                      <a:gd name="connsiteX52" fmla="*/ 380092 w 434471"/>
                      <a:gd name="connsiteY52" fmla="*/ 50197 h 274563"/>
                      <a:gd name="connsiteX53" fmla="*/ 411275 w 434471"/>
                      <a:gd name="connsiteY53" fmla="*/ 106859 h 274563"/>
                      <a:gd name="connsiteX54" fmla="*/ 411275 w 434471"/>
                      <a:gd name="connsiteY54" fmla="*/ 123021 h 274563"/>
                      <a:gd name="connsiteX55" fmla="*/ 392831 w 434471"/>
                      <a:gd name="connsiteY55" fmla="*/ 123021 h 274563"/>
                      <a:gd name="connsiteX56" fmla="*/ 387507 w 434471"/>
                      <a:gd name="connsiteY56" fmla="*/ 120739 h 274563"/>
                      <a:gd name="connsiteX57" fmla="*/ 371916 w 434471"/>
                      <a:gd name="connsiteY57" fmla="*/ 104577 h 274563"/>
                      <a:gd name="connsiteX58" fmla="*/ 354423 w 434471"/>
                      <a:gd name="connsiteY58" fmla="*/ 97162 h 274563"/>
                      <a:gd name="connsiteX59" fmla="*/ 299472 w 434471"/>
                      <a:gd name="connsiteY59" fmla="*/ 97162 h 274563"/>
                      <a:gd name="connsiteX60" fmla="*/ 299852 w 434471"/>
                      <a:gd name="connsiteY60" fmla="*/ 50197 h 274563"/>
                      <a:gd name="connsiteX61" fmla="*/ 331415 w 434471"/>
                      <a:gd name="connsiteY61" fmla="*/ 257641 h 274563"/>
                      <a:gd name="connsiteX62" fmla="*/ 289775 w 434471"/>
                      <a:gd name="connsiteY62" fmla="*/ 216000 h 274563"/>
                      <a:gd name="connsiteX63" fmla="*/ 331415 w 434471"/>
                      <a:gd name="connsiteY63" fmla="*/ 174359 h 274563"/>
                      <a:gd name="connsiteX64" fmla="*/ 373056 w 434471"/>
                      <a:gd name="connsiteY64" fmla="*/ 216000 h 274563"/>
                      <a:gd name="connsiteX65" fmla="*/ 331415 w 434471"/>
                      <a:gd name="connsiteY65" fmla="*/ 257641 h 274563"/>
                      <a:gd name="connsiteX66" fmla="*/ 385225 w 434471"/>
                      <a:gd name="connsiteY66" fmla="*/ 182725 h 274563"/>
                      <a:gd name="connsiteX67" fmla="*/ 385225 w 434471"/>
                      <a:gd name="connsiteY67" fmla="*/ 192803 h 274563"/>
                      <a:gd name="connsiteX68" fmla="*/ 331415 w 434471"/>
                      <a:gd name="connsiteY68" fmla="*/ 157437 h 274563"/>
                      <a:gd name="connsiteX69" fmla="*/ 299282 w 434471"/>
                      <a:gd name="connsiteY69" fmla="*/ 167134 h 274563"/>
                      <a:gd name="connsiteX70" fmla="*/ 299472 w 434471"/>
                      <a:gd name="connsiteY70" fmla="*/ 114085 h 274563"/>
                      <a:gd name="connsiteX71" fmla="*/ 354423 w 434471"/>
                      <a:gd name="connsiteY71" fmla="*/ 114085 h 274563"/>
                      <a:gd name="connsiteX72" fmla="*/ 359937 w 434471"/>
                      <a:gd name="connsiteY72" fmla="*/ 116366 h 274563"/>
                      <a:gd name="connsiteX73" fmla="*/ 375528 w 434471"/>
                      <a:gd name="connsiteY73" fmla="*/ 132528 h 274563"/>
                      <a:gd name="connsiteX74" fmla="*/ 393021 w 434471"/>
                      <a:gd name="connsiteY74" fmla="*/ 139944 h 274563"/>
                      <a:gd name="connsiteX75" fmla="*/ 411465 w 434471"/>
                      <a:gd name="connsiteY75" fmla="*/ 139944 h 274563"/>
                      <a:gd name="connsiteX76" fmla="*/ 411465 w 434471"/>
                      <a:gd name="connsiteY76" fmla="*/ 175500 h 274563"/>
                      <a:gd name="connsiteX77" fmla="*/ 411465 w 434471"/>
                      <a:gd name="connsiteY77" fmla="*/ 175880 h 274563"/>
                      <a:gd name="connsiteX78" fmla="*/ 392070 w 434471"/>
                      <a:gd name="connsiteY78" fmla="*/ 175880 h 274563"/>
                      <a:gd name="connsiteX79" fmla="*/ 385225 w 434471"/>
                      <a:gd name="connsiteY79" fmla="*/ 182725 h 274563"/>
                      <a:gd name="connsiteX80" fmla="*/ 420592 w 434471"/>
                      <a:gd name="connsiteY80" fmla="*/ 211056 h 274563"/>
                      <a:gd name="connsiteX81" fmla="*/ 398725 w 434471"/>
                      <a:gd name="connsiteY81" fmla="*/ 211056 h 274563"/>
                      <a:gd name="connsiteX82" fmla="*/ 398725 w 434471"/>
                      <a:gd name="connsiteY82" fmla="*/ 189570 h 274563"/>
                      <a:gd name="connsiteX83" fmla="*/ 420592 w 434471"/>
                      <a:gd name="connsiteY83" fmla="*/ 189570 h 274563"/>
                      <a:gd name="connsiteX84" fmla="*/ 420592 w 434471"/>
                      <a:gd name="connsiteY84" fmla="*/ 211056 h 274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434471" h="274563">
                        <a:moveTo>
                          <a:pt x="428197" y="176070"/>
                        </a:moveTo>
                        <a:cubicBezTo>
                          <a:pt x="428197" y="175880"/>
                          <a:pt x="428387" y="175690"/>
                          <a:pt x="428387" y="175500"/>
                        </a:cubicBezTo>
                        <a:lnTo>
                          <a:pt x="428387" y="104577"/>
                        </a:lnTo>
                        <a:cubicBezTo>
                          <a:pt x="428387" y="103056"/>
                          <a:pt x="428007" y="101725"/>
                          <a:pt x="427246" y="100394"/>
                        </a:cubicBezTo>
                        <a:lnTo>
                          <a:pt x="378380" y="11979"/>
                        </a:lnTo>
                        <a:cubicBezTo>
                          <a:pt x="377810" y="10838"/>
                          <a:pt x="376859" y="9697"/>
                          <a:pt x="375718" y="8937"/>
                        </a:cubicBezTo>
                        <a:lnTo>
                          <a:pt x="364120" y="1331"/>
                        </a:lnTo>
                        <a:cubicBezTo>
                          <a:pt x="362789" y="380"/>
                          <a:pt x="361077" y="0"/>
                          <a:pt x="359366" y="0"/>
                        </a:cubicBezTo>
                        <a:lnTo>
                          <a:pt x="359366" y="0"/>
                        </a:lnTo>
                        <a:lnTo>
                          <a:pt x="291866" y="0"/>
                        </a:lnTo>
                        <a:cubicBezTo>
                          <a:pt x="287303" y="0"/>
                          <a:pt x="283500" y="3803"/>
                          <a:pt x="283310" y="8366"/>
                        </a:cubicBezTo>
                        <a:cubicBezTo>
                          <a:pt x="281979" y="123401"/>
                          <a:pt x="282169" y="159148"/>
                          <a:pt x="282359" y="170746"/>
                        </a:cubicBezTo>
                        <a:lnTo>
                          <a:pt x="144317" y="170746"/>
                        </a:lnTo>
                        <a:cubicBezTo>
                          <a:pt x="134239" y="162380"/>
                          <a:pt x="121120" y="157246"/>
                          <a:pt x="107049" y="157246"/>
                        </a:cubicBezTo>
                        <a:cubicBezTo>
                          <a:pt x="92979" y="157246"/>
                          <a:pt x="79859" y="162380"/>
                          <a:pt x="69782" y="170746"/>
                        </a:cubicBezTo>
                        <a:lnTo>
                          <a:pt x="12930" y="170746"/>
                        </a:lnTo>
                        <a:cubicBezTo>
                          <a:pt x="4373" y="170746"/>
                          <a:pt x="0" y="178352"/>
                          <a:pt x="0" y="185958"/>
                        </a:cubicBezTo>
                        <a:lnTo>
                          <a:pt x="0" y="209155"/>
                        </a:lnTo>
                        <a:cubicBezTo>
                          <a:pt x="0" y="220183"/>
                          <a:pt x="7986" y="224366"/>
                          <a:pt x="12930" y="224366"/>
                        </a:cubicBezTo>
                        <a:lnTo>
                          <a:pt x="49056" y="224366"/>
                        </a:lnTo>
                        <a:cubicBezTo>
                          <a:pt x="53239" y="252697"/>
                          <a:pt x="77577" y="274563"/>
                          <a:pt x="107049" y="274563"/>
                        </a:cubicBezTo>
                        <a:cubicBezTo>
                          <a:pt x="136521" y="274563"/>
                          <a:pt x="160859" y="252697"/>
                          <a:pt x="165042" y="224366"/>
                        </a:cubicBezTo>
                        <a:lnTo>
                          <a:pt x="273613" y="224366"/>
                        </a:lnTo>
                        <a:cubicBezTo>
                          <a:pt x="277796" y="252697"/>
                          <a:pt x="302134" y="274563"/>
                          <a:pt x="331606" y="274563"/>
                        </a:cubicBezTo>
                        <a:cubicBezTo>
                          <a:pt x="361268" y="274563"/>
                          <a:pt x="385796" y="252507"/>
                          <a:pt x="389599" y="223986"/>
                        </a:cubicBezTo>
                        <a:cubicBezTo>
                          <a:pt x="390359" y="224366"/>
                          <a:pt x="391310" y="224556"/>
                          <a:pt x="392261" y="224556"/>
                        </a:cubicBezTo>
                        <a:lnTo>
                          <a:pt x="427627" y="224556"/>
                        </a:lnTo>
                        <a:cubicBezTo>
                          <a:pt x="431430" y="224556"/>
                          <a:pt x="434472" y="221514"/>
                          <a:pt x="434472" y="217711"/>
                        </a:cubicBezTo>
                        <a:lnTo>
                          <a:pt x="434472" y="182725"/>
                        </a:lnTo>
                        <a:cubicBezTo>
                          <a:pt x="434282" y="179303"/>
                          <a:pt x="431620" y="176451"/>
                          <a:pt x="428197" y="176070"/>
                        </a:cubicBezTo>
                        <a:close/>
                        <a:moveTo>
                          <a:pt x="49056" y="207634"/>
                        </a:moveTo>
                        <a:lnTo>
                          <a:pt x="16923" y="207634"/>
                        </a:lnTo>
                        <a:lnTo>
                          <a:pt x="16923" y="187859"/>
                        </a:lnTo>
                        <a:lnTo>
                          <a:pt x="55711" y="187859"/>
                        </a:lnTo>
                        <a:cubicBezTo>
                          <a:pt x="52289" y="193754"/>
                          <a:pt x="50197" y="200599"/>
                          <a:pt x="49056" y="207634"/>
                        </a:cubicBezTo>
                        <a:close/>
                        <a:moveTo>
                          <a:pt x="107049" y="257641"/>
                        </a:moveTo>
                        <a:cubicBezTo>
                          <a:pt x="84042" y="257641"/>
                          <a:pt x="65408" y="239007"/>
                          <a:pt x="65408" y="216000"/>
                        </a:cubicBezTo>
                        <a:cubicBezTo>
                          <a:pt x="65408" y="192993"/>
                          <a:pt x="84042" y="174359"/>
                          <a:pt x="107049" y="174359"/>
                        </a:cubicBezTo>
                        <a:cubicBezTo>
                          <a:pt x="130056" y="174359"/>
                          <a:pt x="148690" y="192993"/>
                          <a:pt x="148690" y="216000"/>
                        </a:cubicBezTo>
                        <a:cubicBezTo>
                          <a:pt x="148690" y="239007"/>
                          <a:pt x="130056" y="257641"/>
                          <a:pt x="107049" y="257641"/>
                        </a:cubicBezTo>
                        <a:close/>
                        <a:moveTo>
                          <a:pt x="273423" y="207634"/>
                        </a:moveTo>
                        <a:lnTo>
                          <a:pt x="164852" y="207634"/>
                        </a:lnTo>
                        <a:cubicBezTo>
                          <a:pt x="163901" y="200599"/>
                          <a:pt x="161620" y="193944"/>
                          <a:pt x="158197" y="187859"/>
                        </a:cubicBezTo>
                        <a:lnTo>
                          <a:pt x="279887" y="187859"/>
                        </a:lnTo>
                        <a:cubicBezTo>
                          <a:pt x="276655" y="193754"/>
                          <a:pt x="274563" y="200599"/>
                          <a:pt x="273423" y="207634"/>
                        </a:cubicBezTo>
                        <a:close/>
                        <a:moveTo>
                          <a:pt x="300232" y="17113"/>
                        </a:moveTo>
                        <a:lnTo>
                          <a:pt x="356894" y="17113"/>
                        </a:lnTo>
                        <a:lnTo>
                          <a:pt x="364500" y="22246"/>
                        </a:lnTo>
                        <a:lnTo>
                          <a:pt x="370775" y="33465"/>
                        </a:lnTo>
                        <a:lnTo>
                          <a:pt x="300042" y="33465"/>
                        </a:lnTo>
                        <a:cubicBezTo>
                          <a:pt x="300042" y="27761"/>
                          <a:pt x="300232" y="22246"/>
                          <a:pt x="300232" y="17113"/>
                        </a:cubicBezTo>
                        <a:close/>
                        <a:moveTo>
                          <a:pt x="299852" y="50197"/>
                        </a:moveTo>
                        <a:lnTo>
                          <a:pt x="380092" y="50197"/>
                        </a:lnTo>
                        <a:lnTo>
                          <a:pt x="411275" y="106859"/>
                        </a:lnTo>
                        <a:lnTo>
                          <a:pt x="411275" y="123021"/>
                        </a:lnTo>
                        <a:lnTo>
                          <a:pt x="392831" y="123021"/>
                        </a:lnTo>
                        <a:cubicBezTo>
                          <a:pt x="389979" y="123021"/>
                          <a:pt x="387507" y="120739"/>
                          <a:pt x="387507" y="120739"/>
                        </a:cubicBezTo>
                        <a:lnTo>
                          <a:pt x="371916" y="104577"/>
                        </a:lnTo>
                        <a:cubicBezTo>
                          <a:pt x="364880" y="97352"/>
                          <a:pt x="355373" y="97162"/>
                          <a:pt x="354423" y="97162"/>
                        </a:cubicBezTo>
                        <a:lnTo>
                          <a:pt x="299472" y="97162"/>
                        </a:lnTo>
                        <a:cubicBezTo>
                          <a:pt x="299662" y="81951"/>
                          <a:pt x="299662" y="65979"/>
                          <a:pt x="299852" y="50197"/>
                        </a:cubicBezTo>
                        <a:close/>
                        <a:moveTo>
                          <a:pt x="331415" y="257641"/>
                        </a:moveTo>
                        <a:cubicBezTo>
                          <a:pt x="308408" y="257641"/>
                          <a:pt x="289775" y="239007"/>
                          <a:pt x="289775" y="216000"/>
                        </a:cubicBezTo>
                        <a:cubicBezTo>
                          <a:pt x="289775" y="192993"/>
                          <a:pt x="308408" y="174359"/>
                          <a:pt x="331415" y="174359"/>
                        </a:cubicBezTo>
                        <a:cubicBezTo>
                          <a:pt x="354423" y="174359"/>
                          <a:pt x="373056" y="192993"/>
                          <a:pt x="373056" y="216000"/>
                        </a:cubicBezTo>
                        <a:cubicBezTo>
                          <a:pt x="373056" y="239007"/>
                          <a:pt x="354423" y="257641"/>
                          <a:pt x="331415" y="257641"/>
                        </a:cubicBezTo>
                        <a:close/>
                        <a:moveTo>
                          <a:pt x="385225" y="182725"/>
                        </a:moveTo>
                        <a:lnTo>
                          <a:pt x="385225" y="192803"/>
                        </a:lnTo>
                        <a:cubicBezTo>
                          <a:pt x="376289" y="172077"/>
                          <a:pt x="355563" y="157437"/>
                          <a:pt x="331415" y="157437"/>
                        </a:cubicBezTo>
                        <a:cubicBezTo>
                          <a:pt x="319437" y="157437"/>
                          <a:pt x="308408" y="161049"/>
                          <a:pt x="299282" y="167134"/>
                        </a:cubicBezTo>
                        <a:cubicBezTo>
                          <a:pt x="299282" y="157246"/>
                          <a:pt x="299282" y="137662"/>
                          <a:pt x="299472" y="114085"/>
                        </a:cubicBezTo>
                        <a:lnTo>
                          <a:pt x="354423" y="114085"/>
                        </a:lnTo>
                        <a:cubicBezTo>
                          <a:pt x="354423" y="114085"/>
                          <a:pt x="357845" y="114275"/>
                          <a:pt x="359937" y="116366"/>
                        </a:cubicBezTo>
                        <a:lnTo>
                          <a:pt x="375528" y="132528"/>
                        </a:lnTo>
                        <a:cubicBezTo>
                          <a:pt x="376289" y="133289"/>
                          <a:pt x="382944" y="139944"/>
                          <a:pt x="393021" y="139944"/>
                        </a:cubicBezTo>
                        <a:lnTo>
                          <a:pt x="411465" y="139944"/>
                        </a:lnTo>
                        <a:lnTo>
                          <a:pt x="411465" y="175500"/>
                        </a:lnTo>
                        <a:cubicBezTo>
                          <a:pt x="411465" y="175690"/>
                          <a:pt x="411465" y="175690"/>
                          <a:pt x="411465" y="175880"/>
                        </a:cubicBezTo>
                        <a:lnTo>
                          <a:pt x="392070" y="175880"/>
                        </a:lnTo>
                        <a:cubicBezTo>
                          <a:pt x="388268" y="175880"/>
                          <a:pt x="385225" y="178923"/>
                          <a:pt x="385225" y="182725"/>
                        </a:cubicBezTo>
                        <a:close/>
                        <a:moveTo>
                          <a:pt x="420592" y="211056"/>
                        </a:moveTo>
                        <a:lnTo>
                          <a:pt x="398725" y="211056"/>
                        </a:lnTo>
                        <a:lnTo>
                          <a:pt x="398725" y="189570"/>
                        </a:lnTo>
                        <a:lnTo>
                          <a:pt x="420592" y="189570"/>
                        </a:lnTo>
                        <a:lnTo>
                          <a:pt x="420592" y="211056"/>
                        </a:lnTo>
                        <a:close/>
                      </a:path>
                    </a:pathLst>
                  </a:custGeom>
                  <a:grpFill/>
                  <a:ln w="1878" cap="flat">
                    <a:noFill/>
                    <a:prstDash val="solid"/>
                    <a:miter/>
                  </a:ln>
                </p:spPr>
                <p:txBody>
                  <a:bodyPr rtlCol="0" anchor="ctr"/>
                  <a:lstStyle/>
                  <a:p>
                    <a:endParaRPr lang="en-GB" noProof="0" dirty="0"/>
                  </a:p>
                </p:txBody>
              </p:sp>
            </p:grpSp>
          </p:grpSp>
        </p:grpSp>
      </p:grpSp>
      <p:sp>
        <p:nvSpPr>
          <p:cNvPr id="119" name="Text Box 50">
            <a:extLst>
              <a:ext uri="{FF2B5EF4-FFF2-40B4-BE49-F238E27FC236}">
                <a16:creationId xmlns:a16="http://schemas.microsoft.com/office/drawing/2014/main" id="{0CF1BDCC-C726-5A62-D1B8-BCDB839FCE2D}"/>
              </a:ext>
            </a:extLst>
          </p:cNvPr>
          <p:cNvSpPr txBox="1">
            <a:spLocks noChangeArrowheads="1"/>
          </p:cNvSpPr>
          <p:nvPr/>
        </p:nvSpPr>
        <p:spPr bwMode="auto">
          <a:xfrm>
            <a:off x="3674542" y="2108032"/>
            <a:ext cx="658118" cy="269688"/>
          </a:xfrm>
          <a:prstGeom prst="rect">
            <a:avLst/>
          </a:prstGeom>
          <a:noFill/>
          <a:ln w="12700">
            <a:noFill/>
            <a:miter lim="800000"/>
            <a:headEnd/>
            <a:tailEnd/>
          </a:ln>
        </p:spPr>
        <p:txBody>
          <a:bodyPr wrap="square" lIns="62308" tIns="29908" rIns="62308" bIns="29908">
            <a:spAutoFit/>
          </a:bodyPr>
          <a:lstStyle/>
          <a:p>
            <a:pPr algn="ctr">
              <a:spcBef>
                <a:spcPct val="50000"/>
              </a:spcBef>
            </a:pPr>
            <a:r>
              <a:rPr kumimoji="1" lang="en-GB" sz="680" i="1" noProof="0" dirty="0">
                <a:solidFill>
                  <a:srgbClr val="41474C"/>
                </a:solidFill>
                <a:latin typeface="Calibri" panose="020F0502020204030204" pitchFamily="34" charset="0"/>
                <a:cs typeface="Arial" charset="0"/>
              </a:rPr>
              <a:t>Regional</a:t>
            </a:r>
            <a:br>
              <a:rPr kumimoji="1" lang="en-GB" sz="680" i="1" noProof="0" dirty="0">
                <a:solidFill>
                  <a:srgbClr val="41474C"/>
                </a:solidFill>
                <a:latin typeface="Calibri" panose="020F0502020204030204" pitchFamily="34" charset="0"/>
                <a:cs typeface="Arial" charset="0"/>
              </a:rPr>
            </a:br>
            <a:r>
              <a:rPr kumimoji="1" lang="en-GB" sz="680" i="1" noProof="0" dirty="0">
                <a:solidFill>
                  <a:srgbClr val="41474C"/>
                </a:solidFill>
                <a:latin typeface="Calibri" panose="020F0502020204030204" pitchFamily="34" charset="0"/>
                <a:cs typeface="Arial" charset="0"/>
              </a:rPr>
              <a:t>transfer center</a:t>
            </a:r>
          </a:p>
        </p:txBody>
      </p:sp>
      <p:sp>
        <p:nvSpPr>
          <p:cNvPr id="6" name="Rechteck 5">
            <a:extLst>
              <a:ext uri="{FF2B5EF4-FFF2-40B4-BE49-F238E27FC236}">
                <a16:creationId xmlns:a16="http://schemas.microsoft.com/office/drawing/2014/main" id="{B3141885-E303-E0F1-D607-50BEA8EC9517}"/>
              </a:ext>
            </a:extLst>
          </p:cNvPr>
          <p:cNvSpPr/>
          <p:nvPr/>
        </p:nvSpPr>
        <p:spPr>
          <a:xfrm>
            <a:off x="4961113" y="1994081"/>
            <a:ext cx="396000" cy="2603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grpSp>
        <p:nvGrpSpPr>
          <p:cNvPr id="303" name="Grafik 42">
            <a:extLst>
              <a:ext uri="{FF2B5EF4-FFF2-40B4-BE49-F238E27FC236}">
                <a16:creationId xmlns:a16="http://schemas.microsoft.com/office/drawing/2014/main" id="{551A50B7-3FDC-3AB2-D9E2-C314DF55936D}"/>
              </a:ext>
            </a:extLst>
          </p:cNvPr>
          <p:cNvGrpSpPr>
            <a:grpSpLocks noChangeAspect="1"/>
          </p:cNvGrpSpPr>
          <p:nvPr/>
        </p:nvGrpSpPr>
        <p:grpSpPr>
          <a:xfrm>
            <a:off x="4979573" y="1861813"/>
            <a:ext cx="360000" cy="360000"/>
            <a:chOff x="1890251" y="3930400"/>
            <a:chExt cx="540000" cy="540000"/>
          </a:xfrm>
          <a:solidFill>
            <a:schemeClr val="accent1"/>
          </a:solidFill>
        </p:grpSpPr>
        <p:grpSp>
          <p:nvGrpSpPr>
            <p:cNvPr id="304" name="Grafik 42">
              <a:extLst>
                <a:ext uri="{FF2B5EF4-FFF2-40B4-BE49-F238E27FC236}">
                  <a16:creationId xmlns:a16="http://schemas.microsoft.com/office/drawing/2014/main" id="{E9C192CD-417D-E71D-144A-E466DBF36A20}"/>
                </a:ext>
              </a:extLst>
            </p:cNvPr>
            <p:cNvGrpSpPr/>
            <p:nvPr/>
          </p:nvGrpSpPr>
          <p:grpSpPr>
            <a:xfrm>
              <a:off x="1890251" y="3930400"/>
              <a:ext cx="539429" cy="538859"/>
              <a:chOff x="1890251" y="3930400"/>
              <a:chExt cx="539429" cy="538859"/>
            </a:xfrm>
            <a:grpFill/>
          </p:grpSpPr>
          <p:grpSp>
            <p:nvGrpSpPr>
              <p:cNvPr id="305" name="Grafik 42">
                <a:extLst>
                  <a:ext uri="{FF2B5EF4-FFF2-40B4-BE49-F238E27FC236}">
                    <a16:creationId xmlns:a16="http://schemas.microsoft.com/office/drawing/2014/main" id="{9F46A725-9761-ACF7-FCE1-D754CFFE399C}"/>
                  </a:ext>
                </a:extLst>
              </p:cNvPr>
              <p:cNvGrpSpPr/>
              <p:nvPr/>
            </p:nvGrpSpPr>
            <p:grpSpPr>
              <a:xfrm>
                <a:off x="1890251" y="4151914"/>
                <a:ext cx="539429" cy="317345"/>
                <a:chOff x="1890251" y="4151914"/>
                <a:chExt cx="539429" cy="317345"/>
              </a:xfrm>
              <a:grpFill/>
            </p:grpSpPr>
            <p:sp>
              <p:nvSpPr>
                <p:cNvPr id="306" name="Freihandform: Form 305">
                  <a:extLst>
                    <a:ext uri="{FF2B5EF4-FFF2-40B4-BE49-F238E27FC236}">
                      <a16:creationId xmlns:a16="http://schemas.microsoft.com/office/drawing/2014/main" id="{1484421A-2858-C573-AD20-F58881FE9CE4}"/>
                    </a:ext>
                  </a:extLst>
                </p:cNvPr>
                <p:cNvSpPr/>
                <p:nvPr/>
              </p:nvSpPr>
              <p:spPr>
                <a:xfrm>
                  <a:off x="2014032" y="4381984"/>
                  <a:ext cx="52098" cy="52098"/>
                </a:xfrm>
                <a:custGeom>
                  <a:avLst/>
                  <a:gdLst>
                    <a:gd name="connsiteX0" fmla="*/ 26049 w 52098"/>
                    <a:gd name="connsiteY0" fmla="*/ 0 h 52098"/>
                    <a:gd name="connsiteX1" fmla="*/ 0 w 52098"/>
                    <a:gd name="connsiteY1" fmla="*/ 26049 h 52098"/>
                    <a:gd name="connsiteX2" fmla="*/ 26049 w 52098"/>
                    <a:gd name="connsiteY2" fmla="*/ 52099 h 52098"/>
                    <a:gd name="connsiteX3" fmla="*/ 52099 w 52098"/>
                    <a:gd name="connsiteY3" fmla="*/ 26049 h 52098"/>
                    <a:gd name="connsiteX4" fmla="*/ 26049 w 52098"/>
                    <a:gd name="connsiteY4" fmla="*/ 0 h 52098"/>
                    <a:gd name="connsiteX5" fmla="*/ 26049 w 52098"/>
                    <a:gd name="connsiteY5" fmla="*/ 35366 h 52098"/>
                    <a:gd name="connsiteX6" fmla="*/ 16732 w 52098"/>
                    <a:gd name="connsiteY6" fmla="*/ 26049 h 52098"/>
                    <a:gd name="connsiteX7" fmla="*/ 26049 w 52098"/>
                    <a:gd name="connsiteY7" fmla="*/ 16732 h 52098"/>
                    <a:gd name="connsiteX8" fmla="*/ 35366 w 52098"/>
                    <a:gd name="connsiteY8" fmla="*/ 26049 h 52098"/>
                    <a:gd name="connsiteX9" fmla="*/ 26049 w 52098"/>
                    <a:gd name="connsiteY9" fmla="*/ 35366 h 52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098" h="52098">
                      <a:moveTo>
                        <a:pt x="26049" y="0"/>
                      </a:moveTo>
                      <a:cubicBezTo>
                        <a:pt x="11789" y="0"/>
                        <a:pt x="0" y="11599"/>
                        <a:pt x="0" y="26049"/>
                      </a:cubicBezTo>
                      <a:cubicBezTo>
                        <a:pt x="0" y="40310"/>
                        <a:pt x="11599" y="52099"/>
                        <a:pt x="26049" y="52099"/>
                      </a:cubicBezTo>
                      <a:cubicBezTo>
                        <a:pt x="40310" y="52099"/>
                        <a:pt x="52099" y="40500"/>
                        <a:pt x="52099" y="26049"/>
                      </a:cubicBezTo>
                      <a:cubicBezTo>
                        <a:pt x="51908" y="11789"/>
                        <a:pt x="40310" y="0"/>
                        <a:pt x="26049" y="0"/>
                      </a:cubicBezTo>
                      <a:close/>
                      <a:moveTo>
                        <a:pt x="26049" y="35366"/>
                      </a:moveTo>
                      <a:cubicBezTo>
                        <a:pt x="20915" y="35366"/>
                        <a:pt x="16732" y="31183"/>
                        <a:pt x="16732" y="26049"/>
                      </a:cubicBezTo>
                      <a:cubicBezTo>
                        <a:pt x="16732" y="20915"/>
                        <a:pt x="20915" y="16732"/>
                        <a:pt x="26049" y="16732"/>
                      </a:cubicBezTo>
                      <a:cubicBezTo>
                        <a:pt x="31183" y="16732"/>
                        <a:pt x="35366" y="20915"/>
                        <a:pt x="35366" y="26049"/>
                      </a:cubicBezTo>
                      <a:cubicBezTo>
                        <a:pt x="35366" y="31183"/>
                        <a:pt x="31183" y="35366"/>
                        <a:pt x="26049" y="35366"/>
                      </a:cubicBezTo>
                      <a:close/>
                    </a:path>
                  </a:pathLst>
                </a:custGeom>
                <a:grpFill/>
                <a:ln w="1878" cap="flat">
                  <a:noFill/>
                  <a:prstDash val="solid"/>
                  <a:miter/>
                </a:ln>
              </p:spPr>
              <p:txBody>
                <a:bodyPr rtlCol="0" anchor="ctr"/>
                <a:lstStyle/>
                <a:p>
                  <a:endParaRPr lang="en-GB" noProof="0" dirty="0"/>
                </a:p>
              </p:txBody>
            </p:sp>
            <p:sp>
              <p:nvSpPr>
                <p:cNvPr id="307" name="Freihandform: Form 306">
                  <a:extLst>
                    <a:ext uri="{FF2B5EF4-FFF2-40B4-BE49-F238E27FC236}">
                      <a16:creationId xmlns:a16="http://schemas.microsoft.com/office/drawing/2014/main" id="{A7D5D101-34E7-1469-146B-1068E8641A55}"/>
                    </a:ext>
                  </a:extLst>
                </p:cNvPr>
                <p:cNvSpPr/>
                <p:nvPr/>
              </p:nvSpPr>
              <p:spPr>
                <a:xfrm>
                  <a:off x="2288786" y="4381984"/>
                  <a:ext cx="52098" cy="52098"/>
                </a:xfrm>
                <a:custGeom>
                  <a:avLst/>
                  <a:gdLst>
                    <a:gd name="connsiteX0" fmla="*/ 26049 w 52098"/>
                    <a:gd name="connsiteY0" fmla="*/ 0 h 52098"/>
                    <a:gd name="connsiteX1" fmla="*/ 0 w 52098"/>
                    <a:gd name="connsiteY1" fmla="*/ 26049 h 52098"/>
                    <a:gd name="connsiteX2" fmla="*/ 26049 w 52098"/>
                    <a:gd name="connsiteY2" fmla="*/ 52099 h 52098"/>
                    <a:gd name="connsiteX3" fmla="*/ 52099 w 52098"/>
                    <a:gd name="connsiteY3" fmla="*/ 26049 h 52098"/>
                    <a:gd name="connsiteX4" fmla="*/ 26049 w 52098"/>
                    <a:gd name="connsiteY4" fmla="*/ 0 h 52098"/>
                    <a:gd name="connsiteX5" fmla="*/ 26049 w 52098"/>
                    <a:gd name="connsiteY5" fmla="*/ 35366 h 52098"/>
                    <a:gd name="connsiteX6" fmla="*/ 16732 w 52098"/>
                    <a:gd name="connsiteY6" fmla="*/ 26049 h 52098"/>
                    <a:gd name="connsiteX7" fmla="*/ 26049 w 52098"/>
                    <a:gd name="connsiteY7" fmla="*/ 16732 h 52098"/>
                    <a:gd name="connsiteX8" fmla="*/ 35366 w 52098"/>
                    <a:gd name="connsiteY8" fmla="*/ 26049 h 52098"/>
                    <a:gd name="connsiteX9" fmla="*/ 26049 w 52098"/>
                    <a:gd name="connsiteY9" fmla="*/ 35366 h 52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098" h="52098">
                      <a:moveTo>
                        <a:pt x="26049" y="0"/>
                      </a:moveTo>
                      <a:cubicBezTo>
                        <a:pt x="11789" y="0"/>
                        <a:pt x="0" y="11599"/>
                        <a:pt x="0" y="26049"/>
                      </a:cubicBezTo>
                      <a:cubicBezTo>
                        <a:pt x="0" y="40310"/>
                        <a:pt x="11599" y="52099"/>
                        <a:pt x="26049" y="52099"/>
                      </a:cubicBezTo>
                      <a:cubicBezTo>
                        <a:pt x="40310" y="52099"/>
                        <a:pt x="52099" y="40500"/>
                        <a:pt x="52099" y="26049"/>
                      </a:cubicBezTo>
                      <a:cubicBezTo>
                        <a:pt x="51908" y="11789"/>
                        <a:pt x="40310" y="0"/>
                        <a:pt x="26049" y="0"/>
                      </a:cubicBezTo>
                      <a:close/>
                      <a:moveTo>
                        <a:pt x="26049" y="35366"/>
                      </a:moveTo>
                      <a:cubicBezTo>
                        <a:pt x="20915" y="35366"/>
                        <a:pt x="16732" y="31183"/>
                        <a:pt x="16732" y="26049"/>
                      </a:cubicBezTo>
                      <a:cubicBezTo>
                        <a:pt x="16732" y="20915"/>
                        <a:pt x="20915" y="16732"/>
                        <a:pt x="26049" y="16732"/>
                      </a:cubicBezTo>
                      <a:cubicBezTo>
                        <a:pt x="31183" y="16732"/>
                        <a:pt x="35366" y="20915"/>
                        <a:pt x="35366" y="26049"/>
                      </a:cubicBezTo>
                      <a:cubicBezTo>
                        <a:pt x="35366" y="31183"/>
                        <a:pt x="31183" y="35366"/>
                        <a:pt x="26049" y="35366"/>
                      </a:cubicBezTo>
                      <a:close/>
                    </a:path>
                  </a:pathLst>
                </a:custGeom>
                <a:grpFill/>
                <a:ln w="1878" cap="flat">
                  <a:noFill/>
                  <a:prstDash val="solid"/>
                  <a:miter/>
                </a:ln>
              </p:spPr>
              <p:txBody>
                <a:bodyPr rtlCol="0" anchor="ctr"/>
                <a:lstStyle/>
                <a:p>
                  <a:endParaRPr lang="en-GB" noProof="0" dirty="0"/>
                </a:p>
              </p:txBody>
            </p:sp>
            <p:sp>
              <p:nvSpPr>
                <p:cNvPr id="308" name="Freihandform: Form 307">
                  <a:extLst>
                    <a:ext uri="{FF2B5EF4-FFF2-40B4-BE49-F238E27FC236}">
                      <a16:creationId xmlns:a16="http://schemas.microsoft.com/office/drawing/2014/main" id="{8BE1F209-1AFF-654D-974F-D745074CDCA8}"/>
                    </a:ext>
                  </a:extLst>
                </p:cNvPr>
                <p:cNvSpPr/>
                <p:nvPr/>
              </p:nvSpPr>
              <p:spPr>
                <a:xfrm>
                  <a:off x="1890251" y="4151914"/>
                  <a:ext cx="539429" cy="317345"/>
                </a:xfrm>
                <a:custGeom>
                  <a:avLst/>
                  <a:gdLst>
                    <a:gd name="connsiteX0" fmla="*/ 530113 w 539429"/>
                    <a:gd name="connsiteY0" fmla="*/ 214669 h 317345"/>
                    <a:gd name="connsiteX1" fmla="*/ 530113 w 539429"/>
                    <a:gd name="connsiteY1" fmla="*/ 150782 h 317345"/>
                    <a:gd name="connsiteX2" fmla="*/ 524218 w 539429"/>
                    <a:gd name="connsiteY2" fmla="*/ 128725 h 317345"/>
                    <a:gd name="connsiteX3" fmla="*/ 477254 w 539429"/>
                    <a:gd name="connsiteY3" fmla="*/ 48296 h 317345"/>
                    <a:gd name="connsiteX4" fmla="*/ 439606 w 539429"/>
                    <a:gd name="connsiteY4" fmla="*/ 26620 h 317345"/>
                    <a:gd name="connsiteX5" fmla="*/ 380282 w 539429"/>
                    <a:gd name="connsiteY5" fmla="*/ 26620 h 317345"/>
                    <a:gd name="connsiteX6" fmla="*/ 363169 w 539429"/>
                    <a:gd name="connsiteY6" fmla="*/ 43732 h 317345"/>
                    <a:gd name="connsiteX7" fmla="*/ 363169 w 539429"/>
                    <a:gd name="connsiteY7" fmla="*/ 194704 h 317345"/>
                    <a:gd name="connsiteX8" fmla="*/ 344345 w 539429"/>
                    <a:gd name="connsiteY8" fmla="*/ 194704 h 317345"/>
                    <a:gd name="connsiteX9" fmla="*/ 344345 w 539429"/>
                    <a:gd name="connsiteY9" fmla="*/ 26049 h 317345"/>
                    <a:gd name="connsiteX10" fmla="*/ 318296 w 539429"/>
                    <a:gd name="connsiteY10" fmla="*/ 0 h 317345"/>
                    <a:gd name="connsiteX11" fmla="*/ 26049 w 539429"/>
                    <a:gd name="connsiteY11" fmla="*/ 0 h 317345"/>
                    <a:gd name="connsiteX12" fmla="*/ 0 w 539429"/>
                    <a:gd name="connsiteY12" fmla="*/ 26049 h 317345"/>
                    <a:gd name="connsiteX13" fmla="*/ 0 w 539429"/>
                    <a:gd name="connsiteY13" fmla="*/ 238246 h 317345"/>
                    <a:gd name="connsiteX14" fmla="*/ 26049 w 539429"/>
                    <a:gd name="connsiteY14" fmla="*/ 264296 h 317345"/>
                    <a:gd name="connsiteX15" fmla="*/ 89176 w 539429"/>
                    <a:gd name="connsiteY15" fmla="*/ 264296 h 317345"/>
                    <a:gd name="connsiteX16" fmla="*/ 150021 w 539429"/>
                    <a:gd name="connsiteY16" fmla="*/ 317345 h 317345"/>
                    <a:gd name="connsiteX17" fmla="*/ 210866 w 539429"/>
                    <a:gd name="connsiteY17" fmla="*/ 264296 h 317345"/>
                    <a:gd name="connsiteX18" fmla="*/ 364120 w 539429"/>
                    <a:gd name="connsiteY18" fmla="*/ 264296 h 317345"/>
                    <a:gd name="connsiteX19" fmla="*/ 424965 w 539429"/>
                    <a:gd name="connsiteY19" fmla="*/ 317345 h 317345"/>
                    <a:gd name="connsiteX20" fmla="*/ 485810 w 539429"/>
                    <a:gd name="connsiteY20" fmla="*/ 264296 h 317345"/>
                    <a:gd name="connsiteX21" fmla="*/ 522317 w 539429"/>
                    <a:gd name="connsiteY21" fmla="*/ 264296 h 317345"/>
                    <a:gd name="connsiteX22" fmla="*/ 539430 w 539429"/>
                    <a:gd name="connsiteY22" fmla="*/ 247183 h 317345"/>
                    <a:gd name="connsiteX23" fmla="*/ 539430 w 539429"/>
                    <a:gd name="connsiteY23" fmla="*/ 229500 h 317345"/>
                    <a:gd name="connsiteX24" fmla="*/ 530113 w 539429"/>
                    <a:gd name="connsiteY24" fmla="*/ 214669 h 317345"/>
                    <a:gd name="connsiteX25" fmla="*/ 16542 w 539429"/>
                    <a:gd name="connsiteY25" fmla="*/ 175880 h 317345"/>
                    <a:gd name="connsiteX26" fmla="*/ 35366 w 539429"/>
                    <a:gd name="connsiteY26" fmla="*/ 175880 h 317345"/>
                    <a:gd name="connsiteX27" fmla="*/ 35366 w 539429"/>
                    <a:gd name="connsiteY27" fmla="*/ 202880 h 317345"/>
                    <a:gd name="connsiteX28" fmla="*/ 26049 w 539429"/>
                    <a:gd name="connsiteY28" fmla="*/ 212197 h 317345"/>
                    <a:gd name="connsiteX29" fmla="*/ 16542 w 539429"/>
                    <a:gd name="connsiteY29" fmla="*/ 212197 h 317345"/>
                    <a:gd name="connsiteX30" fmla="*/ 16542 w 539429"/>
                    <a:gd name="connsiteY30" fmla="*/ 175880 h 317345"/>
                    <a:gd name="connsiteX31" fmla="*/ 149831 w 539429"/>
                    <a:gd name="connsiteY31" fmla="*/ 300803 h 317345"/>
                    <a:gd name="connsiteX32" fmla="*/ 105148 w 539429"/>
                    <a:gd name="connsiteY32" fmla="*/ 256120 h 317345"/>
                    <a:gd name="connsiteX33" fmla="*/ 105148 w 539429"/>
                    <a:gd name="connsiteY33" fmla="*/ 256120 h 317345"/>
                    <a:gd name="connsiteX34" fmla="*/ 105148 w 539429"/>
                    <a:gd name="connsiteY34" fmla="*/ 256120 h 317345"/>
                    <a:gd name="connsiteX35" fmla="*/ 149831 w 539429"/>
                    <a:gd name="connsiteY35" fmla="*/ 211437 h 317345"/>
                    <a:gd name="connsiteX36" fmla="*/ 194704 w 539429"/>
                    <a:gd name="connsiteY36" fmla="*/ 256120 h 317345"/>
                    <a:gd name="connsiteX37" fmla="*/ 149831 w 539429"/>
                    <a:gd name="connsiteY37" fmla="*/ 300803 h 317345"/>
                    <a:gd name="connsiteX38" fmla="*/ 327803 w 539429"/>
                    <a:gd name="connsiteY38" fmla="*/ 247754 h 317345"/>
                    <a:gd name="connsiteX39" fmla="*/ 210486 w 539429"/>
                    <a:gd name="connsiteY39" fmla="*/ 247754 h 317345"/>
                    <a:gd name="connsiteX40" fmla="*/ 149641 w 539429"/>
                    <a:gd name="connsiteY40" fmla="*/ 194704 h 317345"/>
                    <a:gd name="connsiteX41" fmla="*/ 88796 w 539429"/>
                    <a:gd name="connsiteY41" fmla="*/ 247754 h 317345"/>
                    <a:gd name="connsiteX42" fmla="*/ 26049 w 539429"/>
                    <a:gd name="connsiteY42" fmla="*/ 247754 h 317345"/>
                    <a:gd name="connsiteX43" fmla="*/ 16732 w 539429"/>
                    <a:gd name="connsiteY43" fmla="*/ 238437 h 317345"/>
                    <a:gd name="connsiteX44" fmla="*/ 16732 w 539429"/>
                    <a:gd name="connsiteY44" fmla="*/ 229120 h 317345"/>
                    <a:gd name="connsiteX45" fmla="*/ 26049 w 539429"/>
                    <a:gd name="connsiteY45" fmla="*/ 229120 h 317345"/>
                    <a:gd name="connsiteX46" fmla="*/ 52099 w 539429"/>
                    <a:gd name="connsiteY46" fmla="*/ 203070 h 317345"/>
                    <a:gd name="connsiteX47" fmla="*/ 52099 w 539429"/>
                    <a:gd name="connsiteY47" fmla="*/ 167704 h 317345"/>
                    <a:gd name="connsiteX48" fmla="*/ 43732 w 539429"/>
                    <a:gd name="connsiteY48" fmla="*/ 159338 h 317345"/>
                    <a:gd name="connsiteX49" fmla="*/ 16542 w 539429"/>
                    <a:gd name="connsiteY49" fmla="*/ 159338 h 317345"/>
                    <a:gd name="connsiteX50" fmla="*/ 16542 w 539429"/>
                    <a:gd name="connsiteY50" fmla="*/ 26049 h 317345"/>
                    <a:gd name="connsiteX51" fmla="*/ 25859 w 539429"/>
                    <a:gd name="connsiteY51" fmla="*/ 16732 h 317345"/>
                    <a:gd name="connsiteX52" fmla="*/ 318296 w 539429"/>
                    <a:gd name="connsiteY52" fmla="*/ 16732 h 317345"/>
                    <a:gd name="connsiteX53" fmla="*/ 327613 w 539429"/>
                    <a:gd name="connsiteY53" fmla="*/ 26049 h 317345"/>
                    <a:gd name="connsiteX54" fmla="*/ 327613 w 539429"/>
                    <a:gd name="connsiteY54" fmla="*/ 247754 h 317345"/>
                    <a:gd name="connsiteX55" fmla="*/ 363169 w 539429"/>
                    <a:gd name="connsiteY55" fmla="*/ 247754 h 317345"/>
                    <a:gd name="connsiteX56" fmla="*/ 344345 w 539429"/>
                    <a:gd name="connsiteY56" fmla="*/ 247754 h 317345"/>
                    <a:gd name="connsiteX57" fmla="*/ 344345 w 539429"/>
                    <a:gd name="connsiteY57" fmla="*/ 211246 h 317345"/>
                    <a:gd name="connsiteX58" fmla="*/ 363169 w 539429"/>
                    <a:gd name="connsiteY58" fmla="*/ 211246 h 317345"/>
                    <a:gd name="connsiteX59" fmla="*/ 363169 w 539429"/>
                    <a:gd name="connsiteY59" fmla="*/ 247754 h 317345"/>
                    <a:gd name="connsiteX60" fmla="*/ 379711 w 539429"/>
                    <a:gd name="connsiteY60" fmla="*/ 43923 h 317345"/>
                    <a:gd name="connsiteX61" fmla="*/ 380282 w 539429"/>
                    <a:gd name="connsiteY61" fmla="*/ 43352 h 317345"/>
                    <a:gd name="connsiteX62" fmla="*/ 439606 w 539429"/>
                    <a:gd name="connsiteY62" fmla="*/ 43352 h 317345"/>
                    <a:gd name="connsiteX63" fmla="*/ 462993 w 539429"/>
                    <a:gd name="connsiteY63" fmla="*/ 56852 h 317345"/>
                    <a:gd name="connsiteX64" fmla="*/ 466035 w 539429"/>
                    <a:gd name="connsiteY64" fmla="*/ 62176 h 317345"/>
                    <a:gd name="connsiteX65" fmla="*/ 379711 w 539429"/>
                    <a:gd name="connsiteY65" fmla="*/ 62176 h 317345"/>
                    <a:gd name="connsiteX66" fmla="*/ 379711 w 539429"/>
                    <a:gd name="connsiteY66" fmla="*/ 43923 h 317345"/>
                    <a:gd name="connsiteX67" fmla="*/ 379711 w 539429"/>
                    <a:gd name="connsiteY67" fmla="*/ 78718 h 317345"/>
                    <a:gd name="connsiteX68" fmla="*/ 475732 w 539429"/>
                    <a:gd name="connsiteY68" fmla="*/ 78718 h 317345"/>
                    <a:gd name="connsiteX69" fmla="*/ 509768 w 539429"/>
                    <a:gd name="connsiteY69" fmla="*/ 137092 h 317345"/>
                    <a:gd name="connsiteX70" fmla="*/ 513380 w 539429"/>
                    <a:gd name="connsiteY70" fmla="*/ 150782 h 317345"/>
                    <a:gd name="connsiteX71" fmla="*/ 513380 w 539429"/>
                    <a:gd name="connsiteY71" fmla="*/ 159528 h 317345"/>
                    <a:gd name="connsiteX72" fmla="*/ 497218 w 539429"/>
                    <a:gd name="connsiteY72" fmla="*/ 159528 h 317345"/>
                    <a:gd name="connsiteX73" fmla="*/ 484289 w 539429"/>
                    <a:gd name="connsiteY73" fmla="*/ 154204 h 317345"/>
                    <a:gd name="connsiteX74" fmla="*/ 473261 w 539429"/>
                    <a:gd name="connsiteY74" fmla="*/ 143176 h 317345"/>
                    <a:gd name="connsiteX75" fmla="*/ 448732 w 539429"/>
                    <a:gd name="connsiteY75" fmla="*/ 132908 h 317345"/>
                    <a:gd name="connsiteX76" fmla="*/ 379521 w 539429"/>
                    <a:gd name="connsiteY76" fmla="*/ 132908 h 317345"/>
                    <a:gd name="connsiteX77" fmla="*/ 379521 w 539429"/>
                    <a:gd name="connsiteY77" fmla="*/ 78718 h 317345"/>
                    <a:gd name="connsiteX78" fmla="*/ 424585 w 539429"/>
                    <a:gd name="connsiteY78" fmla="*/ 300803 h 317345"/>
                    <a:gd name="connsiteX79" fmla="*/ 379901 w 539429"/>
                    <a:gd name="connsiteY79" fmla="*/ 255930 h 317345"/>
                    <a:gd name="connsiteX80" fmla="*/ 424585 w 539429"/>
                    <a:gd name="connsiteY80" fmla="*/ 211246 h 317345"/>
                    <a:gd name="connsiteX81" fmla="*/ 469268 w 539429"/>
                    <a:gd name="connsiteY81" fmla="*/ 255930 h 317345"/>
                    <a:gd name="connsiteX82" fmla="*/ 424585 w 539429"/>
                    <a:gd name="connsiteY82" fmla="*/ 300803 h 317345"/>
                    <a:gd name="connsiteX83" fmla="*/ 486951 w 539429"/>
                    <a:gd name="connsiteY83" fmla="*/ 229500 h 317345"/>
                    <a:gd name="connsiteX84" fmla="*/ 486951 w 539429"/>
                    <a:gd name="connsiteY84" fmla="*/ 247754 h 317345"/>
                    <a:gd name="connsiteX85" fmla="*/ 485239 w 539429"/>
                    <a:gd name="connsiteY85" fmla="*/ 247754 h 317345"/>
                    <a:gd name="connsiteX86" fmla="*/ 424394 w 539429"/>
                    <a:gd name="connsiteY86" fmla="*/ 194704 h 317345"/>
                    <a:gd name="connsiteX87" fmla="*/ 379711 w 539429"/>
                    <a:gd name="connsiteY87" fmla="*/ 214099 h 317345"/>
                    <a:gd name="connsiteX88" fmla="*/ 379711 w 539429"/>
                    <a:gd name="connsiteY88" fmla="*/ 149261 h 317345"/>
                    <a:gd name="connsiteX89" fmla="*/ 448923 w 539429"/>
                    <a:gd name="connsiteY89" fmla="*/ 149261 h 317345"/>
                    <a:gd name="connsiteX90" fmla="*/ 461852 w 539429"/>
                    <a:gd name="connsiteY90" fmla="*/ 154585 h 317345"/>
                    <a:gd name="connsiteX91" fmla="*/ 472880 w 539429"/>
                    <a:gd name="connsiteY91" fmla="*/ 165613 h 317345"/>
                    <a:gd name="connsiteX92" fmla="*/ 497408 w 539429"/>
                    <a:gd name="connsiteY92" fmla="*/ 175880 h 317345"/>
                    <a:gd name="connsiteX93" fmla="*/ 513570 w 539429"/>
                    <a:gd name="connsiteY93" fmla="*/ 175880 h 317345"/>
                    <a:gd name="connsiteX94" fmla="*/ 513570 w 539429"/>
                    <a:gd name="connsiteY94" fmla="*/ 212387 h 317345"/>
                    <a:gd name="connsiteX95" fmla="*/ 504254 w 539429"/>
                    <a:gd name="connsiteY95" fmla="*/ 212387 h 317345"/>
                    <a:gd name="connsiteX96" fmla="*/ 486951 w 539429"/>
                    <a:gd name="connsiteY96" fmla="*/ 229500 h 317345"/>
                    <a:gd name="connsiteX97" fmla="*/ 522317 w 539429"/>
                    <a:gd name="connsiteY97" fmla="*/ 247183 h 317345"/>
                    <a:gd name="connsiteX98" fmla="*/ 521746 w 539429"/>
                    <a:gd name="connsiteY98" fmla="*/ 247754 h 317345"/>
                    <a:gd name="connsiteX99" fmla="*/ 503493 w 539429"/>
                    <a:gd name="connsiteY99" fmla="*/ 247754 h 317345"/>
                    <a:gd name="connsiteX100" fmla="*/ 503493 w 539429"/>
                    <a:gd name="connsiteY100" fmla="*/ 229500 h 317345"/>
                    <a:gd name="connsiteX101" fmla="*/ 504063 w 539429"/>
                    <a:gd name="connsiteY101" fmla="*/ 228930 h 317345"/>
                    <a:gd name="connsiteX102" fmla="*/ 521746 w 539429"/>
                    <a:gd name="connsiteY102" fmla="*/ 228930 h 317345"/>
                    <a:gd name="connsiteX103" fmla="*/ 522317 w 539429"/>
                    <a:gd name="connsiteY103" fmla="*/ 229500 h 317345"/>
                    <a:gd name="connsiteX104" fmla="*/ 522317 w 539429"/>
                    <a:gd name="connsiteY104" fmla="*/ 247183 h 317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539429" h="317345">
                      <a:moveTo>
                        <a:pt x="530113" y="214669"/>
                      </a:moveTo>
                      <a:lnTo>
                        <a:pt x="530113" y="150782"/>
                      </a:lnTo>
                      <a:cubicBezTo>
                        <a:pt x="530113" y="142986"/>
                        <a:pt x="528021" y="135380"/>
                        <a:pt x="524218" y="128725"/>
                      </a:cubicBezTo>
                      <a:lnTo>
                        <a:pt x="477254" y="48296"/>
                      </a:lnTo>
                      <a:cubicBezTo>
                        <a:pt x="469458" y="34986"/>
                        <a:pt x="455007" y="26620"/>
                        <a:pt x="439606" y="26620"/>
                      </a:cubicBezTo>
                      <a:lnTo>
                        <a:pt x="380282" y="26620"/>
                      </a:lnTo>
                      <a:cubicBezTo>
                        <a:pt x="370775" y="26620"/>
                        <a:pt x="363169" y="34225"/>
                        <a:pt x="363169" y="43732"/>
                      </a:cubicBezTo>
                      <a:lnTo>
                        <a:pt x="363169" y="194704"/>
                      </a:lnTo>
                      <a:lnTo>
                        <a:pt x="344345" y="194704"/>
                      </a:lnTo>
                      <a:lnTo>
                        <a:pt x="344345" y="26049"/>
                      </a:lnTo>
                      <a:cubicBezTo>
                        <a:pt x="344345" y="11789"/>
                        <a:pt x="332746" y="0"/>
                        <a:pt x="318296" y="0"/>
                      </a:cubicBezTo>
                      <a:lnTo>
                        <a:pt x="26049" y="0"/>
                      </a:lnTo>
                      <a:cubicBezTo>
                        <a:pt x="11789" y="0"/>
                        <a:pt x="0" y="11599"/>
                        <a:pt x="0" y="26049"/>
                      </a:cubicBezTo>
                      <a:lnTo>
                        <a:pt x="0" y="238246"/>
                      </a:lnTo>
                      <a:cubicBezTo>
                        <a:pt x="0" y="252507"/>
                        <a:pt x="11599" y="264296"/>
                        <a:pt x="26049" y="264296"/>
                      </a:cubicBezTo>
                      <a:lnTo>
                        <a:pt x="89176" y="264296"/>
                      </a:lnTo>
                      <a:cubicBezTo>
                        <a:pt x="93169" y="294148"/>
                        <a:pt x="118838" y="317345"/>
                        <a:pt x="150021" y="317345"/>
                      </a:cubicBezTo>
                      <a:cubicBezTo>
                        <a:pt x="181014" y="317345"/>
                        <a:pt x="206683" y="294148"/>
                        <a:pt x="210866" y="264296"/>
                      </a:cubicBezTo>
                      <a:lnTo>
                        <a:pt x="364120" y="264296"/>
                      </a:lnTo>
                      <a:cubicBezTo>
                        <a:pt x="368113" y="294148"/>
                        <a:pt x="393972" y="317345"/>
                        <a:pt x="424965" y="317345"/>
                      </a:cubicBezTo>
                      <a:cubicBezTo>
                        <a:pt x="455958" y="317345"/>
                        <a:pt x="481627" y="294148"/>
                        <a:pt x="485810" y="264296"/>
                      </a:cubicBezTo>
                      <a:lnTo>
                        <a:pt x="522317" y="264296"/>
                      </a:lnTo>
                      <a:cubicBezTo>
                        <a:pt x="531824" y="264296"/>
                        <a:pt x="539430" y="256690"/>
                        <a:pt x="539430" y="247183"/>
                      </a:cubicBezTo>
                      <a:lnTo>
                        <a:pt x="539430" y="229500"/>
                      </a:lnTo>
                      <a:cubicBezTo>
                        <a:pt x="539049" y="223225"/>
                        <a:pt x="535437" y="217521"/>
                        <a:pt x="530113" y="214669"/>
                      </a:cubicBezTo>
                      <a:close/>
                      <a:moveTo>
                        <a:pt x="16542" y="175880"/>
                      </a:moveTo>
                      <a:lnTo>
                        <a:pt x="35366" y="175880"/>
                      </a:lnTo>
                      <a:lnTo>
                        <a:pt x="35366" y="202880"/>
                      </a:lnTo>
                      <a:cubicBezTo>
                        <a:pt x="35366" y="208014"/>
                        <a:pt x="31183" y="212197"/>
                        <a:pt x="26049" y="212197"/>
                      </a:cubicBezTo>
                      <a:lnTo>
                        <a:pt x="16542" y="212197"/>
                      </a:lnTo>
                      <a:lnTo>
                        <a:pt x="16542" y="175880"/>
                      </a:lnTo>
                      <a:close/>
                      <a:moveTo>
                        <a:pt x="149831" y="300803"/>
                      </a:moveTo>
                      <a:cubicBezTo>
                        <a:pt x="125113" y="300803"/>
                        <a:pt x="105148" y="280648"/>
                        <a:pt x="105148" y="256120"/>
                      </a:cubicBezTo>
                      <a:lnTo>
                        <a:pt x="105148" y="256120"/>
                      </a:lnTo>
                      <a:lnTo>
                        <a:pt x="105148" y="256120"/>
                      </a:lnTo>
                      <a:cubicBezTo>
                        <a:pt x="105148" y="231401"/>
                        <a:pt x="125303" y="211437"/>
                        <a:pt x="149831" y="211437"/>
                      </a:cubicBezTo>
                      <a:cubicBezTo>
                        <a:pt x="174549" y="211437"/>
                        <a:pt x="194704" y="231592"/>
                        <a:pt x="194704" y="256120"/>
                      </a:cubicBezTo>
                      <a:cubicBezTo>
                        <a:pt x="194514" y="280838"/>
                        <a:pt x="174549" y="300803"/>
                        <a:pt x="149831" y="300803"/>
                      </a:cubicBezTo>
                      <a:close/>
                      <a:moveTo>
                        <a:pt x="327803" y="247754"/>
                      </a:moveTo>
                      <a:lnTo>
                        <a:pt x="210486" y="247754"/>
                      </a:lnTo>
                      <a:cubicBezTo>
                        <a:pt x="206493" y="217901"/>
                        <a:pt x="180634" y="194704"/>
                        <a:pt x="149641" y="194704"/>
                      </a:cubicBezTo>
                      <a:cubicBezTo>
                        <a:pt x="118648" y="194704"/>
                        <a:pt x="92979" y="217901"/>
                        <a:pt x="88796" y="247754"/>
                      </a:cubicBezTo>
                      <a:lnTo>
                        <a:pt x="26049" y="247754"/>
                      </a:lnTo>
                      <a:cubicBezTo>
                        <a:pt x="20915" y="247754"/>
                        <a:pt x="16732" y="243570"/>
                        <a:pt x="16732" y="238437"/>
                      </a:cubicBezTo>
                      <a:lnTo>
                        <a:pt x="16732" y="229120"/>
                      </a:lnTo>
                      <a:lnTo>
                        <a:pt x="26049" y="229120"/>
                      </a:lnTo>
                      <a:cubicBezTo>
                        <a:pt x="40310" y="229120"/>
                        <a:pt x="52099" y="217521"/>
                        <a:pt x="52099" y="203070"/>
                      </a:cubicBezTo>
                      <a:lnTo>
                        <a:pt x="52099" y="167704"/>
                      </a:lnTo>
                      <a:cubicBezTo>
                        <a:pt x="52099" y="163141"/>
                        <a:pt x="48296" y="159338"/>
                        <a:pt x="43732" y="159338"/>
                      </a:cubicBezTo>
                      <a:lnTo>
                        <a:pt x="16542" y="159338"/>
                      </a:lnTo>
                      <a:lnTo>
                        <a:pt x="16542" y="26049"/>
                      </a:lnTo>
                      <a:cubicBezTo>
                        <a:pt x="16542" y="20915"/>
                        <a:pt x="20725" y="16732"/>
                        <a:pt x="25859" y="16732"/>
                      </a:cubicBezTo>
                      <a:lnTo>
                        <a:pt x="318296" y="16732"/>
                      </a:lnTo>
                      <a:cubicBezTo>
                        <a:pt x="323430" y="16732"/>
                        <a:pt x="327613" y="20915"/>
                        <a:pt x="327613" y="26049"/>
                      </a:cubicBezTo>
                      <a:lnTo>
                        <a:pt x="327613" y="247754"/>
                      </a:lnTo>
                      <a:close/>
                      <a:moveTo>
                        <a:pt x="363169" y="247754"/>
                      </a:moveTo>
                      <a:lnTo>
                        <a:pt x="344345" y="247754"/>
                      </a:lnTo>
                      <a:lnTo>
                        <a:pt x="344345" y="211246"/>
                      </a:lnTo>
                      <a:lnTo>
                        <a:pt x="363169" y="211246"/>
                      </a:lnTo>
                      <a:lnTo>
                        <a:pt x="363169" y="247754"/>
                      </a:lnTo>
                      <a:close/>
                      <a:moveTo>
                        <a:pt x="379711" y="43923"/>
                      </a:moveTo>
                      <a:cubicBezTo>
                        <a:pt x="379711" y="43542"/>
                        <a:pt x="379901" y="43352"/>
                        <a:pt x="380282" y="43352"/>
                      </a:cubicBezTo>
                      <a:lnTo>
                        <a:pt x="439606" y="43352"/>
                      </a:lnTo>
                      <a:cubicBezTo>
                        <a:pt x="449303" y="43352"/>
                        <a:pt x="458239" y="48486"/>
                        <a:pt x="462993" y="56852"/>
                      </a:cubicBezTo>
                      <a:lnTo>
                        <a:pt x="466035" y="62176"/>
                      </a:lnTo>
                      <a:lnTo>
                        <a:pt x="379711" y="62176"/>
                      </a:lnTo>
                      <a:lnTo>
                        <a:pt x="379711" y="43923"/>
                      </a:lnTo>
                      <a:close/>
                      <a:moveTo>
                        <a:pt x="379711" y="78718"/>
                      </a:moveTo>
                      <a:lnTo>
                        <a:pt x="475732" y="78718"/>
                      </a:lnTo>
                      <a:lnTo>
                        <a:pt x="509768" y="137092"/>
                      </a:lnTo>
                      <a:cubicBezTo>
                        <a:pt x="512239" y="141275"/>
                        <a:pt x="513380" y="146028"/>
                        <a:pt x="513380" y="150782"/>
                      </a:cubicBezTo>
                      <a:lnTo>
                        <a:pt x="513380" y="159528"/>
                      </a:lnTo>
                      <a:lnTo>
                        <a:pt x="497218" y="159528"/>
                      </a:lnTo>
                      <a:cubicBezTo>
                        <a:pt x="492275" y="159528"/>
                        <a:pt x="487711" y="157627"/>
                        <a:pt x="484289" y="154204"/>
                      </a:cubicBezTo>
                      <a:lnTo>
                        <a:pt x="473261" y="143176"/>
                      </a:lnTo>
                      <a:cubicBezTo>
                        <a:pt x="466606" y="136521"/>
                        <a:pt x="457859" y="132908"/>
                        <a:pt x="448732" y="132908"/>
                      </a:cubicBezTo>
                      <a:lnTo>
                        <a:pt x="379521" y="132908"/>
                      </a:lnTo>
                      <a:lnTo>
                        <a:pt x="379521" y="78718"/>
                      </a:lnTo>
                      <a:close/>
                      <a:moveTo>
                        <a:pt x="424585" y="300803"/>
                      </a:moveTo>
                      <a:cubicBezTo>
                        <a:pt x="399866" y="300803"/>
                        <a:pt x="379901" y="280648"/>
                        <a:pt x="379901" y="255930"/>
                      </a:cubicBezTo>
                      <a:cubicBezTo>
                        <a:pt x="379901" y="231211"/>
                        <a:pt x="400056" y="211246"/>
                        <a:pt x="424585" y="211246"/>
                      </a:cubicBezTo>
                      <a:cubicBezTo>
                        <a:pt x="449303" y="211246"/>
                        <a:pt x="469268" y="231401"/>
                        <a:pt x="469268" y="255930"/>
                      </a:cubicBezTo>
                      <a:cubicBezTo>
                        <a:pt x="469268" y="280838"/>
                        <a:pt x="449303" y="300803"/>
                        <a:pt x="424585" y="300803"/>
                      </a:cubicBezTo>
                      <a:close/>
                      <a:moveTo>
                        <a:pt x="486951" y="229500"/>
                      </a:moveTo>
                      <a:lnTo>
                        <a:pt x="486951" y="247754"/>
                      </a:lnTo>
                      <a:lnTo>
                        <a:pt x="485239" y="247754"/>
                      </a:lnTo>
                      <a:cubicBezTo>
                        <a:pt x="481247" y="217901"/>
                        <a:pt x="455387" y="194704"/>
                        <a:pt x="424394" y="194704"/>
                      </a:cubicBezTo>
                      <a:cubicBezTo>
                        <a:pt x="406711" y="194704"/>
                        <a:pt x="390739" y="202120"/>
                        <a:pt x="379711" y="214099"/>
                      </a:cubicBezTo>
                      <a:lnTo>
                        <a:pt x="379711" y="149261"/>
                      </a:lnTo>
                      <a:lnTo>
                        <a:pt x="448923" y="149261"/>
                      </a:lnTo>
                      <a:cubicBezTo>
                        <a:pt x="453866" y="149261"/>
                        <a:pt x="458430" y="151162"/>
                        <a:pt x="461852" y="154585"/>
                      </a:cubicBezTo>
                      <a:lnTo>
                        <a:pt x="472880" y="165613"/>
                      </a:lnTo>
                      <a:cubicBezTo>
                        <a:pt x="479535" y="172268"/>
                        <a:pt x="488282" y="175880"/>
                        <a:pt x="497408" y="175880"/>
                      </a:cubicBezTo>
                      <a:lnTo>
                        <a:pt x="513570" y="175880"/>
                      </a:lnTo>
                      <a:lnTo>
                        <a:pt x="513570" y="212387"/>
                      </a:lnTo>
                      <a:lnTo>
                        <a:pt x="504254" y="212387"/>
                      </a:lnTo>
                      <a:cubicBezTo>
                        <a:pt x="494747" y="212387"/>
                        <a:pt x="486951" y="220183"/>
                        <a:pt x="486951" y="229500"/>
                      </a:cubicBezTo>
                      <a:close/>
                      <a:moveTo>
                        <a:pt x="522317" y="247183"/>
                      </a:moveTo>
                      <a:cubicBezTo>
                        <a:pt x="522317" y="247563"/>
                        <a:pt x="522127" y="247754"/>
                        <a:pt x="521746" y="247754"/>
                      </a:cubicBezTo>
                      <a:lnTo>
                        <a:pt x="503493" y="247754"/>
                      </a:lnTo>
                      <a:lnTo>
                        <a:pt x="503493" y="229500"/>
                      </a:lnTo>
                      <a:cubicBezTo>
                        <a:pt x="503493" y="229120"/>
                        <a:pt x="503683" y="228930"/>
                        <a:pt x="504063" y="228930"/>
                      </a:cubicBezTo>
                      <a:lnTo>
                        <a:pt x="521746" y="228930"/>
                      </a:lnTo>
                      <a:cubicBezTo>
                        <a:pt x="522127" y="228930"/>
                        <a:pt x="522317" y="229120"/>
                        <a:pt x="522317" y="229500"/>
                      </a:cubicBezTo>
                      <a:lnTo>
                        <a:pt x="522317" y="247183"/>
                      </a:lnTo>
                      <a:close/>
                    </a:path>
                  </a:pathLst>
                </a:custGeom>
                <a:grpFill/>
                <a:ln w="1878" cap="flat">
                  <a:noFill/>
                  <a:prstDash val="solid"/>
                  <a:miter/>
                </a:ln>
              </p:spPr>
              <p:txBody>
                <a:bodyPr rtlCol="0" anchor="ctr"/>
                <a:lstStyle/>
                <a:p>
                  <a:endParaRPr lang="en-GB" noProof="0" dirty="0"/>
                </a:p>
              </p:txBody>
            </p:sp>
          </p:grpSp>
        </p:grpSp>
      </p:grpSp>
      <p:grpSp>
        <p:nvGrpSpPr>
          <p:cNvPr id="40" name="Gruppieren 39">
            <a:extLst>
              <a:ext uri="{FF2B5EF4-FFF2-40B4-BE49-F238E27FC236}">
                <a16:creationId xmlns:a16="http://schemas.microsoft.com/office/drawing/2014/main" id="{7D4A67CB-EB33-D86B-6D39-E71448FAAE12}"/>
              </a:ext>
            </a:extLst>
          </p:cNvPr>
          <p:cNvGrpSpPr/>
          <p:nvPr/>
        </p:nvGrpSpPr>
        <p:grpSpPr>
          <a:xfrm>
            <a:off x="7729247" y="2237496"/>
            <a:ext cx="728953" cy="872293"/>
            <a:chOff x="7729247" y="2583610"/>
            <a:chExt cx="728953" cy="872293"/>
          </a:xfrm>
        </p:grpSpPr>
        <p:sp>
          <p:nvSpPr>
            <p:cNvPr id="128" name="Text Box 30">
              <a:extLst>
                <a:ext uri="{FF2B5EF4-FFF2-40B4-BE49-F238E27FC236}">
                  <a16:creationId xmlns:a16="http://schemas.microsoft.com/office/drawing/2014/main" id="{E9A91D7B-4738-13C6-B1BB-D6A3B0843CD8}"/>
                </a:ext>
              </a:extLst>
            </p:cNvPr>
            <p:cNvSpPr txBox="1">
              <a:spLocks noChangeArrowheads="1"/>
            </p:cNvSpPr>
            <p:nvPr/>
          </p:nvSpPr>
          <p:spPr bwMode="auto">
            <a:xfrm>
              <a:off x="7729247" y="2583610"/>
              <a:ext cx="728953" cy="268149"/>
            </a:xfrm>
            <a:prstGeom prst="rect">
              <a:avLst/>
            </a:prstGeom>
            <a:noFill/>
            <a:ln w="12700">
              <a:noFill/>
              <a:miter lim="800000"/>
              <a:headEnd/>
              <a:tailEnd/>
            </a:ln>
          </p:spPr>
          <p:txBody>
            <a:bodyPr wrap="square" lIns="62308" tIns="29908" rIns="62308" bIns="29908">
              <a:spAutoFit/>
            </a:bodyPr>
            <a:lstStyle/>
            <a:p>
              <a:pPr algn="ctr">
                <a:spcBef>
                  <a:spcPct val="50000"/>
                </a:spcBef>
              </a:pPr>
              <a:r>
                <a:rPr lang="en-GB" sz="675" noProof="0" dirty="0"/>
                <a:t>Mechanical</a:t>
              </a:r>
              <a:br>
                <a:rPr lang="en-GB" sz="675" noProof="0" dirty="0"/>
              </a:br>
              <a:r>
                <a:rPr lang="en-GB" sz="675" noProof="0" dirty="0"/>
                <a:t>Recycling</a:t>
              </a:r>
            </a:p>
          </p:txBody>
        </p:sp>
        <p:grpSp>
          <p:nvGrpSpPr>
            <p:cNvPr id="315" name="Grafik 116">
              <a:extLst>
                <a:ext uri="{FF2B5EF4-FFF2-40B4-BE49-F238E27FC236}">
                  <a16:creationId xmlns:a16="http://schemas.microsoft.com/office/drawing/2014/main" id="{79E00D08-79CA-77BD-6642-910188456D0E}"/>
                </a:ext>
              </a:extLst>
            </p:cNvPr>
            <p:cNvGrpSpPr>
              <a:grpSpLocks noChangeAspect="1"/>
            </p:cNvGrpSpPr>
            <p:nvPr/>
          </p:nvGrpSpPr>
          <p:grpSpPr>
            <a:xfrm>
              <a:off x="7854966" y="2961520"/>
              <a:ext cx="494383" cy="494383"/>
              <a:chOff x="2029800" y="2547787"/>
              <a:chExt cx="540000" cy="540000"/>
            </a:xfrm>
            <a:solidFill>
              <a:schemeClr val="accent1"/>
            </a:solidFill>
          </p:grpSpPr>
          <p:grpSp>
            <p:nvGrpSpPr>
              <p:cNvPr id="316" name="Grafik 116">
                <a:extLst>
                  <a:ext uri="{FF2B5EF4-FFF2-40B4-BE49-F238E27FC236}">
                    <a16:creationId xmlns:a16="http://schemas.microsoft.com/office/drawing/2014/main" id="{94B47449-524F-D557-C054-87A4C9B4D6DB}"/>
                  </a:ext>
                </a:extLst>
              </p:cNvPr>
              <p:cNvGrpSpPr/>
              <p:nvPr/>
            </p:nvGrpSpPr>
            <p:grpSpPr>
              <a:xfrm>
                <a:off x="2029800" y="2547787"/>
                <a:ext cx="492186" cy="482197"/>
                <a:chOff x="2029800" y="2547787"/>
                <a:chExt cx="492186" cy="482197"/>
              </a:xfrm>
              <a:grpFill/>
            </p:grpSpPr>
            <p:grpSp>
              <p:nvGrpSpPr>
                <p:cNvPr id="317" name="Grafik 116">
                  <a:extLst>
                    <a:ext uri="{FF2B5EF4-FFF2-40B4-BE49-F238E27FC236}">
                      <a16:creationId xmlns:a16="http://schemas.microsoft.com/office/drawing/2014/main" id="{D23BBB9D-9507-AD47-8769-5D6760E786DD}"/>
                    </a:ext>
                  </a:extLst>
                </p:cNvPr>
                <p:cNvGrpSpPr/>
                <p:nvPr/>
              </p:nvGrpSpPr>
              <p:grpSpPr>
                <a:xfrm>
                  <a:off x="2031104" y="2550187"/>
                  <a:ext cx="490881" cy="479797"/>
                  <a:chOff x="2031104" y="2550187"/>
                  <a:chExt cx="490881" cy="479797"/>
                </a:xfrm>
                <a:grpFill/>
              </p:grpSpPr>
              <p:sp>
                <p:nvSpPr>
                  <p:cNvPr id="318" name="Freihandform: Form 317">
                    <a:extLst>
                      <a:ext uri="{FF2B5EF4-FFF2-40B4-BE49-F238E27FC236}">
                        <a16:creationId xmlns:a16="http://schemas.microsoft.com/office/drawing/2014/main" id="{B7CF82E4-3C22-5884-224C-65681C42DCBC}"/>
                      </a:ext>
                    </a:extLst>
                  </p:cNvPr>
                  <p:cNvSpPr/>
                  <p:nvPr/>
                </p:nvSpPr>
                <p:spPr>
                  <a:xfrm>
                    <a:off x="2098964" y="2550187"/>
                    <a:ext cx="323034" cy="213250"/>
                  </a:xfrm>
                  <a:custGeom>
                    <a:avLst/>
                    <a:gdLst>
                      <a:gd name="connsiteX0" fmla="*/ 6512 w 323034"/>
                      <a:gd name="connsiteY0" fmla="*/ 212839 h 213250"/>
                      <a:gd name="connsiteX1" fmla="*/ 18110 w 323034"/>
                      <a:gd name="connsiteY1" fmla="*/ 206755 h 213250"/>
                      <a:gd name="connsiteX2" fmla="*/ 205019 w 323034"/>
                      <a:gd name="connsiteY2" fmla="*/ 69473 h 213250"/>
                      <a:gd name="connsiteX3" fmla="*/ 282786 w 323034"/>
                      <a:gd name="connsiteY3" fmla="*/ 85445 h 213250"/>
                      <a:gd name="connsiteX4" fmla="*/ 289441 w 323034"/>
                      <a:gd name="connsiteY4" fmla="*/ 88297 h 213250"/>
                      <a:gd name="connsiteX5" fmla="*/ 216427 w 323034"/>
                      <a:gd name="connsiteY5" fmla="*/ 108832 h 213250"/>
                      <a:gd name="connsiteX6" fmla="*/ 209962 w 323034"/>
                      <a:gd name="connsiteY6" fmla="*/ 120241 h 213250"/>
                      <a:gd name="connsiteX7" fmla="*/ 218899 w 323034"/>
                      <a:gd name="connsiteY7" fmla="*/ 127086 h 213250"/>
                      <a:gd name="connsiteX8" fmla="*/ 221371 w 323034"/>
                      <a:gd name="connsiteY8" fmla="*/ 126705 h 213250"/>
                      <a:gd name="connsiteX9" fmla="*/ 316251 w 323034"/>
                      <a:gd name="connsiteY9" fmla="*/ 100086 h 213250"/>
                      <a:gd name="connsiteX10" fmla="*/ 322526 w 323034"/>
                      <a:gd name="connsiteY10" fmla="*/ 94191 h 213250"/>
                      <a:gd name="connsiteX11" fmla="*/ 321385 w 323034"/>
                      <a:gd name="connsiteY11" fmla="*/ 85635 h 213250"/>
                      <a:gd name="connsiteX12" fmla="*/ 263012 w 323034"/>
                      <a:gd name="connsiteY12" fmla="*/ 3874 h 213250"/>
                      <a:gd name="connsiteX13" fmla="*/ 250082 w 323034"/>
                      <a:gd name="connsiteY13" fmla="*/ 1783 h 213250"/>
                      <a:gd name="connsiteX14" fmla="*/ 246279 w 323034"/>
                      <a:gd name="connsiteY14" fmla="*/ 7867 h 213250"/>
                      <a:gd name="connsiteX15" fmla="*/ 247800 w 323034"/>
                      <a:gd name="connsiteY15" fmla="*/ 14713 h 213250"/>
                      <a:gd name="connsiteX16" fmla="*/ 284307 w 323034"/>
                      <a:gd name="connsiteY16" fmla="*/ 66051 h 213250"/>
                      <a:gd name="connsiteX17" fmla="*/ 276702 w 323034"/>
                      <a:gd name="connsiteY17" fmla="*/ 63389 h 213250"/>
                      <a:gd name="connsiteX18" fmla="*/ 205019 w 323034"/>
                      <a:gd name="connsiteY18" fmla="*/ 51029 h 213250"/>
                      <a:gd name="connsiteX19" fmla="*/ 427 w 323034"/>
                      <a:gd name="connsiteY19" fmla="*/ 201241 h 213250"/>
                      <a:gd name="connsiteX20" fmla="*/ 6512 w 323034"/>
                      <a:gd name="connsiteY20" fmla="*/ 212839 h 21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23034" h="213250">
                        <a:moveTo>
                          <a:pt x="6512" y="212839"/>
                        </a:moveTo>
                        <a:cubicBezTo>
                          <a:pt x="11645" y="214360"/>
                          <a:pt x="16589" y="211508"/>
                          <a:pt x="18110" y="206755"/>
                        </a:cubicBezTo>
                        <a:cubicBezTo>
                          <a:pt x="43779" y="124614"/>
                          <a:pt x="118885" y="69473"/>
                          <a:pt x="205019" y="69473"/>
                        </a:cubicBezTo>
                        <a:cubicBezTo>
                          <a:pt x="232019" y="69473"/>
                          <a:pt x="258068" y="74797"/>
                          <a:pt x="282786" y="85445"/>
                        </a:cubicBezTo>
                        <a:lnTo>
                          <a:pt x="289441" y="88297"/>
                        </a:lnTo>
                        <a:lnTo>
                          <a:pt x="216427" y="108832"/>
                        </a:lnTo>
                        <a:cubicBezTo>
                          <a:pt x="211483" y="110163"/>
                          <a:pt x="208631" y="115297"/>
                          <a:pt x="209962" y="120241"/>
                        </a:cubicBezTo>
                        <a:cubicBezTo>
                          <a:pt x="211103" y="124234"/>
                          <a:pt x="214716" y="127086"/>
                          <a:pt x="218899" y="127086"/>
                        </a:cubicBezTo>
                        <a:cubicBezTo>
                          <a:pt x="219659" y="127086"/>
                          <a:pt x="220610" y="126896"/>
                          <a:pt x="221371" y="126705"/>
                        </a:cubicBezTo>
                        <a:lnTo>
                          <a:pt x="316251" y="100086"/>
                        </a:lnTo>
                        <a:cubicBezTo>
                          <a:pt x="319103" y="99325"/>
                          <a:pt x="321385" y="97044"/>
                          <a:pt x="322526" y="94191"/>
                        </a:cubicBezTo>
                        <a:cubicBezTo>
                          <a:pt x="323476" y="91339"/>
                          <a:pt x="323096" y="88107"/>
                          <a:pt x="321385" y="85635"/>
                        </a:cubicBezTo>
                        <a:lnTo>
                          <a:pt x="263012" y="3874"/>
                        </a:lnTo>
                        <a:cubicBezTo>
                          <a:pt x="259969" y="-309"/>
                          <a:pt x="254265" y="-1259"/>
                          <a:pt x="250082" y="1783"/>
                        </a:cubicBezTo>
                        <a:cubicBezTo>
                          <a:pt x="247990" y="3304"/>
                          <a:pt x="246659" y="5396"/>
                          <a:pt x="246279" y="7867"/>
                        </a:cubicBezTo>
                        <a:cubicBezTo>
                          <a:pt x="245899" y="10339"/>
                          <a:pt x="246469" y="12811"/>
                          <a:pt x="247800" y="14713"/>
                        </a:cubicBezTo>
                        <a:lnTo>
                          <a:pt x="284307" y="66051"/>
                        </a:lnTo>
                        <a:lnTo>
                          <a:pt x="276702" y="63389"/>
                        </a:lnTo>
                        <a:cubicBezTo>
                          <a:pt x="253695" y="55213"/>
                          <a:pt x="229547" y="51029"/>
                          <a:pt x="205019" y="51029"/>
                        </a:cubicBezTo>
                        <a:cubicBezTo>
                          <a:pt x="110709" y="51029"/>
                          <a:pt x="28568" y="111494"/>
                          <a:pt x="427" y="201241"/>
                        </a:cubicBezTo>
                        <a:cubicBezTo>
                          <a:pt x="-1094" y="206184"/>
                          <a:pt x="1568" y="211318"/>
                          <a:pt x="6512" y="212839"/>
                        </a:cubicBezTo>
                        <a:close/>
                      </a:path>
                    </a:pathLst>
                  </a:custGeom>
                  <a:grpFill/>
                  <a:ln w="1878" cap="flat">
                    <a:noFill/>
                    <a:prstDash val="solid"/>
                    <a:miter/>
                  </a:ln>
                </p:spPr>
                <p:txBody>
                  <a:bodyPr rtlCol="0" anchor="ctr"/>
                  <a:lstStyle/>
                  <a:p>
                    <a:endParaRPr lang="en-GB" noProof="0" dirty="0"/>
                  </a:p>
                </p:txBody>
              </p:sp>
              <p:sp>
                <p:nvSpPr>
                  <p:cNvPr id="319" name="Freihandform: Form 318">
                    <a:extLst>
                      <a:ext uri="{FF2B5EF4-FFF2-40B4-BE49-F238E27FC236}">
                        <a16:creationId xmlns:a16="http://schemas.microsoft.com/office/drawing/2014/main" id="{96E50195-1227-2E5A-53AD-CDEB8099A0B1}"/>
                      </a:ext>
                    </a:extLst>
                  </p:cNvPr>
                  <p:cNvSpPr/>
                  <p:nvPr/>
                </p:nvSpPr>
                <p:spPr>
                  <a:xfrm>
                    <a:off x="2404214" y="2652680"/>
                    <a:ext cx="117771" cy="344365"/>
                  </a:xfrm>
                  <a:custGeom>
                    <a:avLst/>
                    <a:gdLst>
                      <a:gd name="connsiteX0" fmla="*/ 117670 w 117771"/>
                      <a:gd name="connsiteY0" fmla="*/ 318931 h 344365"/>
                      <a:gd name="connsiteX1" fmla="*/ 107022 w 117771"/>
                      <a:gd name="connsiteY1" fmla="*/ 311135 h 344365"/>
                      <a:gd name="connsiteX2" fmla="*/ 45417 w 117771"/>
                      <a:gd name="connsiteY2" fmla="*/ 320452 h 344365"/>
                      <a:gd name="connsiteX3" fmla="*/ 51121 w 117771"/>
                      <a:gd name="connsiteY3" fmla="*/ 314938 h 344365"/>
                      <a:gd name="connsiteX4" fmla="*/ 114438 w 117771"/>
                      <a:gd name="connsiteY4" fmla="*/ 162825 h 344365"/>
                      <a:gd name="connsiteX5" fmla="*/ 42374 w 117771"/>
                      <a:gd name="connsiteY5" fmla="*/ 2346 h 344365"/>
                      <a:gd name="connsiteX6" fmla="*/ 29255 w 117771"/>
                      <a:gd name="connsiteY6" fmla="*/ 3107 h 344365"/>
                      <a:gd name="connsiteX7" fmla="*/ 30015 w 117771"/>
                      <a:gd name="connsiteY7" fmla="*/ 16226 h 344365"/>
                      <a:gd name="connsiteX8" fmla="*/ 95994 w 117771"/>
                      <a:gd name="connsiteY8" fmla="*/ 162825 h 344365"/>
                      <a:gd name="connsiteX9" fmla="*/ 28114 w 117771"/>
                      <a:gd name="connsiteY9" fmla="*/ 310945 h 344365"/>
                      <a:gd name="connsiteX10" fmla="*/ 22410 w 117771"/>
                      <a:gd name="connsiteY10" fmla="*/ 315698 h 344365"/>
                      <a:gd name="connsiteX11" fmla="*/ 37050 w 117771"/>
                      <a:gd name="connsiteY11" fmla="*/ 240402 h 344365"/>
                      <a:gd name="connsiteX12" fmla="*/ 35719 w 117771"/>
                      <a:gd name="connsiteY12" fmla="*/ 233367 h 344365"/>
                      <a:gd name="connsiteX13" fmla="*/ 29825 w 117771"/>
                      <a:gd name="connsiteY13" fmla="*/ 229374 h 344365"/>
                      <a:gd name="connsiteX14" fmla="*/ 28114 w 117771"/>
                      <a:gd name="connsiteY14" fmla="*/ 229184 h 344365"/>
                      <a:gd name="connsiteX15" fmla="*/ 18987 w 117771"/>
                      <a:gd name="connsiteY15" fmla="*/ 236600 h 344365"/>
                      <a:gd name="connsiteX16" fmla="*/ 163 w 117771"/>
                      <a:gd name="connsiteY16" fmla="*/ 333381 h 344365"/>
                      <a:gd name="connsiteX17" fmla="*/ 2635 w 117771"/>
                      <a:gd name="connsiteY17" fmla="*/ 341557 h 344365"/>
                      <a:gd name="connsiteX18" fmla="*/ 10811 w 117771"/>
                      <a:gd name="connsiteY18" fmla="*/ 344219 h 344365"/>
                      <a:gd name="connsiteX19" fmla="*/ 110255 w 117771"/>
                      <a:gd name="connsiteY19" fmla="*/ 329008 h 344365"/>
                      <a:gd name="connsiteX20" fmla="*/ 117670 w 117771"/>
                      <a:gd name="connsiteY20" fmla="*/ 318931 h 344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7771" h="344365">
                        <a:moveTo>
                          <a:pt x="117670" y="318931"/>
                        </a:moveTo>
                        <a:cubicBezTo>
                          <a:pt x="116910" y="313987"/>
                          <a:pt x="112156" y="310374"/>
                          <a:pt x="107022" y="311135"/>
                        </a:cubicBezTo>
                        <a:lnTo>
                          <a:pt x="45417" y="320452"/>
                        </a:lnTo>
                        <a:lnTo>
                          <a:pt x="51121" y="314938"/>
                        </a:lnTo>
                        <a:cubicBezTo>
                          <a:pt x="92001" y="274628"/>
                          <a:pt x="114438" y="220628"/>
                          <a:pt x="114438" y="162825"/>
                        </a:cubicBezTo>
                        <a:cubicBezTo>
                          <a:pt x="114438" y="101600"/>
                          <a:pt x="88198" y="43036"/>
                          <a:pt x="42374" y="2346"/>
                        </a:cubicBezTo>
                        <a:cubicBezTo>
                          <a:pt x="38571" y="-1076"/>
                          <a:pt x="32677" y="-696"/>
                          <a:pt x="29255" y="3107"/>
                        </a:cubicBezTo>
                        <a:cubicBezTo>
                          <a:pt x="25832" y="6909"/>
                          <a:pt x="26212" y="12804"/>
                          <a:pt x="30015" y="16226"/>
                        </a:cubicBezTo>
                        <a:cubicBezTo>
                          <a:pt x="71846" y="53304"/>
                          <a:pt x="95994" y="106733"/>
                          <a:pt x="95994" y="162825"/>
                        </a:cubicBezTo>
                        <a:cubicBezTo>
                          <a:pt x="95994" y="219867"/>
                          <a:pt x="71276" y="273867"/>
                          <a:pt x="28114" y="310945"/>
                        </a:cubicBezTo>
                        <a:lnTo>
                          <a:pt x="22410" y="315698"/>
                        </a:lnTo>
                        <a:lnTo>
                          <a:pt x="37050" y="240402"/>
                        </a:lnTo>
                        <a:cubicBezTo>
                          <a:pt x="37621" y="237931"/>
                          <a:pt x="37050" y="235459"/>
                          <a:pt x="35719" y="233367"/>
                        </a:cubicBezTo>
                        <a:cubicBezTo>
                          <a:pt x="34388" y="231276"/>
                          <a:pt x="32297" y="229945"/>
                          <a:pt x="29825" y="229374"/>
                        </a:cubicBezTo>
                        <a:cubicBezTo>
                          <a:pt x="29255" y="229184"/>
                          <a:pt x="28684" y="229184"/>
                          <a:pt x="28114" y="229184"/>
                        </a:cubicBezTo>
                        <a:cubicBezTo>
                          <a:pt x="23740" y="229184"/>
                          <a:pt x="19938" y="232226"/>
                          <a:pt x="18987" y="236600"/>
                        </a:cubicBezTo>
                        <a:lnTo>
                          <a:pt x="163" y="333381"/>
                        </a:lnTo>
                        <a:cubicBezTo>
                          <a:pt x="-407" y="336424"/>
                          <a:pt x="543" y="339466"/>
                          <a:pt x="2635" y="341557"/>
                        </a:cubicBezTo>
                        <a:cubicBezTo>
                          <a:pt x="4726" y="343649"/>
                          <a:pt x="7769" y="344790"/>
                          <a:pt x="10811" y="344219"/>
                        </a:cubicBezTo>
                        <a:lnTo>
                          <a:pt x="110255" y="329008"/>
                        </a:lnTo>
                        <a:cubicBezTo>
                          <a:pt x="114818" y="328818"/>
                          <a:pt x="118431" y="324064"/>
                          <a:pt x="117670" y="318931"/>
                        </a:cubicBezTo>
                        <a:close/>
                      </a:path>
                    </a:pathLst>
                  </a:custGeom>
                  <a:grpFill/>
                  <a:ln w="1878" cap="flat">
                    <a:noFill/>
                    <a:prstDash val="solid"/>
                    <a:miter/>
                  </a:ln>
                </p:spPr>
                <p:txBody>
                  <a:bodyPr rtlCol="0" anchor="ctr"/>
                  <a:lstStyle/>
                  <a:p>
                    <a:endParaRPr lang="en-GB" noProof="0" dirty="0"/>
                  </a:p>
                </p:txBody>
              </p:sp>
              <p:sp>
                <p:nvSpPr>
                  <p:cNvPr id="320" name="Freihandform: Form 319">
                    <a:extLst>
                      <a:ext uri="{FF2B5EF4-FFF2-40B4-BE49-F238E27FC236}">
                        <a16:creationId xmlns:a16="http://schemas.microsoft.com/office/drawing/2014/main" id="{5DB52FE9-4747-8A61-5F47-8036FB4413CB}"/>
                      </a:ext>
                    </a:extLst>
                  </p:cNvPr>
                  <p:cNvSpPr/>
                  <p:nvPr/>
                </p:nvSpPr>
                <p:spPr>
                  <a:xfrm>
                    <a:off x="2031104" y="2779378"/>
                    <a:ext cx="360866" cy="250605"/>
                  </a:xfrm>
                  <a:custGeom>
                    <a:avLst/>
                    <a:gdLst>
                      <a:gd name="connsiteX0" fmla="*/ 347794 w 360866"/>
                      <a:gd name="connsiteY0" fmla="*/ 217141 h 250605"/>
                      <a:gd name="connsiteX1" fmla="*/ 272879 w 360866"/>
                      <a:gd name="connsiteY1" fmla="*/ 231972 h 250605"/>
                      <a:gd name="connsiteX2" fmla="*/ 77604 w 360866"/>
                      <a:gd name="connsiteY2" fmla="*/ 48486 h 250605"/>
                      <a:gd name="connsiteX3" fmla="*/ 77034 w 360866"/>
                      <a:gd name="connsiteY3" fmla="*/ 39359 h 250605"/>
                      <a:gd name="connsiteX4" fmla="*/ 116203 w 360866"/>
                      <a:gd name="connsiteY4" fmla="*/ 95451 h 250605"/>
                      <a:gd name="connsiteX5" fmla="*/ 129132 w 360866"/>
                      <a:gd name="connsiteY5" fmla="*/ 97732 h 250605"/>
                      <a:gd name="connsiteX6" fmla="*/ 131414 w 360866"/>
                      <a:gd name="connsiteY6" fmla="*/ 84803 h 250605"/>
                      <a:gd name="connsiteX7" fmla="*/ 77034 w 360866"/>
                      <a:gd name="connsiteY7" fmla="*/ 6845 h 250605"/>
                      <a:gd name="connsiteX8" fmla="*/ 75893 w 360866"/>
                      <a:gd name="connsiteY8" fmla="*/ 5134 h 250605"/>
                      <a:gd name="connsiteX9" fmla="*/ 75703 w 360866"/>
                      <a:gd name="connsiteY9" fmla="*/ 4944 h 250605"/>
                      <a:gd name="connsiteX10" fmla="*/ 75132 w 360866"/>
                      <a:gd name="connsiteY10" fmla="*/ 3993 h 250605"/>
                      <a:gd name="connsiteX11" fmla="*/ 67527 w 360866"/>
                      <a:gd name="connsiteY11" fmla="*/ 0 h 250605"/>
                      <a:gd name="connsiteX12" fmla="*/ 59921 w 360866"/>
                      <a:gd name="connsiteY12" fmla="*/ 3993 h 250605"/>
                      <a:gd name="connsiteX13" fmla="*/ 1738 w 360866"/>
                      <a:gd name="connsiteY13" fmla="*/ 85944 h 250605"/>
                      <a:gd name="connsiteX14" fmla="*/ 217 w 360866"/>
                      <a:gd name="connsiteY14" fmla="*/ 92789 h 250605"/>
                      <a:gd name="connsiteX15" fmla="*/ 4020 w 360866"/>
                      <a:gd name="connsiteY15" fmla="*/ 98873 h 250605"/>
                      <a:gd name="connsiteX16" fmla="*/ 9344 w 360866"/>
                      <a:gd name="connsiteY16" fmla="*/ 100584 h 250605"/>
                      <a:gd name="connsiteX17" fmla="*/ 16949 w 360866"/>
                      <a:gd name="connsiteY17" fmla="*/ 96782 h 250605"/>
                      <a:gd name="connsiteX18" fmla="*/ 58780 w 360866"/>
                      <a:gd name="connsiteY18" fmla="*/ 38028 h 250605"/>
                      <a:gd name="connsiteX19" fmla="*/ 59161 w 360866"/>
                      <a:gd name="connsiteY19" fmla="*/ 45444 h 250605"/>
                      <a:gd name="connsiteX20" fmla="*/ 124759 w 360866"/>
                      <a:gd name="connsiteY20" fmla="*/ 190711 h 250605"/>
                      <a:gd name="connsiteX21" fmla="*/ 273069 w 360866"/>
                      <a:gd name="connsiteY21" fmla="*/ 250606 h 250605"/>
                      <a:gd name="connsiteX22" fmla="*/ 355210 w 360866"/>
                      <a:gd name="connsiteY22" fmla="*/ 234254 h 250605"/>
                      <a:gd name="connsiteX23" fmla="*/ 360154 w 360866"/>
                      <a:gd name="connsiteY23" fmla="*/ 229310 h 250605"/>
                      <a:gd name="connsiteX24" fmla="*/ 360154 w 360866"/>
                      <a:gd name="connsiteY24" fmla="*/ 222085 h 250605"/>
                      <a:gd name="connsiteX25" fmla="*/ 347794 w 360866"/>
                      <a:gd name="connsiteY25" fmla="*/ 217141 h 250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60866" h="250605">
                        <a:moveTo>
                          <a:pt x="347794" y="217141"/>
                        </a:moveTo>
                        <a:cubicBezTo>
                          <a:pt x="324027" y="227028"/>
                          <a:pt x="298738" y="231972"/>
                          <a:pt x="272879" y="231972"/>
                        </a:cubicBezTo>
                        <a:cubicBezTo>
                          <a:pt x="169823" y="231972"/>
                          <a:pt x="84069" y="151352"/>
                          <a:pt x="77604" y="48486"/>
                        </a:cubicBezTo>
                        <a:lnTo>
                          <a:pt x="77034" y="39359"/>
                        </a:lnTo>
                        <a:lnTo>
                          <a:pt x="116203" y="95451"/>
                        </a:lnTo>
                        <a:cubicBezTo>
                          <a:pt x="119055" y="99634"/>
                          <a:pt x="124949" y="100775"/>
                          <a:pt x="129132" y="97732"/>
                        </a:cubicBezTo>
                        <a:cubicBezTo>
                          <a:pt x="133316" y="94880"/>
                          <a:pt x="134266" y="88986"/>
                          <a:pt x="131414" y="84803"/>
                        </a:cubicBezTo>
                        <a:lnTo>
                          <a:pt x="77034" y="6845"/>
                        </a:lnTo>
                        <a:cubicBezTo>
                          <a:pt x="76654" y="6085"/>
                          <a:pt x="76273" y="5704"/>
                          <a:pt x="75893" y="5134"/>
                        </a:cubicBezTo>
                        <a:lnTo>
                          <a:pt x="75703" y="4944"/>
                        </a:lnTo>
                        <a:lnTo>
                          <a:pt x="75132" y="3993"/>
                        </a:lnTo>
                        <a:cubicBezTo>
                          <a:pt x="73421" y="1521"/>
                          <a:pt x="70569" y="0"/>
                          <a:pt x="67527" y="0"/>
                        </a:cubicBezTo>
                        <a:cubicBezTo>
                          <a:pt x="64485" y="0"/>
                          <a:pt x="61632" y="1521"/>
                          <a:pt x="59921" y="3993"/>
                        </a:cubicBezTo>
                        <a:lnTo>
                          <a:pt x="1738" y="85944"/>
                        </a:lnTo>
                        <a:cubicBezTo>
                          <a:pt x="217" y="88035"/>
                          <a:pt x="-353" y="90507"/>
                          <a:pt x="217" y="92789"/>
                        </a:cubicBezTo>
                        <a:cubicBezTo>
                          <a:pt x="597" y="95261"/>
                          <a:pt x="1928" y="97352"/>
                          <a:pt x="4020" y="98873"/>
                        </a:cubicBezTo>
                        <a:cubicBezTo>
                          <a:pt x="5541" y="100014"/>
                          <a:pt x="7442" y="100584"/>
                          <a:pt x="9344" y="100584"/>
                        </a:cubicBezTo>
                        <a:cubicBezTo>
                          <a:pt x="12386" y="100584"/>
                          <a:pt x="15238" y="99063"/>
                          <a:pt x="16949" y="96782"/>
                        </a:cubicBezTo>
                        <a:lnTo>
                          <a:pt x="58780" y="38028"/>
                        </a:lnTo>
                        <a:lnTo>
                          <a:pt x="59161" y="45444"/>
                        </a:lnTo>
                        <a:cubicBezTo>
                          <a:pt x="61442" y="100775"/>
                          <a:pt x="84830" y="152303"/>
                          <a:pt x="124759" y="190711"/>
                        </a:cubicBezTo>
                        <a:cubicBezTo>
                          <a:pt x="164879" y="229310"/>
                          <a:pt x="217548" y="250606"/>
                          <a:pt x="273069" y="250606"/>
                        </a:cubicBezTo>
                        <a:cubicBezTo>
                          <a:pt x="301590" y="250606"/>
                          <a:pt x="329161" y="245092"/>
                          <a:pt x="355210" y="234254"/>
                        </a:cubicBezTo>
                        <a:cubicBezTo>
                          <a:pt x="357492" y="233303"/>
                          <a:pt x="359203" y="231592"/>
                          <a:pt x="360154" y="229310"/>
                        </a:cubicBezTo>
                        <a:cubicBezTo>
                          <a:pt x="361104" y="227028"/>
                          <a:pt x="361104" y="224556"/>
                          <a:pt x="360154" y="222085"/>
                        </a:cubicBezTo>
                        <a:cubicBezTo>
                          <a:pt x="358062" y="217331"/>
                          <a:pt x="352548" y="215239"/>
                          <a:pt x="347794" y="217141"/>
                        </a:cubicBezTo>
                        <a:close/>
                      </a:path>
                    </a:pathLst>
                  </a:custGeom>
                  <a:grpFill/>
                  <a:ln w="1878" cap="flat">
                    <a:noFill/>
                    <a:prstDash val="solid"/>
                    <a:miter/>
                  </a:ln>
                </p:spPr>
                <p:txBody>
                  <a:bodyPr rtlCol="0" anchor="ctr"/>
                  <a:lstStyle/>
                  <a:p>
                    <a:endParaRPr lang="en-GB" noProof="0" dirty="0"/>
                  </a:p>
                </p:txBody>
              </p:sp>
            </p:grpSp>
          </p:grpSp>
        </p:grpSp>
      </p:grpSp>
      <p:sp>
        <p:nvSpPr>
          <p:cNvPr id="350" name="Rechteck 349">
            <a:extLst>
              <a:ext uri="{FF2B5EF4-FFF2-40B4-BE49-F238E27FC236}">
                <a16:creationId xmlns:a16="http://schemas.microsoft.com/office/drawing/2014/main" id="{C6EF3809-4083-BC97-F133-794D6E0938C4}"/>
              </a:ext>
            </a:extLst>
          </p:cNvPr>
          <p:cNvSpPr/>
          <p:nvPr/>
        </p:nvSpPr>
        <p:spPr>
          <a:xfrm>
            <a:off x="3288737" y="2155315"/>
            <a:ext cx="432000" cy="365378"/>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4" name="Line 65">
            <a:extLst>
              <a:ext uri="{FF2B5EF4-FFF2-40B4-BE49-F238E27FC236}">
                <a16:creationId xmlns:a16="http://schemas.microsoft.com/office/drawing/2014/main" id="{68F03772-0B87-0291-2336-ED92DD870F72}"/>
              </a:ext>
            </a:extLst>
          </p:cNvPr>
          <p:cNvSpPr>
            <a:spLocks noChangeShapeType="1"/>
          </p:cNvSpPr>
          <p:nvPr/>
        </p:nvSpPr>
        <p:spPr bwMode="auto">
          <a:xfrm>
            <a:off x="2700998" y="2788960"/>
            <a:ext cx="1625168" cy="66"/>
          </a:xfrm>
          <a:prstGeom prst="line">
            <a:avLst/>
          </a:prstGeom>
          <a:noFill/>
          <a:ln w="25400">
            <a:solidFill>
              <a:schemeClr val="accent5"/>
            </a:solidFill>
            <a:round/>
            <a:headEnd type="none" w="med" len="med"/>
            <a:tailEnd type="none" w="med" len="med"/>
          </a:ln>
        </p:spPr>
        <p:txBody>
          <a:bodyPr wrap="square" lIns="62308" tIns="29908" rIns="62308" bIns="29908">
            <a:noAutofit/>
          </a:bodyPr>
          <a:lstStyle/>
          <a:p>
            <a:endParaRPr lang="en-GB" sz="761" noProof="0" dirty="0">
              <a:ln>
                <a:solidFill>
                  <a:schemeClr val="tx1"/>
                </a:solidFill>
                <a:prstDash val="solid"/>
              </a:ln>
            </a:endParaRPr>
          </a:p>
        </p:txBody>
      </p:sp>
      <p:sp>
        <p:nvSpPr>
          <p:cNvPr id="87" name="Rechteck 86">
            <a:extLst>
              <a:ext uri="{FF2B5EF4-FFF2-40B4-BE49-F238E27FC236}">
                <a16:creationId xmlns:a16="http://schemas.microsoft.com/office/drawing/2014/main" id="{4E5A004B-3712-AB4E-8180-01DD5E87FBD2}"/>
              </a:ext>
            </a:extLst>
          </p:cNvPr>
          <p:cNvSpPr/>
          <p:nvPr/>
        </p:nvSpPr>
        <p:spPr>
          <a:xfrm>
            <a:off x="3290400" y="2611602"/>
            <a:ext cx="432000" cy="324000"/>
          </a:xfrm>
          <a:prstGeom prst="rect">
            <a:avLst/>
          </a:prstGeom>
          <a:solidFill>
            <a:schemeClr val="accent3">
              <a:lumMod val="60000"/>
              <a:lumOff val="40000"/>
            </a:schemeClr>
          </a:solidFill>
          <a:ln>
            <a:noFill/>
          </a:ln>
        </p:spPr>
        <p:txBody>
          <a:bodyPr lIns="0" tIns="0" rIns="0" bIns="0" rtlCol="0" anchor="ctr">
            <a:noAutofit/>
          </a:bodyPr>
          <a:lstStyle/>
          <a:p>
            <a:pPr marL="207169" indent="-207169" algn="ctr" defTabSz="247650">
              <a:spcBef>
                <a:spcPts val="225"/>
              </a:spcBef>
              <a:buFont typeface="Symbol" pitchFamily="18" charset="2"/>
              <a:buChar char="-"/>
            </a:pPr>
            <a:endParaRPr lang="en-GB" sz="1350" kern="0" noProof="0" dirty="0">
              <a:solidFill>
                <a:srgbClr val="41474C"/>
              </a:solidFill>
              <a:latin typeface="Corbel" pitchFamily="34" charset="0"/>
            </a:endParaRPr>
          </a:p>
        </p:txBody>
      </p:sp>
      <p:sp>
        <p:nvSpPr>
          <p:cNvPr id="24" name="Rechteck 23">
            <a:extLst>
              <a:ext uri="{FF2B5EF4-FFF2-40B4-BE49-F238E27FC236}">
                <a16:creationId xmlns:a16="http://schemas.microsoft.com/office/drawing/2014/main" id="{086B9E9F-7777-0A8A-3FBB-56B2A536A7E7}"/>
              </a:ext>
            </a:extLst>
          </p:cNvPr>
          <p:cNvSpPr/>
          <p:nvPr/>
        </p:nvSpPr>
        <p:spPr>
          <a:xfrm>
            <a:off x="6869889" y="1949413"/>
            <a:ext cx="396000" cy="276811"/>
          </a:xfrm>
          <a:prstGeom prst="rect">
            <a:avLst/>
          </a:prstGeom>
          <a:solidFill>
            <a:schemeClr val="bg1"/>
          </a:solidFill>
          <a:ln>
            <a:solidFill>
              <a:schemeClr val="bg1"/>
            </a:solidFill>
          </a:ln>
        </p:spPr>
        <p:txBody>
          <a:bodyPr lIns="0" tIns="0" rIns="0" bIns="0" rtlCol="0" anchor="ctr">
            <a:noAutofit/>
          </a:bodyPr>
          <a:lstStyle/>
          <a:p>
            <a:pPr marL="207169" indent="-207169" algn="ctr" defTabSz="247650">
              <a:spcBef>
                <a:spcPts val="225"/>
              </a:spcBef>
              <a:buFont typeface="Symbol" pitchFamily="18" charset="2"/>
              <a:buChar char="-"/>
            </a:pPr>
            <a:endParaRPr lang="en-GB" sz="1350" kern="0" noProof="0" dirty="0">
              <a:solidFill>
                <a:srgbClr val="41474C"/>
              </a:solidFill>
              <a:latin typeface="Corbel" pitchFamily="34" charset="0"/>
            </a:endParaRPr>
          </a:p>
        </p:txBody>
      </p:sp>
      <p:grpSp>
        <p:nvGrpSpPr>
          <p:cNvPr id="15" name="Grafik 42">
            <a:extLst>
              <a:ext uri="{FF2B5EF4-FFF2-40B4-BE49-F238E27FC236}">
                <a16:creationId xmlns:a16="http://schemas.microsoft.com/office/drawing/2014/main" id="{E6E75D2D-EFFA-DEE5-FFDE-DBD59AF0C940}"/>
              </a:ext>
            </a:extLst>
          </p:cNvPr>
          <p:cNvGrpSpPr>
            <a:grpSpLocks noChangeAspect="1"/>
          </p:cNvGrpSpPr>
          <p:nvPr/>
        </p:nvGrpSpPr>
        <p:grpSpPr>
          <a:xfrm>
            <a:off x="6888080" y="1863048"/>
            <a:ext cx="360000" cy="360000"/>
            <a:chOff x="1890251" y="3930400"/>
            <a:chExt cx="540000" cy="540000"/>
          </a:xfrm>
          <a:solidFill>
            <a:schemeClr val="accent1"/>
          </a:solidFill>
        </p:grpSpPr>
        <p:grpSp>
          <p:nvGrpSpPr>
            <p:cNvPr id="16" name="Grafik 42">
              <a:extLst>
                <a:ext uri="{FF2B5EF4-FFF2-40B4-BE49-F238E27FC236}">
                  <a16:creationId xmlns:a16="http://schemas.microsoft.com/office/drawing/2014/main" id="{5E2165BE-8580-AA11-6BF0-CA70175C7F5E}"/>
                </a:ext>
              </a:extLst>
            </p:cNvPr>
            <p:cNvGrpSpPr/>
            <p:nvPr/>
          </p:nvGrpSpPr>
          <p:grpSpPr>
            <a:xfrm>
              <a:off x="1890251" y="3930400"/>
              <a:ext cx="539429" cy="538859"/>
              <a:chOff x="1890251" y="3930400"/>
              <a:chExt cx="539429" cy="538859"/>
            </a:xfrm>
            <a:grpFill/>
          </p:grpSpPr>
          <p:grpSp>
            <p:nvGrpSpPr>
              <p:cNvPr id="17" name="Grafik 42">
                <a:extLst>
                  <a:ext uri="{FF2B5EF4-FFF2-40B4-BE49-F238E27FC236}">
                    <a16:creationId xmlns:a16="http://schemas.microsoft.com/office/drawing/2014/main" id="{989876CC-4B83-D713-8E6B-F91B365A4705}"/>
                  </a:ext>
                </a:extLst>
              </p:cNvPr>
              <p:cNvGrpSpPr/>
              <p:nvPr/>
            </p:nvGrpSpPr>
            <p:grpSpPr>
              <a:xfrm>
                <a:off x="1890251" y="4151914"/>
                <a:ext cx="539429" cy="317345"/>
                <a:chOff x="1890251" y="4151914"/>
                <a:chExt cx="539429" cy="317345"/>
              </a:xfrm>
              <a:grpFill/>
            </p:grpSpPr>
            <p:sp>
              <p:nvSpPr>
                <p:cNvPr id="18" name="Freihandform: Form 17">
                  <a:extLst>
                    <a:ext uri="{FF2B5EF4-FFF2-40B4-BE49-F238E27FC236}">
                      <a16:creationId xmlns:a16="http://schemas.microsoft.com/office/drawing/2014/main" id="{F45222A3-E737-CD15-35D8-854A9EDCDD08}"/>
                    </a:ext>
                  </a:extLst>
                </p:cNvPr>
                <p:cNvSpPr/>
                <p:nvPr/>
              </p:nvSpPr>
              <p:spPr>
                <a:xfrm>
                  <a:off x="2014032" y="4381984"/>
                  <a:ext cx="52098" cy="52098"/>
                </a:xfrm>
                <a:custGeom>
                  <a:avLst/>
                  <a:gdLst>
                    <a:gd name="connsiteX0" fmla="*/ 26049 w 52098"/>
                    <a:gd name="connsiteY0" fmla="*/ 0 h 52098"/>
                    <a:gd name="connsiteX1" fmla="*/ 0 w 52098"/>
                    <a:gd name="connsiteY1" fmla="*/ 26049 h 52098"/>
                    <a:gd name="connsiteX2" fmla="*/ 26049 w 52098"/>
                    <a:gd name="connsiteY2" fmla="*/ 52099 h 52098"/>
                    <a:gd name="connsiteX3" fmla="*/ 52099 w 52098"/>
                    <a:gd name="connsiteY3" fmla="*/ 26049 h 52098"/>
                    <a:gd name="connsiteX4" fmla="*/ 26049 w 52098"/>
                    <a:gd name="connsiteY4" fmla="*/ 0 h 52098"/>
                    <a:gd name="connsiteX5" fmla="*/ 26049 w 52098"/>
                    <a:gd name="connsiteY5" fmla="*/ 35366 h 52098"/>
                    <a:gd name="connsiteX6" fmla="*/ 16732 w 52098"/>
                    <a:gd name="connsiteY6" fmla="*/ 26049 h 52098"/>
                    <a:gd name="connsiteX7" fmla="*/ 26049 w 52098"/>
                    <a:gd name="connsiteY7" fmla="*/ 16732 h 52098"/>
                    <a:gd name="connsiteX8" fmla="*/ 35366 w 52098"/>
                    <a:gd name="connsiteY8" fmla="*/ 26049 h 52098"/>
                    <a:gd name="connsiteX9" fmla="*/ 26049 w 52098"/>
                    <a:gd name="connsiteY9" fmla="*/ 35366 h 52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098" h="52098">
                      <a:moveTo>
                        <a:pt x="26049" y="0"/>
                      </a:moveTo>
                      <a:cubicBezTo>
                        <a:pt x="11789" y="0"/>
                        <a:pt x="0" y="11599"/>
                        <a:pt x="0" y="26049"/>
                      </a:cubicBezTo>
                      <a:cubicBezTo>
                        <a:pt x="0" y="40310"/>
                        <a:pt x="11599" y="52099"/>
                        <a:pt x="26049" y="52099"/>
                      </a:cubicBezTo>
                      <a:cubicBezTo>
                        <a:pt x="40310" y="52099"/>
                        <a:pt x="52099" y="40500"/>
                        <a:pt x="52099" y="26049"/>
                      </a:cubicBezTo>
                      <a:cubicBezTo>
                        <a:pt x="51908" y="11789"/>
                        <a:pt x="40310" y="0"/>
                        <a:pt x="26049" y="0"/>
                      </a:cubicBezTo>
                      <a:close/>
                      <a:moveTo>
                        <a:pt x="26049" y="35366"/>
                      </a:moveTo>
                      <a:cubicBezTo>
                        <a:pt x="20915" y="35366"/>
                        <a:pt x="16732" y="31183"/>
                        <a:pt x="16732" y="26049"/>
                      </a:cubicBezTo>
                      <a:cubicBezTo>
                        <a:pt x="16732" y="20915"/>
                        <a:pt x="20915" y="16732"/>
                        <a:pt x="26049" y="16732"/>
                      </a:cubicBezTo>
                      <a:cubicBezTo>
                        <a:pt x="31183" y="16732"/>
                        <a:pt x="35366" y="20915"/>
                        <a:pt x="35366" y="26049"/>
                      </a:cubicBezTo>
                      <a:cubicBezTo>
                        <a:pt x="35366" y="31183"/>
                        <a:pt x="31183" y="35366"/>
                        <a:pt x="26049" y="35366"/>
                      </a:cubicBezTo>
                      <a:close/>
                    </a:path>
                  </a:pathLst>
                </a:custGeom>
                <a:grpFill/>
                <a:ln w="1878" cap="flat">
                  <a:noFill/>
                  <a:prstDash val="solid"/>
                  <a:miter/>
                </a:ln>
              </p:spPr>
              <p:txBody>
                <a:bodyPr rtlCol="0" anchor="ctr"/>
                <a:lstStyle/>
                <a:p>
                  <a:endParaRPr lang="en-GB" noProof="0" dirty="0"/>
                </a:p>
              </p:txBody>
            </p:sp>
            <p:sp>
              <p:nvSpPr>
                <p:cNvPr id="20" name="Freihandform: Form 19">
                  <a:extLst>
                    <a:ext uri="{FF2B5EF4-FFF2-40B4-BE49-F238E27FC236}">
                      <a16:creationId xmlns:a16="http://schemas.microsoft.com/office/drawing/2014/main" id="{D383DD9A-F786-A5E8-D8FB-087E9838374A}"/>
                    </a:ext>
                  </a:extLst>
                </p:cNvPr>
                <p:cNvSpPr/>
                <p:nvPr/>
              </p:nvSpPr>
              <p:spPr>
                <a:xfrm>
                  <a:off x="2288786" y="4381984"/>
                  <a:ext cx="52098" cy="52098"/>
                </a:xfrm>
                <a:custGeom>
                  <a:avLst/>
                  <a:gdLst>
                    <a:gd name="connsiteX0" fmla="*/ 26049 w 52098"/>
                    <a:gd name="connsiteY0" fmla="*/ 0 h 52098"/>
                    <a:gd name="connsiteX1" fmla="*/ 0 w 52098"/>
                    <a:gd name="connsiteY1" fmla="*/ 26049 h 52098"/>
                    <a:gd name="connsiteX2" fmla="*/ 26049 w 52098"/>
                    <a:gd name="connsiteY2" fmla="*/ 52099 h 52098"/>
                    <a:gd name="connsiteX3" fmla="*/ 52099 w 52098"/>
                    <a:gd name="connsiteY3" fmla="*/ 26049 h 52098"/>
                    <a:gd name="connsiteX4" fmla="*/ 26049 w 52098"/>
                    <a:gd name="connsiteY4" fmla="*/ 0 h 52098"/>
                    <a:gd name="connsiteX5" fmla="*/ 26049 w 52098"/>
                    <a:gd name="connsiteY5" fmla="*/ 35366 h 52098"/>
                    <a:gd name="connsiteX6" fmla="*/ 16732 w 52098"/>
                    <a:gd name="connsiteY6" fmla="*/ 26049 h 52098"/>
                    <a:gd name="connsiteX7" fmla="*/ 26049 w 52098"/>
                    <a:gd name="connsiteY7" fmla="*/ 16732 h 52098"/>
                    <a:gd name="connsiteX8" fmla="*/ 35366 w 52098"/>
                    <a:gd name="connsiteY8" fmla="*/ 26049 h 52098"/>
                    <a:gd name="connsiteX9" fmla="*/ 26049 w 52098"/>
                    <a:gd name="connsiteY9" fmla="*/ 35366 h 52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098" h="52098">
                      <a:moveTo>
                        <a:pt x="26049" y="0"/>
                      </a:moveTo>
                      <a:cubicBezTo>
                        <a:pt x="11789" y="0"/>
                        <a:pt x="0" y="11599"/>
                        <a:pt x="0" y="26049"/>
                      </a:cubicBezTo>
                      <a:cubicBezTo>
                        <a:pt x="0" y="40310"/>
                        <a:pt x="11599" y="52099"/>
                        <a:pt x="26049" y="52099"/>
                      </a:cubicBezTo>
                      <a:cubicBezTo>
                        <a:pt x="40310" y="52099"/>
                        <a:pt x="52099" y="40500"/>
                        <a:pt x="52099" y="26049"/>
                      </a:cubicBezTo>
                      <a:cubicBezTo>
                        <a:pt x="51908" y="11789"/>
                        <a:pt x="40310" y="0"/>
                        <a:pt x="26049" y="0"/>
                      </a:cubicBezTo>
                      <a:close/>
                      <a:moveTo>
                        <a:pt x="26049" y="35366"/>
                      </a:moveTo>
                      <a:cubicBezTo>
                        <a:pt x="20915" y="35366"/>
                        <a:pt x="16732" y="31183"/>
                        <a:pt x="16732" y="26049"/>
                      </a:cubicBezTo>
                      <a:cubicBezTo>
                        <a:pt x="16732" y="20915"/>
                        <a:pt x="20915" y="16732"/>
                        <a:pt x="26049" y="16732"/>
                      </a:cubicBezTo>
                      <a:cubicBezTo>
                        <a:pt x="31183" y="16732"/>
                        <a:pt x="35366" y="20915"/>
                        <a:pt x="35366" y="26049"/>
                      </a:cubicBezTo>
                      <a:cubicBezTo>
                        <a:pt x="35366" y="31183"/>
                        <a:pt x="31183" y="35366"/>
                        <a:pt x="26049" y="35366"/>
                      </a:cubicBezTo>
                      <a:close/>
                    </a:path>
                  </a:pathLst>
                </a:custGeom>
                <a:grpFill/>
                <a:ln w="1878" cap="flat">
                  <a:noFill/>
                  <a:prstDash val="solid"/>
                  <a:miter/>
                </a:ln>
              </p:spPr>
              <p:txBody>
                <a:bodyPr rtlCol="0" anchor="ctr"/>
                <a:lstStyle/>
                <a:p>
                  <a:endParaRPr lang="en-GB" noProof="0" dirty="0"/>
                </a:p>
              </p:txBody>
            </p:sp>
            <p:sp>
              <p:nvSpPr>
                <p:cNvPr id="22" name="Freihandform: Form 21">
                  <a:extLst>
                    <a:ext uri="{FF2B5EF4-FFF2-40B4-BE49-F238E27FC236}">
                      <a16:creationId xmlns:a16="http://schemas.microsoft.com/office/drawing/2014/main" id="{420251BF-123F-3E97-FE0A-E5751A68D7E9}"/>
                    </a:ext>
                  </a:extLst>
                </p:cNvPr>
                <p:cNvSpPr/>
                <p:nvPr/>
              </p:nvSpPr>
              <p:spPr>
                <a:xfrm>
                  <a:off x="1890251" y="4151914"/>
                  <a:ext cx="539429" cy="317345"/>
                </a:xfrm>
                <a:custGeom>
                  <a:avLst/>
                  <a:gdLst>
                    <a:gd name="connsiteX0" fmla="*/ 530113 w 539429"/>
                    <a:gd name="connsiteY0" fmla="*/ 214669 h 317345"/>
                    <a:gd name="connsiteX1" fmla="*/ 530113 w 539429"/>
                    <a:gd name="connsiteY1" fmla="*/ 150782 h 317345"/>
                    <a:gd name="connsiteX2" fmla="*/ 524218 w 539429"/>
                    <a:gd name="connsiteY2" fmla="*/ 128725 h 317345"/>
                    <a:gd name="connsiteX3" fmla="*/ 477254 w 539429"/>
                    <a:gd name="connsiteY3" fmla="*/ 48296 h 317345"/>
                    <a:gd name="connsiteX4" fmla="*/ 439606 w 539429"/>
                    <a:gd name="connsiteY4" fmla="*/ 26620 h 317345"/>
                    <a:gd name="connsiteX5" fmla="*/ 380282 w 539429"/>
                    <a:gd name="connsiteY5" fmla="*/ 26620 h 317345"/>
                    <a:gd name="connsiteX6" fmla="*/ 363169 w 539429"/>
                    <a:gd name="connsiteY6" fmla="*/ 43732 h 317345"/>
                    <a:gd name="connsiteX7" fmla="*/ 363169 w 539429"/>
                    <a:gd name="connsiteY7" fmla="*/ 194704 h 317345"/>
                    <a:gd name="connsiteX8" fmla="*/ 344345 w 539429"/>
                    <a:gd name="connsiteY8" fmla="*/ 194704 h 317345"/>
                    <a:gd name="connsiteX9" fmla="*/ 344345 w 539429"/>
                    <a:gd name="connsiteY9" fmla="*/ 26049 h 317345"/>
                    <a:gd name="connsiteX10" fmla="*/ 318296 w 539429"/>
                    <a:gd name="connsiteY10" fmla="*/ 0 h 317345"/>
                    <a:gd name="connsiteX11" fmla="*/ 26049 w 539429"/>
                    <a:gd name="connsiteY11" fmla="*/ 0 h 317345"/>
                    <a:gd name="connsiteX12" fmla="*/ 0 w 539429"/>
                    <a:gd name="connsiteY12" fmla="*/ 26049 h 317345"/>
                    <a:gd name="connsiteX13" fmla="*/ 0 w 539429"/>
                    <a:gd name="connsiteY13" fmla="*/ 238246 h 317345"/>
                    <a:gd name="connsiteX14" fmla="*/ 26049 w 539429"/>
                    <a:gd name="connsiteY14" fmla="*/ 264296 h 317345"/>
                    <a:gd name="connsiteX15" fmla="*/ 89176 w 539429"/>
                    <a:gd name="connsiteY15" fmla="*/ 264296 h 317345"/>
                    <a:gd name="connsiteX16" fmla="*/ 150021 w 539429"/>
                    <a:gd name="connsiteY16" fmla="*/ 317345 h 317345"/>
                    <a:gd name="connsiteX17" fmla="*/ 210866 w 539429"/>
                    <a:gd name="connsiteY17" fmla="*/ 264296 h 317345"/>
                    <a:gd name="connsiteX18" fmla="*/ 364120 w 539429"/>
                    <a:gd name="connsiteY18" fmla="*/ 264296 h 317345"/>
                    <a:gd name="connsiteX19" fmla="*/ 424965 w 539429"/>
                    <a:gd name="connsiteY19" fmla="*/ 317345 h 317345"/>
                    <a:gd name="connsiteX20" fmla="*/ 485810 w 539429"/>
                    <a:gd name="connsiteY20" fmla="*/ 264296 h 317345"/>
                    <a:gd name="connsiteX21" fmla="*/ 522317 w 539429"/>
                    <a:gd name="connsiteY21" fmla="*/ 264296 h 317345"/>
                    <a:gd name="connsiteX22" fmla="*/ 539430 w 539429"/>
                    <a:gd name="connsiteY22" fmla="*/ 247183 h 317345"/>
                    <a:gd name="connsiteX23" fmla="*/ 539430 w 539429"/>
                    <a:gd name="connsiteY23" fmla="*/ 229500 h 317345"/>
                    <a:gd name="connsiteX24" fmla="*/ 530113 w 539429"/>
                    <a:gd name="connsiteY24" fmla="*/ 214669 h 317345"/>
                    <a:gd name="connsiteX25" fmla="*/ 16542 w 539429"/>
                    <a:gd name="connsiteY25" fmla="*/ 175880 h 317345"/>
                    <a:gd name="connsiteX26" fmla="*/ 35366 w 539429"/>
                    <a:gd name="connsiteY26" fmla="*/ 175880 h 317345"/>
                    <a:gd name="connsiteX27" fmla="*/ 35366 w 539429"/>
                    <a:gd name="connsiteY27" fmla="*/ 202880 h 317345"/>
                    <a:gd name="connsiteX28" fmla="*/ 26049 w 539429"/>
                    <a:gd name="connsiteY28" fmla="*/ 212197 h 317345"/>
                    <a:gd name="connsiteX29" fmla="*/ 16542 w 539429"/>
                    <a:gd name="connsiteY29" fmla="*/ 212197 h 317345"/>
                    <a:gd name="connsiteX30" fmla="*/ 16542 w 539429"/>
                    <a:gd name="connsiteY30" fmla="*/ 175880 h 317345"/>
                    <a:gd name="connsiteX31" fmla="*/ 149831 w 539429"/>
                    <a:gd name="connsiteY31" fmla="*/ 300803 h 317345"/>
                    <a:gd name="connsiteX32" fmla="*/ 105148 w 539429"/>
                    <a:gd name="connsiteY32" fmla="*/ 256120 h 317345"/>
                    <a:gd name="connsiteX33" fmla="*/ 105148 w 539429"/>
                    <a:gd name="connsiteY33" fmla="*/ 256120 h 317345"/>
                    <a:gd name="connsiteX34" fmla="*/ 105148 w 539429"/>
                    <a:gd name="connsiteY34" fmla="*/ 256120 h 317345"/>
                    <a:gd name="connsiteX35" fmla="*/ 149831 w 539429"/>
                    <a:gd name="connsiteY35" fmla="*/ 211437 h 317345"/>
                    <a:gd name="connsiteX36" fmla="*/ 194704 w 539429"/>
                    <a:gd name="connsiteY36" fmla="*/ 256120 h 317345"/>
                    <a:gd name="connsiteX37" fmla="*/ 149831 w 539429"/>
                    <a:gd name="connsiteY37" fmla="*/ 300803 h 317345"/>
                    <a:gd name="connsiteX38" fmla="*/ 327803 w 539429"/>
                    <a:gd name="connsiteY38" fmla="*/ 247754 h 317345"/>
                    <a:gd name="connsiteX39" fmla="*/ 210486 w 539429"/>
                    <a:gd name="connsiteY39" fmla="*/ 247754 h 317345"/>
                    <a:gd name="connsiteX40" fmla="*/ 149641 w 539429"/>
                    <a:gd name="connsiteY40" fmla="*/ 194704 h 317345"/>
                    <a:gd name="connsiteX41" fmla="*/ 88796 w 539429"/>
                    <a:gd name="connsiteY41" fmla="*/ 247754 h 317345"/>
                    <a:gd name="connsiteX42" fmla="*/ 26049 w 539429"/>
                    <a:gd name="connsiteY42" fmla="*/ 247754 h 317345"/>
                    <a:gd name="connsiteX43" fmla="*/ 16732 w 539429"/>
                    <a:gd name="connsiteY43" fmla="*/ 238437 h 317345"/>
                    <a:gd name="connsiteX44" fmla="*/ 16732 w 539429"/>
                    <a:gd name="connsiteY44" fmla="*/ 229120 h 317345"/>
                    <a:gd name="connsiteX45" fmla="*/ 26049 w 539429"/>
                    <a:gd name="connsiteY45" fmla="*/ 229120 h 317345"/>
                    <a:gd name="connsiteX46" fmla="*/ 52099 w 539429"/>
                    <a:gd name="connsiteY46" fmla="*/ 203070 h 317345"/>
                    <a:gd name="connsiteX47" fmla="*/ 52099 w 539429"/>
                    <a:gd name="connsiteY47" fmla="*/ 167704 h 317345"/>
                    <a:gd name="connsiteX48" fmla="*/ 43732 w 539429"/>
                    <a:gd name="connsiteY48" fmla="*/ 159338 h 317345"/>
                    <a:gd name="connsiteX49" fmla="*/ 16542 w 539429"/>
                    <a:gd name="connsiteY49" fmla="*/ 159338 h 317345"/>
                    <a:gd name="connsiteX50" fmla="*/ 16542 w 539429"/>
                    <a:gd name="connsiteY50" fmla="*/ 26049 h 317345"/>
                    <a:gd name="connsiteX51" fmla="*/ 25859 w 539429"/>
                    <a:gd name="connsiteY51" fmla="*/ 16732 h 317345"/>
                    <a:gd name="connsiteX52" fmla="*/ 318296 w 539429"/>
                    <a:gd name="connsiteY52" fmla="*/ 16732 h 317345"/>
                    <a:gd name="connsiteX53" fmla="*/ 327613 w 539429"/>
                    <a:gd name="connsiteY53" fmla="*/ 26049 h 317345"/>
                    <a:gd name="connsiteX54" fmla="*/ 327613 w 539429"/>
                    <a:gd name="connsiteY54" fmla="*/ 247754 h 317345"/>
                    <a:gd name="connsiteX55" fmla="*/ 363169 w 539429"/>
                    <a:gd name="connsiteY55" fmla="*/ 247754 h 317345"/>
                    <a:gd name="connsiteX56" fmla="*/ 344345 w 539429"/>
                    <a:gd name="connsiteY56" fmla="*/ 247754 h 317345"/>
                    <a:gd name="connsiteX57" fmla="*/ 344345 w 539429"/>
                    <a:gd name="connsiteY57" fmla="*/ 211246 h 317345"/>
                    <a:gd name="connsiteX58" fmla="*/ 363169 w 539429"/>
                    <a:gd name="connsiteY58" fmla="*/ 211246 h 317345"/>
                    <a:gd name="connsiteX59" fmla="*/ 363169 w 539429"/>
                    <a:gd name="connsiteY59" fmla="*/ 247754 h 317345"/>
                    <a:gd name="connsiteX60" fmla="*/ 379711 w 539429"/>
                    <a:gd name="connsiteY60" fmla="*/ 43923 h 317345"/>
                    <a:gd name="connsiteX61" fmla="*/ 380282 w 539429"/>
                    <a:gd name="connsiteY61" fmla="*/ 43352 h 317345"/>
                    <a:gd name="connsiteX62" fmla="*/ 439606 w 539429"/>
                    <a:gd name="connsiteY62" fmla="*/ 43352 h 317345"/>
                    <a:gd name="connsiteX63" fmla="*/ 462993 w 539429"/>
                    <a:gd name="connsiteY63" fmla="*/ 56852 h 317345"/>
                    <a:gd name="connsiteX64" fmla="*/ 466035 w 539429"/>
                    <a:gd name="connsiteY64" fmla="*/ 62176 h 317345"/>
                    <a:gd name="connsiteX65" fmla="*/ 379711 w 539429"/>
                    <a:gd name="connsiteY65" fmla="*/ 62176 h 317345"/>
                    <a:gd name="connsiteX66" fmla="*/ 379711 w 539429"/>
                    <a:gd name="connsiteY66" fmla="*/ 43923 h 317345"/>
                    <a:gd name="connsiteX67" fmla="*/ 379711 w 539429"/>
                    <a:gd name="connsiteY67" fmla="*/ 78718 h 317345"/>
                    <a:gd name="connsiteX68" fmla="*/ 475732 w 539429"/>
                    <a:gd name="connsiteY68" fmla="*/ 78718 h 317345"/>
                    <a:gd name="connsiteX69" fmla="*/ 509768 w 539429"/>
                    <a:gd name="connsiteY69" fmla="*/ 137092 h 317345"/>
                    <a:gd name="connsiteX70" fmla="*/ 513380 w 539429"/>
                    <a:gd name="connsiteY70" fmla="*/ 150782 h 317345"/>
                    <a:gd name="connsiteX71" fmla="*/ 513380 w 539429"/>
                    <a:gd name="connsiteY71" fmla="*/ 159528 h 317345"/>
                    <a:gd name="connsiteX72" fmla="*/ 497218 w 539429"/>
                    <a:gd name="connsiteY72" fmla="*/ 159528 h 317345"/>
                    <a:gd name="connsiteX73" fmla="*/ 484289 w 539429"/>
                    <a:gd name="connsiteY73" fmla="*/ 154204 h 317345"/>
                    <a:gd name="connsiteX74" fmla="*/ 473261 w 539429"/>
                    <a:gd name="connsiteY74" fmla="*/ 143176 h 317345"/>
                    <a:gd name="connsiteX75" fmla="*/ 448732 w 539429"/>
                    <a:gd name="connsiteY75" fmla="*/ 132908 h 317345"/>
                    <a:gd name="connsiteX76" fmla="*/ 379521 w 539429"/>
                    <a:gd name="connsiteY76" fmla="*/ 132908 h 317345"/>
                    <a:gd name="connsiteX77" fmla="*/ 379521 w 539429"/>
                    <a:gd name="connsiteY77" fmla="*/ 78718 h 317345"/>
                    <a:gd name="connsiteX78" fmla="*/ 424585 w 539429"/>
                    <a:gd name="connsiteY78" fmla="*/ 300803 h 317345"/>
                    <a:gd name="connsiteX79" fmla="*/ 379901 w 539429"/>
                    <a:gd name="connsiteY79" fmla="*/ 255930 h 317345"/>
                    <a:gd name="connsiteX80" fmla="*/ 424585 w 539429"/>
                    <a:gd name="connsiteY80" fmla="*/ 211246 h 317345"/>
                    <a:gd name="connsiteX81" fmla="*/ 469268 w 539429"/>
                    <a:gd name="connsiteY81" fmla="*/ 255930 h 317345"/>
                    <a:gd name="connsiteX82" fmla="*/ 424585 w 539429"/>
                    <a:gd name="connsiteY82" fmla="*/ 300803 h 317345"/>
                    <a:gd name="connsiteX83" fmla="*/ 486951 w 539429"/>
                    <a:gd name="connsiteY83" fmla="*/ 229500 h 317345"/>
                    <a:gd name="connsiteX84" fmla="*/ 486951 w 539429"/>
                    <a:gd name="connsiteY84" fmla="*/ 247754 h 317345"/>
                    <a:gd name="connsiteX85" fmla="*/ 485239 w 539429"/>
                    <a:gd name="connsiteY85" fmla="*/ 247754 h 317345"/>
                    <a:gd name="connsiteX86" fmla="*/ 424394 w 539429"/>
                    <a:gd name="connsiteY86" fmla="*/ 194704 h 317345"/>
                    <a:gd name="connsiteX87" fmla="*/ 379711 w 539429"/>
                    <a:gd name="connsiteY87" fmla="*/ 214099 h 317345"/>
                    <a:gd name="connsiteX88" fmla="*/ 379711 w 539429"/>
                    <a:gd name="connsiteY88" fmla="*/ 149261 h 317345"/>
                    <a:gd name="connsiteX89" fmla="*/ 448923 w 539429"/>
                    <a:gd name="connsiteY89" fmla="*/ 149261 h 317345"/>
                    <a:gd name="connsiteX90" fmla="*/ 461852 w 539429"/>
                    <a:gd name="connsiteY90" fmla="*/ 154585 h 317345"/>
                    <a:gd name="connsiteX91" fmla="*/ 472880 w 539429"/>
                    <a:gd name="connsiteY91" fmla="*/ 165613 h 317345"/>
                    <a:gd name="connsiteX92" fmla="*/ 497408 w 539429"/>
                    <a:gd name="connsiteY92" fmla="*/ 175880 h 317345"/>
                    <a:gd name="connsiteX93" fmla="*/ 513570 w 539429"/>
                    <a:gd name="connsiteY93" fmla="*/ 175880 h 317345"/>
                    <a:gd name="connsiteX94" fmla="*/ 513570 w 539429"/>
                    <a:gd name="connsiteY94" fmla="*/ 212387 h 317345"/>
                    <a:gd name="connsiteX95" fmla="*/ 504254 w 539429"/>
                    <a:gd name="connsiteY95" fmla="*/ 212387 h 317345"/>
                    <a:gd name="connsiteX96" fmla="*/ 486951 w 539429"/>
                    <a:gd name="connsiteY96" fmla="*/ 229500 h 317345"/>
                    <a:gd name="connsiteX97" fmla="*/ 522317 w 539429"/>
                    <a:gd name="connsiteY97" fmla="*/ 247183 h 317345"/>
                    <a:gd name="connsiteX98" fmla="*/ 521746 w 539429"/>
                    <a:gd name="connsiteY98" fmla="*/ 247754 h 317345"/>
                    <a:gd name="connsiteX99" fmla="*/ 503493 w 539429"/>
                    <a:gd name="connsiteY99" fmla="*/ 247754 h 317345"/>
                    <a:gd name="connsiteX100" fmla="*/ 503493 w 539429"/>
                    <a:gd name="connsiteY100" fmla="*/ 229500 h 317345"/>
                    <a:gd name="connsiteX101" fmla="*/ 504063 w 539429"/>
                    <a:gd name="connsiteY101" fmla="*/ 228930 h 317345"/>
                    <a:gd name="connsiteX102" fmla="*/ 521746 w 539429"/>
                    <a:gd name="connsiteY102" fmla="*/ 228930 h 317345"/>
                    <a:gd name="connsiteX103" fmla="*/ 522317 w 539429"/>
                    <a:gd name="connsiteY103" fmla="*/ 229500 h 317345"/>
                    <a:gd name="connsiteX104" fmla="*/ 522317 w 539429"/>
                    <a:gd name="connsiteY104" fmla="*/ 247183 h 317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539429" h="317345">
                      <a:moveTo>
                        <a:pt x="530113" y="214669"/>
                      </a:moveTo>
                      <a:lnTo>
                        <a:pt x="530113" y="150782"/>
                      </a:lnTo>
                      <a:cubicBezTo>
                        <a:pt x="530113" y="142986"/>
                        <a:pt x="528021" y="135380"/>
                        <a:pt x="524218" y="128725"/>
                      </a:cubicBezTo>
                      <a:lnTo>
                        <a:pt x="477254" y="48296"/>
                      </a:lnTo>
                      <a:cubicBezTo>
                        <a:pt x="469458" y="34986"/>
                        <a:pt x="455007" y="26620"/>
                        <a:pt x="439606" y="26620"/>
                      </a:cubicBezTo>
                      <a:lnTo>
                        <a:pt x="380282" y="26620"/>
                      </a:lnTo>
                      <a:cubicBezTo>
                        <a:pt x="370775" y="26620"/>
                        <a:pt x="363169" y="34225"/>
                        <a:pt x="363169" y="43732"/>
                      </a:cubicBezTo>
                      <a:lnTo>
                        <a:pt x="363169" y="194704"/>
                      </a:lnTo>
                      <a:lnTo>
                        <a:pt x="344345" y="194704"/>
                      </a:lnTo>
                      <a:lnTo>
                        <a:pt x="344345" y="26049"/>
                      </a:lnTo>
                      <a:cubicBezTo>
                        <a:pt x="344345" y="11789"/>
                        <a:pt x="332746" y="0"/>
                        <a:pt x="318296" y="0"/>
                      </a:cubicBezTo>
                      <a:lnTo>
                        <a:pt x="26049" y="0"/>
                      </a:lnTo>
                      <a:cubicBezTo>
                        <a:pt x="11789" y="0"/>
                        <a:pt x="0" y="11599"/>
                        <a:pt x="0" y="26049"/>
                      </a:cubicBezTo>
                      <a:lnTo>
                        <a:pt x="0" y="238246"/>
                      </a:lnTo>
                      <a:cubicBezTo>
                        <a:pt x="0" y="252507"/>
                        <a:pt x="11599" y="264296"/>
                        <a:pt x="26049" y="264296"/>
                      </a:cubicBezTo>
                      <a:lnTo>
                        <a:pt x="89176" y="264296"/>
                      </a:lnTo>
                      <a:cubicBezTo>
                        <a:pt x="93169" y="294148"/>
                        <a:pt x="118838" y="317345"/>
                        <a:pt x="150021" y="317345"/>
                      </a:cubicBezTo>
                      <a:cubicBezTo>
                        <a:pt x="181014" y="317345"/>
                        <a:pt x="206683" y="294148"/>
                        <a:pt x="210866" y="264296"/>
                      </a:cubicBezTo>
                      <a:lnTo>
                        <a:pt x="364120" y="264296"/>
                      </a:lnTo>
                      <a:cubicBezTo>
                        <a:pt x="368113" y="294148"/>
                        <a:pt x="393972" y="317345"/>
                        <a:pt x="424965" y="317345"/>
                      </a:cubicBezTo>
                      <a:cubicBezTo>
                        <a:pt x="455958" y="317345"/>
                        <a:pt x="481627" y="294148"/>
                        <a:pt x="485810" y="264296"/>
                      </a:cubicBezTo>
                      <a:lnTo>
                        <a:pt x="522317" y="264296"/>
                      </a:lnTo>
                      <a:cubicBezTo>
                        <a:pt x="531824" y="264296"/>
                        <a:pt x="539430" y="256690"/>
                        <a:pt x="539430" y="247183"/>
                      </a:cubicBezTo>
                      <a:lnTo>
                        <a:pt x="539430" y="229500"/>
                      </a:lnTo>
                      <a:cubicBezTo>
                        <a:pt x="539049" y="223225"/>
                        <a:pt x="535437" y="217521"/>
                        <a:pt x="530113" y="214669"/>
                      </a:cubicBezTo>
                      <a:close/>
                      <a:moveTo>
                        <a:pt x="16542" y="175880"/>
                      </a:moveTo>
                      <a:lnTo>
                        <a:pt x="35366" y="175880"/>
                      </a:lnTo>
                      <a:lnTo>
                        <a:pt x="35366" y="202880"/>
                      </a:lnTo>
                      <a:cubicBezTo>
                        <a:pt x="35366" y="208014"/>
                        <a:pt x="31183" y="212197"/>
                        <a:pt x="26049" y="212197"/>
                      </a:cubicBezTo>
                      <a:lnTo>
                        <a:pt x="16542" y="212197"/>
                      </a:lnTo>
                      <a:lnTo>
                        <a:pt x="16542" y="175880"/>
                      </a:lnTo>
                      <a:close/>
                      <a:moveTo>
                        <a:pt x="149831" y="300803"/>
                      </a:moveTo>
                      <a:cubicBezTo>
                        <a:pt x="125113" y="300803"/>
                        <a:pt x="105148" y="280648"/>
                        <a:pt x="105148" y="256120"/>
                      </a:cubicBezTo>
                      <a:lnTo>
                        <a:pt x="105148" y="256120"/>
                      </a:lnTo>
                      <a:lnTo>
                        <a:pt x="105148" y="256120"/>
                      </a:lnTo>
                      <a:cubicBezTo>
                        <a:pt x="105148" y="231401"/>
                        <a:pt x="125303" y="211437"/>
                        <a:pt x="149831" y="211437"/>
                      </a:cubicBezTo>
                      <a:cubicBezTo>
                        <a:pt x="174549" y="211437"/>
                        <a:pt x="194704" y="231592"/>
                        <a:pt x="194704" y="256120"/>
                      </a:cubicBezTo>
                      <a:cubicBezTo>
                        <a:pt x="194514" y="280838"/>
                        <a:pt x="174549" y="300803"/>
                        <a:pt x="149831" y="300803"/>
                      </a:cubicBezTo>
                      <a:close/>
                      <a:moveTo>
                        <a:pt x="327803" y="247754"/>
                      </a:moveTo>
                      <a:lnTo>
                        <a:pt x="210486" y="247754"/>
                      </a:lnTo>
                      <a:cubicBezTo>
                        <a:pt x="206493" y="217901"/>
                        <a:pt x="180634" y="194704"/>
                        <a:pt x="149641" y="194704"/>
                      </a:cubicBezTo>
                      <a:cubicBezTo>
                        <a:pt x="118648" y="194704"/>
                        <a:pt x="92979" y="217901"/>
                        <a:pt x="88796" y="247754"/>
                      </a:cubicBezTo>
                      <a:lnTo>
                        <a:pt x="26049" y="247754"/>
                      </a:lnTo>
                      <a:cubicBezTo>
                        <a:pt x="20915" y="247754"/>
                        <a:pt x="16732" y="243570"/>
                        <a:pt x="16732" y="238437"/>
                      </a:cubicBezTo>
                      <a:lnTo>
                        <a:pt x="16732" y="229120"/>
                      </a:lnTo>
                      <a:lnTo>
                        <a:pt x="26049" y="229120"/>
                      </a:lnTo>
                      <a:cubicBezTo>
                        <a:pt x="40310" y="229120"/>
                        <a:pt x="52099" y="217521"/>
                        <a:pt x="52099" y="203070"/>
                      </a:cubicBezTo>
                      <a:lnTo>
                        <a:pt x="52099" y="167704"/>
                      </a:lnTo>
                      <a:cubicBezTo>
                        <a:pt x="52099" y="163141"/>
                        <a:pt x="48296" y="159338"/>
                        <a:pt x="43732" y="159338"/>
                      </a:cubicBezTo>
                      <a:lnTo>
                        <a:pt x="16542" y="159338"/>
                      </a:lnTo>
                      <a:lnTo>
                        <a:pt x="16542" y="26049"/>
                      </a:lnTo>
                      <a:cubicBezTo>
                        <a:pt x="16542" y="20915"/>
                        <a:pt x="20725" y="16732"/>
                        <a:pt x="25859" y="16732"/>
                      </a:cubicBezTo>
                      <a:lnTo>
                        <a:pt x="318296" y="16732"/>
                      </a:lnTo>
                      <a:cubicBezTo>
                        <a:pt x="323430" y="16732"/>
                        <a:pt x="327613" y="20915"/>
                        <a:pt x="327613" y="26049"/>
                      </a:cubicBezTo>
                      <a:lnTo>
                        <a:pt x="327613" y="247754"/>
                      </a:lnTo>
                      <a:close/>
                      <a:moveTo>
                        <a:pt x="363169" y="247754"/>
                      </a:moveTo>
                      <a:lnTo>
                        <a:pt x="344345" y="247754"/>
                      </a:lnTo>
                      <a:lnTo>
                        <a:pt x="344345" y="211246"/>
                      </a:lnTo>
                      <a:lnTo>
                        <a:pt x="363169" y="211246"/>
                      </a:lnTo>
                      <a:lnTo>
                        <a:pt x="363169" y="247754"/>
                      </a:lnTo>
                      <a:close/>
                      <a:moveTo>
                        <a:pt x="379711" y="43923"/>
                      </a:moveTo>
                      <a:cubicBezTo>
                        <a:pt x="379711" y="43542"/>
                        <a:pt x="379901" y="43352"/>
                        <a:pt x="380282" y="43352"/>
                      </a:cubicBezTo>
                      <a:lnTo>
                        <a:pt x="439606" y="43352"/>
                      </a:lnTo>
                      <a:cubicBezTo>
                        <a:pt x="449303" y="43352"/>
                        <a:pt x="458239" y="48486"/>
                        <a:pt x="462993" y="56852"/>
                      </a:cubicBezTo>
                      <a:lnTo>
                        <a:pt x="466035" y="62176"/>
                      </a:lnTo>
                      <a:lnTo>
                        <a:pt x="379711" y="62176"/>
                      </a:lnTo>
                      <a:lnTo>
                        <a:pt x="379711" y="43923"/>
                      </a:lnTo>
                      <a:close/>
                      <a:moveTo>
                        <a:pt x="379711" y="78718"/>
                      </a:moveTo>
                      <a:lnTo>
                        <a:pt x="475732" y="78718"/>
                      </a:lnTo>
                      <a:lnTo>
                        <a:pt x="509768" y="137092"/>
                      </a:lnTo>
                      <a:cubicBezTo>
                        <a:pt x="512239" y="141275"/>
                        <a:pt x="513380" y="146028"/>
                        <a:pt x="513380" y="150782"/>
                      </a:cubicBezTo>
                      <a:lnTo>
                        <a:pt x="513380" y="159528"/>
                      </a:lnTo>
                      <a:lnTo>
                        <a:pt x="497218" y="159528"/>
                      </a:lnTo>
                      <a:cubicBezTo>
                        <a:pt x="492275" y="159528"/>
                        <a:pt x="487711" y="157627"/>
                        <a:pt x="484289" y="154204"/>
                      </a:cubicBezTo>
                      <a:lnTo>
                        <a:pt x="473261" y="143176"/>
                      </a:lnTo>
                      <a:cubicBezTo>
                        <a:pt x="466606" y="136521"/>
                        <a:pt x="457859" y="132908"/>
                        <a:pt x="448732" y="132908"/>
                      </a:cubicBezTo>
                      <a:lnTo>
                        <a:pt x="379521" y="132908"/>
                      </a:lnTo>
                      <a:lnTo>
                        <a:pt x="379521" y="78718"/>
                      </a:lnTo>
                      <a:close/>
                      <a:moveTo>
                        <a:pt x="424585" y="300803"/>
                      </a:moveTo>
                      <a:cubicBezTo>
                        <a:pt x="399866" y="300803"/>
                        <a:pt x="379901" y="280648"/>
                        <a:pt x="379901" y="255930"/>
                      </a:cubicBezTo>
                      <a:cubicBezTo>
                        <a:pt x="379901" y="231211"/>
                        <a:pt x="400056" y="211246"/>
                        <a:pt x="424585" y="211246"/>
                      </a:cubicBezTo>
                      <a:cubicBezTo>
                        <a:pt x="449303" y="211246"/>
                        <a:pt x="469268" y="231401"/>
                        <a:pt x="469268" y="255930"/>
                      </a:cubicBezTo>
                      <a:cubicBezTo>
                        <a:pt x="469268" y="280838"/>
                        <a:pt x="449303" y="300803"/>
                        <a:pt x="424585" y="300803"/>
                      </a:cubicBezTo>
                      <a:close/>
                      <a:moveTo>
                        <a:pt x="486951" y="229500"/>
                      </a:moveTo>
                      <a:lnTo>
                        <a:pt x="486951" y="247754"/>
                      </a:lnTo>
                      <a:lnTo>
                        <a:pt x="485239" y="247754"/>
                      </a:lnTo>
                      <a:cubicBezTo>
                        <a:pt x="481247" y="217901"/>
                        <a:pt x="455387" y="194704"/>
                        <a:pt x="424394" y="194704"/>
                      </a:cubicBezTo>
                      <a:cubicBezTo>
                        <a:pt x="406711" y="194704"/>
                        <a:pt x="390739" y="202120"/>
                        <a:pt x="379711" y="214099"/>
                      </a:cubicBezTo>
                      <a:lnTo>
                        <a:pt x="379711" y="149261"/>
                      </a:lnTo>
                      <a:lnTo>
                        <a:pt x="448923" y="149261"/>
                      </a:lnTo>
                      <a:cubicBezTo>
                        <a:pt x="453866" y="149261"/>
                        <a:pt x="458430" y="151162"/>
                        <a:pt x="461852" y="154585"/>
                      </a:cubicBezTo>
                      <a:lnTo>
                        <a:pt x="472880" y="165613"/>
                      </a:lnTo>
                      <a:cubicBezTo>
                        <a:pt x="479535" y="172268"/>
                        <a:pt x="488282" y="175880"/>
                        <a:pt x="497408" y="175880"/>
                      </a:cubicBezTo>
                      <a:lnTo>
                        <a:pt x="513570" y="175880"/>
                      </a:lnTo>
                      <a:lnTo>
                        <a:pt x="513570" y="212387"/>
                      </a:lnTo>
                      <a:lnTo>
                        <a:pt x="504254" y="212387"/>
                      </a:lnTo>
                      <a:cubicBezTo>
                        <a:pt x="494747" y="212387"/>
                        <a:pt x="486951" y="220183"/>
                        <a:pt x="486951" y="229500"/>
                      </a:cubicBezTo>
                      <a:close/>
                      <a:moveTo>
                        <a:pt x="522317" y="247183"/>
                      </a:moveTo>
                      <a:cubicBezTo>
                        <a:pt x="522317" y="247563"/>
                        <a:pt x="522127" y="247754"/>
                        <a:pt x="521746" y="247754"/>
                      </a:cubicBezTo>
                      <a:lnTo>
                        <a:pt x="503493" y="247754"/>
                      </a:lnTo>
                      <a:lnTo>
                        <a:pt x="503493" y="229500"/>
                      </a:lnTo>
                      <a:cubicBezTo>
                        <a:pt x="503493" y="229120"/>
                        <a:pt x="503683" y="228930"/>
                        <a:pt x="504063" y="228930"/>
                      </a:cubicBezTo>
                      <a:lnTo>
                        <a:pt x="521746" y="228930"/>
                      </a:lnTo>
                      <a:cubicBezTo>
                        <a:pt x="522127" y="228930"/>
                        <a:pt x="522317" y="229120"/>
                        <a:pt x="522317" y="229500"/>
                      </a:cubicBezTo>
                      <a:lnTo>
                        <a:pt x="522317" y="247183"/>
                      </a:lnTo>
                      <a:close/>
                    </a:path>
                  </a:pathLst>
                </a:custGeom>
                <a:grpFill/>
                <a:ln w="1878" cap="flat">
                  <a:noFill/>
                  <a:prstDash val="solid"/>
                  <a:miter/>
                </a:ln>
              </p:spPr>
              <p:txBody>
                <a:bodyPr rtlCol="0" anchor="ctr"/>
                <a:lstStyle/>
                <a:p>
                  <a:endParaRPr lang="en-GB" noProof="0" dirty="0"/>
                </a:p>
              </p:txBody>
            </p:sp>
          </p:grpSp>
        </p:grpSp>
      </p:grpSp>
      <p:grpSp>
        <p:nvGrpSpPr>
          <p:cNvPr id="28" name="Gruppieren 27">
            <a:extLst>
              <a:ext uri="{FF2B5EF4-FFF2-40B4-BE49-F238E27FC236}">
                <a16:creationId xmlns:a16="http://schemas.microsoft.com/office/drawing/2014/main" id="{F59E3CCF-36B9-70F6-1E06-37ACAB8E8F24}"/>
              </a:ext>
            </a:extLst>
          </p:cNvPr>
          <p:cNvGrpSpPr/>
          <p:nvPr/>
        </p:nvGrpSpPr>
        <p:grpSpPr>
          <a:xfrm>
            <a:off x="5975737" y="1974442"/>
            <a:ext cx="525837" cy="273398"/>
            <a:chOff x="5975737" y="2528742"/>
            <a:chExt cx="525837" cy="273398"/>
          </a:xfrm>
        </p:grpSpPr>
        <p:grpSp>
          <p:nvGrpSpPr>
            <p:cNvPr id="27" name="Gruppieren 26">
              <a:extLst>
                <a:ext uri="{FF2B5EF4-FFF2-40B4-BE49-F238E27FC236}">
                  <a16:creationId xmlns:a16="http://schemas.microsoft.com/office/drawing/2014/main" id="{1F78A50B-F075-C51C-3BA3-AEE766C1EC19}"/>
                </a:ext>
              </a:extLst>
            </p:cNvPr>
            <p:cNvGrpSpPr/>
            <p:nvPr/>
          </p:nvGrpSpPr>
          <p:grpSpPr>
            <a:xfrm>
              <a:off x="5975737" y="2528742"/>
              <a:ext cx="525837" cy="273398"/>
              <a:chOff x="5975737" y="2528742"/>
              <a:chExt cx="525837" cy="273398"/>
            </a:xfrm>
          </p:grpSpPr>
          <p:grpSp>
            <p:nvGrpSpPr>
              <p:cNvPr id="212" name="Grafik 164">
                <a:extLst>
                  <a:ext uri="{FF2B5EF4-FFF2-40B4-BE49-F238E27FC236}">
                    <a16:creationId xmlns:a16="http://schemas.microsoft.com/office/drawing/2014/main" id="{1943DFD0-8CC1-2B19-7F34-FDD59158E439}"/>
                  </a:ext>
                </a:extLst>
              </p:cNvPr>
              <p:cNvGrpSpPr/>
              <p:nvPr/>
            </p:nvGrpSpPr>
            <p:grpSpPr>
              <a:xfrm rot="10800000">
                <a:off x="6298922" y="2638908"/>
                <a:ext cx="202652" cy="163232"/>
                <a:chOff x="4059000" y="3629342"/>
                <a:chExt cx="276692" cy="163488"/>
              </a:xfrm>
              <a:solidFill>
                <a:schemeClr val="bg1"/>
              </a:solidFill>
            </p:grpSpPr>
            <p:grpSp>
              <p:nvGrpSpPr>
                <p:cNvPr id="213" name="Grafik 164">
                  <a:extLst>
                    <a:ext uri="{FF2B5EF4-FFF2-40B4-BE49-F238E27FC236}">
                      <a16:creationId xmlns:a16="http://schemas.microsoft.com/office/drawing/2014/main" id="{4C8DF139-0D3A-B354-29B8-7605EBA7BF7F}"/>
                    </a:ext>
                  </a:extLst>
                </p:cNvPr>
                <p:cNvGrpSpPr/>
                <p:nvPr/>
              </p:nvGrpSpPr>
              <p:grpSpPr>
                <a:xfrm>
                  <a:off x="4059000" y="3629342"/>
                  <a:ext cx="276692" cy="163488"/>
                  <a:chOff x="4059000" y="3629342"/>
                  <a:chExt cx="276692" cy="163488"/>
                </a:xfrm>
                <a:grpFill/>
              </p:grpSpPr>
              <p:grpSp>
                <p:nvGrpSpPr>
                  <p:cNvPr id="214" name="Grafik 164">
                    <a:extLst>
                      <a:ext uri="{FF2B5EF4-FFF2-40B4-BE49-F238E27FC236}">
                        <a16:creationId xmlns:a16="http://schemas.microsoft.com/office/drawing/2014/main" id="{C38EE157-883D-E863-9E30-0A2A80EE83B9}"/>
                      </a:ext>
                    </a:extLst>
                  </p:cNvPr>
                  <p:cNvGrpSpPr/>
                  <p:nvPr/>
                </p:nvGrpSpPr>
                <p:grpSpPr>
                  <a:xfrm>
                    <a:off x="4059000" y="3629342"/>
                    <a:ext cx="276692" cy="163488"/>
                    <a:chOff x="4059000" y="3629342"/>
                    <a:chExt cx="276692" cy="163488"/>
                  </a:xfrm>
                  <a:grpFill/>
                </p:grpSpPr>
                <p:sp>
                  <p:nvSpPr>
                    <p:cNvPr id="215" name="Freihandform: Form 214">
                      <a:extLst>
                        <a:ext uri="{FF2B5EF4-FFF2-40B4-BE49-F238E27FC236}">
                          <a16:creationId xmlns:a16="http://schemas.microsoft.com/office/drawing/2014/main" id="{9AA8FE45-3D0D-6FA8-8666-B3F80FAA97E8}"/>
                        </a:ext>
                      </a:extLst>
                    </p:cNvPr>
                    <p:cNvSpPr/>
                    <p:nvPr/>
                  </p:nvSpPr>
                  <p:spPr>
                    <a:xfrm rot="-2699514">
                      <a:off x="4059000" y="362934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16" name="Freihandform: Form 215">
                      <a:extLst>
                        <a:ext uri="{FF2B5EF4-FFF2-40B4-BE49-F238E27FC236}">
                          <a16:creationId xmlns:a16="http://schemas.microsoft.com/office/drawing/2014/main" id="{6F2B6863-9D48-4A79-ED40-E47D1BD7E45A}"/>
                        </a:ext>
                      </a:extLst>
                    </p:cNvPr>
                    <p:cNvSpPr/>
                    <p:nvPr/>
                  </p:nvSpPr>
                  <p:spPr>
                    <a:xfrm rot="-2700000">
                      <a:off x="4176983" y="3750810"/>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17" name="Freihandform: Form 216">
                      <a:extLst>
                        <a:ext uri="{FF2B5EF4-FFF2-40B4-BE49-F238E27FC236}">
                          <a16:creationId xmlns:a16="http://schemas.microsoft.com/office/drawing/2014/main" id="{6FA259BA-8A82-D3A7-A1B7-08A0564A4AC8}"/>
                        </a:ext>
                      </a:extLst>
                    </p:cNvPr>
                    <p:cNvSpPr/>
                    <p:nvPr/>
                  </p:nvSpPr>
                  <p:spPr>
                    <a:xfrm rot="-2700486">
                      <a:off x="4138571" y="3707435"/>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18" name="Freihandform: Form 217">
                      <a:extLst>
                        <a:ext uri="{FF2B5EF4-FFF2-40B4-BE49-F238E27FC236}">
                          <a16:creationId xmlns:a16="http://schemas.microsoft.com/office/drawing/2014/main" id="{5442B1D2-92B7-CC8B-21FE-C5AFA5791BA5}"/>
                        </a:ext>
                      </a:extLst>
                    </p:cNvPr>
                    <p:cNvSpPr/>
                    <p:nvPr/>
                  </p:nvSpPr>
                  <p:spPr>
                    <a:xfrm>
                      <a:off x="4099764" y="3666795"/>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19" name="Freihandform: Form 218">
                      <a:extLst>
                        <a:ext uri="{FF2B5EF4-FFF2-40B4-BE49-F238E27FC236}">
                          <a16:creationId xmlns:a16="http://schemas.microsoft.com/office/drawing/2014/main" id="{1A9DE54B-77A3-DDBA-4071-104C9EB51637}"/>
                        </a:ext>
                      </a:extLst>
                    </p:cNvPr>
                    <p:cNvSpPr/>
                    <p:nvPr/>
                  </p:nvSpPr>
                  <p:spPr>
                    <a:xfrm rot="-2700486">
                      <a:off x="4293672" y="3632801"/>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20" name="Freihandform: Form 219">
                      <a:extLst>
                        <a:ext uri="{FF2B5EF4-FFF2-40B4-BE49-F238E27FC236}">
                          <a16:creationId xmlns:a16="http://schemas.microsoft.com/office/drawing/2014/main" id="{7E412844-0456-A498-7AA5-B1AE8D31254C}"/>
                        </a:ext>
                      </a:extLst>
                    </p:cNvPr>
                    <p:cNvSpPr/>
                    <p:nvPr/>
                  </p:nvSpPr>
                  <p:spPr>
                    <a:xfrm rot="-2699514">
                      <a:off x="4218148" y="362934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21" name="Freihandform: Form 220">
                      <a:extLst>
                        <a:ext uri="{FF2B5EF4-FFF2-40B4-BE49-F238E27FC236}">
                          <a16:creationId xmlns:a16="http://schemas.microsoft.com/office/drawing/2014/main" id="{FDA9C4E1-C5CF-F1FB-D09B-464CE39E11E9}"/>
                        </a:ext>
                      </a:extLst>
                    </p:cNvPr>
                    <p:cNvSpPr/>
                    <p:nvPr/>
                  </p:nvSpPr>
                  <p:spPr>
                    <a:xfrm rot="-2700486">
                      <a:off x="4253529" y="367459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22" name="Freihandform: Form 221">
                      <a:extLst>
                        <a:ext uri="{FF2B5EF4-FFF2-40B4-BE49-F238E27FC236}">
                          <a16:creationId xmlns:a16="http://schemas.microsoft.com/office/drawing/2014/main" id="{9EC5F321-3040-FB8F-9E51-4E7201C8B342}"/>
                        </a:ext>
                      </a:extLst>
                    </p:cNvPr>
                    <p:cNvSpPr/>
                    <p:nvPr/>
                  </p:nvSpPr>
                  <p:spPr>
                    <a:xfrm>
                      <a:off x="4172588" y="3661851"/>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23" name="Freihandform: Form 222">
                      <a:extLst>
                        <a:ext uri="{FF2B5EF4-FFF2-40B4-BE49-F238E27FC236}">
                          <a16:creationId xmlns:a16="http://schemas.microsoft.com/office/drawing/2014/main" id="{3E6975F0-139B-B8CE-B4E6-B38A683ED73E}"/>
                        </a:ext>
                      </a:extLst>
                    </p:cNvPr>
                    <p:cNvSpPr/>
                    <p:nvPr/>
                  </p:nvSpPr>
                  <p:spPr>
                    <a:xfrm>
                      <a:off x="4211567" y="3711668"/>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grpSp>
            </p:grpSp>
          </p:grpSp>
          <p:grpSp>
            <p:nvGrpSpPr>
              <p:cNvPr id="19" name="Gruppieren 18">
                <a:extLst>
                  <a:ext uri="{FF2B5EF4-FFF2-40B4-BE49-F238E27FC236}">
                    <a16:creationId xmlns:a16="http://schemas.microsoft.com/office/drawing/2014/main" id="{B717F614-D6B9-53EC-8330-DB88CA430A5E}"/>
                  </a:ext>
                </a:extLst>
              </p:cNvPr>
              <p:cNvGrpSpPr/>
              <p:nvPr/>
            </p:nvGrpSpPr>
            <p:grpSpPr>
              <a:xfrm>
                <a:off x="5975737" y="2528742"/>
                <a:ext cx="488172" cy="253674"/>
                <a:chOff x="5975737" y="2528742"/>
                <a:chExt cx="488172" cy="253674"/>
              </a:xfrm>
            </p:grpSpPr>
            <p:grpSp>
              <p:nvGrpSpPr>
                <p:cNvPr id="172" name="Grafik 164">
                  <a:extLst>
                    <a:ext uri="{FF2B5EF4-FFF2-40B4-BE49-F238E27FC236}">
                      <a16:creationId xmlns:a16="http://schemas.microsoft.com/office/drawing/2014/main" id="{96F74C4D-A693-4721-77F4-7D87E6AE148B}"/>
                    </a:ext>
                  </a:extLst>
                </p:cNvPr>
                <p:cNvGrpSpPr/>
                <p:nvPr/>
              </p:nvGrpSpPr>
              <p:grpSpPr>
                <a:xfrm rot="10800000">
                  <a:off x="5975737" y="2619184"/>
                  <a:ext cx="202652" cy="163232"/>
                  <a:chOff x="4059000" y="3629342"/>
                  <a:chExt cx="276692" cy="163488"/>
                </a:xfrm>
                <a:solidFill>
                  <a:schemeClr val="accent3">
                    <a:lumMod val="75000"/>
                  </a:schemeClr>
                </a:solidFill>
              </p:grpSpPr>
              <p:grpSp>
                <p:nvGrpSpPr>
                  <p:cNvPr id="173" name="Grafik 164">
                    <a:extLst>
                      <a:ext uri="{FF2B5EF4-FFF2-40B4-BE49-F238E27FC236}">
                        <a16:creationId xmlns:a16="http://schemas.microsoft.com/office/drawing/2014/main" id="{2AD8C363-D690-47D1-5CA4-159225D03BA0}"/>
                      </a:ext>
                    </a:extLst>
                  </p:cNvPr>
                  <p:cNvGrpSpPr/>
                  <p:nvPr/>
                </p:nvGrpSpPr>
                <p:grpSpPr>
                  <a:xfrm>
                    <a:off x="4059000" y="3629342"/>
                    <a:ext cx="276692" cy="163488"/>
                    <a:chOff x="4059000" y="3629342"/>
                    <a:chExt cx="276692" cy="163488"/>
                  </a:xfrm>
                  <a:grpFill/>
                </p:grpSpPr>
                <p:grpSp>
                  <p:nvGrpSpPr>
                    <p:cNvPr id="174" name="Grafik 164">
                      <a:extLst>
                        <a:ext uri="{FF2B5EF4-FFF2-40B4-BE49-F238E27FC236}">
                          <a16:creationId xmlns:a16="http://schemas.microsoft.com/office/drawing/2014/main" id="{F663E0D7-80F4-6F2A-EB56-30F33AA7E5FE}"/>
                        </a:ext>
                      </a:extLst>
                    </p:cNvPr>
                    <p:cNvGrpSpPr/>
                    <p:nvPr/>
                  </p:nvGrpSpPr>
                  <p:grpSpPr>
                    <a:xfrm>
                      <a:off x="4059000" y="3629342"/>
                      <a:ext cx="276692" cy="163488"/>
                      <a:chOff x="4059000" y="3629342"/>
                      <a:chExt cx="276692" cy="163488"/>
                    </a:xfrm>
                    <a:grpFill/>
                  </p:grpSpPr>
                  <p:sp>
                    <p:nvSpPr>
                      <p:cNvPr id="175" name="Freihandform: Form 174">
                        <a:extLst>
                          <a:ext uri="{FF2B5EF4-FFF2-40B4-BE49-F238E27FC236}">
                            <a16:creationId xmlns:a16="http://schemas.microsoft.com/office/drawing/2014/main" id="{31A61208-FA96-BCB6-6FDF-12E7C8F5DAE0}"/>
                          </a:ext>
                        </a:extLst>
                      </p:cNvPr>
                      <p:cNvSpPr/>
                      <p:nvPr/>
                    </p:nvSpPr>
                    <p:spPr>
                      <a:xfrm rot="-2699514">
                        <a:off x="4059000" y="362934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176" name="Freihandform: Form 175">
                        <a:extLst>
                          <a:ext uri="{FF2B5EF4-FFF2-40B4-BE49-F238E27FC236}">
                            <a16:creationId xmlns:a16="http://schemas.microsoft.com/office/drawing/2014/main" id="{3E01C594-99E0-F10D-68B6-E0BE38C40F57}"/>
                          </a:ext>
                        </a:extLst>
                      </p:cNvPr>
                      <p:cNvSpPr/>
                      <p:nvPr/>
                    </p:nvSpPr>
                    <p:spPr>
                      <a:xfrm rot="-2700000">
                        <a:off x="4176983" y="3750810"/>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177" name="Freihandform: Form 176">
                        <a:extLst>
                          <a:ext uri="{FF2B5EF4-FFF2-40B4-BE49-F238E27FC236}">
                            <a16:creationId xmlns:a16="http://schemas.microsoft.com/office/drawing/2014/main" id="{276C47EE-96D5-3F0C-5E27-1C58E0E4AECA}"/>
                          </a:ext>
                        </a:extLst>
                      </p:cNvPr>
                      <p:cNvSpPr/>
                      <p:nvPr/>
                    </p:nvSpPr>
                    <p:spPr>
                      <a:xfrm rot="-2700486">
                        <a:off x="4138571" y="3707435"/>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178" name="Freihandform: Form 177">
                        <a:extLst>
                          <a:ext uri="{FF2B5EF4-FFF2-40B4-BE49-F238E27FC236}">
                            <a16:creationId xmlns:a16="http://schemas.microsoft.com/office/drawing/2014/main" id="{D898B47E-C09A-9031-B119-D62505676593}"/>
                          </a:ext>
                        </a:extLst>
                      </p:cNvPr>
                      <p:cNvSpPr/>
                      <p:nvPr/>
                    </p:nvSpPr>
                    <p:spPr>
                      <a:xfrm>
                        <a:off x="4099764" y="3666795"/>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179" name="Freihandform: Form 178">
                        <a:extLst>
                          <a:ext uri="{FF2B5EF4-FFF2-40B4-BE49-F238E27FC236}">
                            <a16:creationId xmlns:a16="http://schemas.microsoft.com/office/drawing/2014/main" id="{080CE5CE-B918-032B-EFBE-21415C4C668C}"/>
                          </a:ext>
                        </a:extLst>
                      </p:cNvPr>
                      <p:cNvSpPr/>
                      <p:nvPr/>
                    </p:nvSpPr>
                    <p:spPr>
                      <a:xfrm rot="-2700486">
                        <a:off x="4293672" y="3632801"/>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180" name="Freihandform: Form 179">
                        <a:extLst>
                          <a:ext uri="{FF2B5EF4-FFF2-40B4-BE49-F238E27FC236}">
                            <a16:creationId xmlns:a16="http://schemas.microsoft.com/office/drawing/2014/main" id="{C9E6DBAE-CD62-4488-25AC-28DAC785C22A}"/>
                          </a:ext>
                        </a:extLst>
                      </p:cNvPr>
                      <p:cNvSpPr/>
                      <p:nvPr/>
                    </p:nvSpPr>
                    <p:spPr>
                      <a:xfrm rot="-2699514">
                        <a:off x="4218148" y="362934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181" name="Freihandform: Form 180">
                        <a:extLst>
                          <a:ext uri="{FF2B5EF4-FFF2-40B4-BE49-F238E27FC236}">
                            <a16:creationId xmlns:a16="http://schemas.microsoft.com/office/drawing/2014/main" id="{8846C89B-7CF5-0775-9B09-A5BA821F64E6}"/>
                          </a:ext>
                        </a:extLst>
                      </p:cNvPr>
                      <p:cNvSpPr/>
                      <p:nvPr/>
                    </p:nvSpPr>
                    <p:spPr>
                      <a:xfrm rot="-2700486">
                        <a:off x="4253529" y="367459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182" name="Freihandform: Form 181">
                        <a:extLst>
                          <a:ext uri="{FF2B5EF4-FFF2-40B4-BE49-F238E27FC236}">
                            <a16:creationId xmlns:a16="http://schemas.microsoft.com/office/drawing/2014/main" id="{66A17ED8-A3FF-A65D-B2D9-050C88CCF6AC}"/>
                          </a:ext>
                        </a:extLst>
                      </p:cNvPr>
                      <p:cNvSpPr/>
                      <p:nvPr/>
                    </p:nvSpPr>
                    <p:spPr>
                      <a:xfrm>
                        <a:off x="4172588" y="3661851"/>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183" name="Freihandform: Form 182">
                        <a:extLst>
                          <a:ext uri="{FF2B5EF4-FFF2-40B4-BE49-F238E27FC236}">
                            <a16:creationId xmlns:a16="http://schemas.microsoft.com/office/drawing/2014/main" id="{F4B66A6F-F9EE-E09A-7515-F991BC932FCA}"/>
                          </a:ext>
                        </a:extLst>
                      </p:cNvPr>
                      <p:cNvSpPr/>
                      <p:nvPr/>
                    </p:nvSpPr>
                    <p:spPr>
                      <a:xfrm>
                        <a:off x="4211567" y="3711668"/>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grpSp>
              </p:grpSp>
            </p:grpSp>
            <p:grpSp>
              <p:nvGrpSpPr>
                <p:cNvPr id="184" name="Grafik 164">
                  <a:extLst>
                    <a:ext uri="{FF2B5EF4-FFF2-40B4-BE49-F238E27FC236}">
                      <a16:creationId xmlns:a16="http://schemas.microsoft.com/office/drawing/2014/main" id="{861F4B4C-7C1F-CABD-291B-5DFD31202619}"/>
                    </a:ext>
                  </a:extLst>
                </p:cNvPr>
                <p:cNvGrpSpPr/>
                <p:nvPr/>
              </p:nvGrpSpPr>
              <p:grpSpPr>
                <a:xfrm rot="10800000">
                  <a:off x="6050998" y="2528742"/>
                  <a:ext cx="202652" cy="163232"/>
                  <a:chOff x="4059000" y="3629342"/>
                  <a:chExt cx="276692" cy="163488"/>
                </a:xfrm>
                <a:solidFill>
                  <a:srgbClr val="5CB68A"/>
                </a:solidFill>
              </p:grpSpPr>
              <p:grpSp>
                <p:nvGrpSpPr>
                  <p:cNvPr id="185" name="Grafik 164">
                    <a:extLst>
                      <a:ext uri="{FF2B5EF4-FFF2-40B4-BE49-F238E27FC236}">
                        <a16:creationId xmlns:a16="http://schemas.microsoft.com/office/drawing/2014/main" id="{FB5721DD-D9EC-6FD1-1CEE-143B2E3DC2CD}"/>
                      </a:ext>
                    </a:extLst>
                  </p:cNvPr>
                  <p:cNvGrpSpPr/>
                  <p:nvPr/>
                </p:nvGrpSpPr>
                <p:grpSpPr>
                  <a:xfrm>
                    <a:off x="4059000" y="3629342"/>
                    <a:ext cx="276692" cy="163488"/>
                    <a:chOff x="4059000" y="3629342"/>
                    <a:chExt cx="276692" cy="163488"/>
                  </a:xfrm>
                  <a:grpFill/>
                </p:grpSpPr>
                <p:grpSp>
                  <p:nvGrpSpPr>
                    <p:cNvPr id="186" name="Grafik 164">
                      <a:extLst>
                        <a:ext uri="{FF2B5EF4-FFF2-40B4-BE49-F238E27FC236}">
                          <a16:creationId xmlns:a16="http://schemas.microsoft.com/office/drawing/2014/main" id="{48C8C3E1-D106-A504-1947-991C29826198}"/>
                        </a:ext>
                      </a:extLst>
                    </p:cNvPr>
                    <p:cNvGrpSpPr/>
                    <p:nvPr/>
                  </p:nvGrpSpPr>
                  <p:grpSpPr>
                    <a:xfrm>
                      <a:off x="4059000" y="3629342"/>
                      <a:ext cx="276692" cy="163488"/>
                      <a:chOff x="4059000" y="3629342"/>
                      <a:chExt cx="276692" cy="163488"/>
                    </a:xfrm>
                    <a:grpFill/>
                  </p:grpSpPr>
                  <p:sp>
                    <p:nvSpPr>
                      <p:cNvPr id="187" name="Freihandform: Form 186">
                        <a:extLst>
                          <a:ext uri="{FF2B5EF4-FFF2-40B4-BE49-F238E27FC236}">
                            <a16:creationId xmlns:a16="http://schemas.microsoft.com/office/drawing/2014/main" id="{B470604E-426C-1AF9-7045-B4554CF6ADF1}"/>
                          </a:ext>
                        </a:extLst>
                      </p:cNvPr>
                      <p:cNvSpPr/>
                      <p:nvPr/>
                    </p:nvSpPr>
                    <p:spPr>
                      <a:xfrm rot="-2699514">
                        <a:off x="4059000" y="362934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188" name="Freihandform: Form 187">
                        <a:extLst>
                          <a:ext uri="{FF2B5EF4-FFF2-40B4-BE49-F238E27FC236}">
                            <a16:creationId xmlns:a16="http://schemas.microsoft.com/office/drawing/2014/main" id="{8F5FC672-8AAD-2ECB-7D02-FA1D2E6E1284}"/>
                          </a:ext>
                        </a:extLst>
                      </p:cNvPr>
                      <p:cNvSpPr/>
                      <p:nvPr/>
                    </p:nvSpPr>
                    <p:spPr>
                      <a:xfrm rot="-2700000">
                        <a:off x="4176983" y="3750810"/>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189" name="Freihandform: Form 188">
                        <a:extLst>
                          <a:ext uri="{FF2B5EF4-FFF2-40B4-BE49-F238E27FC236}">
                            <a16:creationId xmlns:a16="http://schemas.microsoft.com/office/drawing/2014/main" id="{AA00903F-76C3-09D0-4FBC-A39362E05489}"/>
                          </a:ext>
                        </a:extLst>
                      </p:cNvPr>
                      <p:cNvSpPr/>
                      <p:nvPr/>
                    </p:nvSpPr>
                    <p:spPr>
                      <a:xfrm rot="-2700486">
                        <a:off x="4138571" y="3707435"/>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190" name="Freihandform: Form 189">
                        <a:extLst>
                          <a:ext uri="{FF2B5EF4-FFF2-40B4-BE49-F238E27FC236}">
                            <a16:creationId xmlns:a16="http://schemas.microsoft.com/office/drawing/2014/main" id="{89B055A1-7556-45D7-410E-3361DA880D8D}"/>
                          </a:ext>
                        </a:extLst>
                      </p:cNvPr>
                      <p:cNvSpPr/>
                      <p:nvPr/>
                    </p:nvSpPr>
                    <p:spPr>
                      <a:xfrm>
                        <a:off x="4099764" y="3666795"/>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191" name="Freihandform: Form 190">
                        <a:extLst>
                          <a:ext uri="{FF2B5EF4-FFF2-40B4-BE49-F238E27FC236}">
                            <a16:creationId xmlns:a16="http://schemas.microsoft.com/office/drawing/2014/main" id="{07FA1ED6-A4E5-7704-96A8-7D7098D3AAE9}"/>
                          </a:ext>
                        </a:extLst>
                      </p:cNvPr>
                      <p:cNvSpPr/>
                      <p:nvPr/>
                    </p:nvSpPr>
                    <p:spPr>
                      <a:xfrm rot="-2700486">
                        <a:off x="4293672" y="3632801"/>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192" name="Freihandform: Form 191">
                        <a:extLst>
                          <a:ext uri="{FF2B5EF4-FFF2-40B4-BE49-F238E27FC236}">
                            <a16:creationId xmlns:a16="http://schemas.microsoft.com/office/drawing/2014/main" id="{CAD6D999-03C9-EF88-5B30-4CD23B504B15}"/>
                          </a:ext>
                        </a:extLst>
                      </p:cNvPr>
                      <p:cNvSpPr/>
                      <p:nvPr/>
                    </p:nvSpPr>
                    <p:spPr>
                      <a:xfrm rot="-2699514">
                        <a:off x="4218148" y="362934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193" name="Freihandform: Form 192">
                        <a:extLst>
                          <a:ext uri="{FF2B5EF4-FFF2-40B4-BE49-F238E27FC236}">
                            <a16:creationId xmlns:a16="http://schemas.microsoft.com/office/drawing/2014/main" id="{A4CFE3C7-8275-4C6A-90F0-3CDD1CB95FE2}"/>
                          </a:ext>
                        </a:extLst>
                      </p:cNvPr>
                      <p:cNvSpPr/>
                      <p:nvPr/>
                    </p:nvSpPr>
                    <p:spPr>
                      <a:xfrm rot="-2700486">
                        <a:off x="4253529" y="367459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194" name="Freihandform: Form 193">
                        <a:extLst>
                          <a:ext uri="{FF2B5EF4-FFF2-40B4-BE49-F238E27FC236}">
                            <a16:creationId xmlns:a16="http://schemas.microsoft.com/office/drawing/2014/main" id="{85E9F645-DC7F-B301-1494-7888CB35D558}"/>
                          </a:ext>
                        </a:extLst>
                      </p:cNvPr>
                      <p:cNvSpPr/>
                      <p:nvPr/>
                    </p:nvSpPr>
                    <p:spPr>
                      <a:xfrm>
                        <a:off x="4172588" y="3661851"/>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11" name="Freihandform: Form 210">
                        <a:extLst>
                          <a:ext uri="{FF2B5EF4-FFF2-40B4-BE49-F238E27FC236}">
                            <a16:creationId xmlns:a16="http://schemas.microsoft.com/office/drawing/2014/main" id="{E5C1977B-8C15-16A0-96CA-EEB6FD0DCF6D}"/>
                          </a:ext>
                        </a:extLst>
                      </p:cNvPr>
                      <p:cNvSpPr/>
                      <p:nvPr/>
                    </p:nvSpPr>
                    <p:spPr>
                      <a:xfrm>
                        <a:off x="4211567" y="3711668"/>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grpSp>
              </p:grpSp>
            </p:grpSp>
            <p:grpSp>
              <p:nvGrpSpPr>
                <p:cNvPr id="224" name="Grafik 164">
                  <a:extLst>
                    <a:ext uri="{FF2B5EF4-FFF2-40B4-BE49-F238E27FC236}">
                      <a16:creationId xmlns:a16="http://schemas.microsoft.com/office/drawing/2014/main" id="{92FC301C-B82D-2B60-B77E-923716DA7A20}"/>
                    </a:ext>
                  </a:extLst>
                </p:cNvPr>
                <p:cNvGrpSpPr/>
                <p:nvPr/>
              </p:nvGrpSpPr>
              <p:grpSpPr>
                <a:xfrm rot="10800000">
                  <a:off x="6261257" y="2562735"/>
                  <a:ext cx="202652" cy="163232"/>
                  <a:chOff x="4059000" y="3629342"/>
                  <a:chExt cx="276692" cy="163488"/>
                </a:xfrm>
                <a:solidFill>
                  <a:schemeClr val="bg1"/>
                </a:solidFill>
              </p:grpSpPr>
              <p:grpSp>
                <p:nvGrpSpPr>
                  <p:cNvPr id="225" name="Grafik 164">
                    <a:extLst>
                      <a:ext uri="{FF2B5EF4-FFF2-40B4-BE49-F238E27FC236}">
                        <a16:creationId xmlns:a16="http://schemas.microsoft.com/office/drawing/2014/main" id="{B0E60B21-3A06-BCDD-E498-2B7A96E09CAD}"/>
                      </a:ext>
                    </a:extLst>
                  </p:cNvPr>
                  <p:cNvGrpSpPr/>
                  <p:nvPr/>
                </p:nvGrpSpPr>
                <p:grpSpPr>
                  <a:xfrm>
                    <a:off x="4059000" y="3629342"/>
                    <a:ext cx="276692" cy="163488"/>
                    <a:chOff x="4059000" y="3629342"/>
                    <a:chExt cx="276692" cy="163488"/>
                  </a:xfrm>
                  <a:grpFill/>
                </p:grpSpPr>
                <p:grpSp>
                  <p:nvGrpSpPr>
                    <p:cNvPr id="226" name="Grafik 164">
                      <a:extLst>
                        <a:ext uri="{FF2B5EF4-FFF2-40B4-BE49-F238E27FC236}">
                          <a16:creationId xmlns:a16="http://schemas.microsoft.com/office/drawing/2014/main" id="{68EFCACF-D050-9A34-2FBA-585271C06427}"/>
                        </a:ext>
                      </a:extLst>
                    </p:cNvPr>
                    <p:cNvGrpSpPr/>
                    <p:nvPr/>
                  </p:nvGrpSpPr>
                  <p:grpSpPr>
                    <a:xfrm>
                      <a:off x="4059000" y="3629342"/>
                      <a:ext cx="276692" cy="163488"/>
                      <a:chOff x="4059000" y="3629342"/>
                      <a:chExt cx="276692" cy="163488"/>
                    </a:xfrm>
                    <a:grpFill/>
                  </p:grpSpPr>
                  <p:sp>
                    <p:nvSpPr>
                      <p:cNvPr id="227" name="Freihandform: Form 226">
                        <a:extLst>
                          <a:ext uri="{FF2B5EF4-FFF2-40B4-BE49-F238E27FC236}">
                            <a16:creationId xmlns:a16="http://schemas.microsoft.com/office/drawing/2014/main" id="{E06E72B8-5109-13A8-6D0E-E5C886674D85}"/>
                          </a:ext>
                        </a:extLst>
                      </p:cNvPr>
                      <p:cNvSpPr/>
                      <p:nvPr/>
                    </p:nvSpPr>
                    <p:spPr>
                      <a:xfrm rot="-2699514">
                        <a:off x="4059000" y="362934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28" name="Freihandform: Form 227">
                        <a:extLst>
                          <a:ext uri="{FF2B5EF4-FFF2-40B4-BE49-F238E27FC236}">
                            <a16:creationId xmlns:a16="http://schemas.microsoft.com/office/drawing/2014/main" id="{5E37C871-13BC-7609-118D-7EEA79277E01}"/>
                          </a:ext>
                        </a:extLst>
                      </p:cNvPr>
                      <p:cNvSpPr/>
                      <p:nvPr/>
                    </p:nvSpPr>
                    <p:spPr>
                      <a:xfrm rot="-2700000">
                        <a:off x="4176983" y="3750810"/>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29" name="Freihandform: Form 228">
                        <a:extLst>
                          <a:ext uri="{FF2B5EF4-FFF2-40B4-BE49-F238E27FC236}">
                            <a16:creationId xmlns:a16="http://schemas.microsoft.com/office/drawing/2014/main" id="{28E1FD73-B899-44A3-F132-1DE64BF6FF15}"/>
                          </a:ext>
                        </a:extLst>
                      </p:cNvPr>
                      <p:cNvSpPr/>
                      <p:nvPr/>
                    </p:nvSpPr>
                    <p:spPr>
                      <a:xfrm rot="-2700486">
                        <a:off x="4138571" y="3707435"/>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30" name="Freihandform: Form 229">
                        <a:extLst>
                          <a:ext uri="{FF2B5EF4-FFF2-40B4-BE49-F238E27FC236}">
                            <a16:creationId xmlns:a16="http://schemas.microsoft.com/office/drawing/2014/main" id="{4952B7DB-8DC5-FF9E-5E00-981632A27B7F}"/>
                          </a:ext>
                        </a:extLst>
                      </p:cNvPr>
                      <p:cNvSpPr/>
                      <p:nvPr/>
                    </p:nvSpPr>
                    <p:spPr>
                      <a:xfrm>
                        <a:off x="4099764" y="3666795"/>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31" name="Freihandform: Form 230">
                        <a:extLst>
                          <a:ext uri="{FF2B5EF4-FFF2-40B4-BE49-F238E27FC236}">
                            <a16:creationId xmlns:a16="http://schemas.microsoft.com/office/drawing/2014/main" id="{48FE9269-FF0F-7D69-BEEC-C0BF9BBA871E}"/>
                          </a:ext>
                        </a:extLst>
                      </p:cNvPr>
                      <p:cNvSpPr/>
                      <p:nvPr/>
                    </p:nvSpPr>
                    <p:spPr>
                      <a:xfrm rot="-2700486">
                        <a:off x="4293672" y="3632801"/>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32" name="Freihandform: Form 231">
                        <a:extLst>
                          <a:ext uri="{FF2B5EF4-FFF2-40B4-BE49-F238E27FC236}">
                            <a16:creationId xmlns:a16="http://schemas.microsoft.com/office/drawing/2014/main" id="{C0FFD8E9-8398-3606-9BA2-B2B3F2DF6615}"/>
                          </a:ext>
                        </a:extLst>
                      </p:cNvPr>
                      <p:cNvSpPr/>
                      <p:nvPr/>
                    </p:nvSpPr>
                    <p:spPr>
                      <a:xfrm rot="-2699514">
                        <a:off x="4218148" y="362934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33" name="Freihandform: Form 232">
                        <a:extLst>
                          <a:ext uri="{FF2B5EF4-FFF2-40B4-BE49-F238E27FC236}">
                            <a16:creationId xmlns:a16="http://schemas.microsoft.com/office/drawing/2014/main" id="{967C17CD-34B0-3805-4D77-2D86D3EAF362}"/>
                          </a:ext>
                        </a:extLst>
                      </p:cNvPr>
                      <p:cNvSpPr/>
                      <p:nvPr/>
                    </p:nvSpPr>
                    <p:spPr>
                      <a:xfrm rot="-2700486">
                        <a:off x="4253529" y="367459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34" name="Freihandform: Form 233">
                        <a:extLst>
                          <a:ext uri="{FF2B5EF4-FFF2-40B4-BE49-F238E27FC236}">
                            <a16:creationId xmlns:a16="http://schemas.microsoft.com/office/drawing/2014/main" id="{C05C33BB-3245-07C8-F42C-BA056C270DA1}"/>
                          </a:ext>
                        </a:extLst>
                      </p:cNvPr>
                      <p:cNvSpPr/>
                      <p:nvPr/>
                    </p:nvSpPr>
                    <p:spPr>
                      <a:xfrm>
                        <a:off x="4172588" y="3661851"/>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38" name="Freihandform: Form 237">
                        <a:extLst>
                          <a:ext uri="{FF2B5EF4-FFF2-40B4-BE49-F238E27FC236}">
                            <a16:creationId xmlns:a16="http://schemas.microsoft.com/office/drawing/2014/main" id="{4B2E47D1-5AF6-1D2E-2AE8-DE6C4ED43591}"/>
                          </a:ext>
                        </a:extLst>
                      </p:cNvPr>
                      <p:cNvSpPr/>
                      <p:nvPr/>
                    </p:nvSpPr>
                    <p:spPr>
                      <a:xfrm>
                        <a:off x="4211567" y="3711668"/>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grpSp>
              </p:grpSp>
            </p:grpSp>
            <p:grpSp>
              <p:nvGrpSpPr>
                <p:cNvPr id="239" name="Grafik 164">
                  <a:extLst>
                    <a:ext uri="{FF2B5EF4-FFF2-40B4-BE49-F238E27FC236}">
                      <a16:creationId xmlns:a16="http://schemas.microsoft.com/office/drawing/2014/main" id="{EC3BE7C3-6320-F751-24E9-CF46034FE0FC}"/>
                    </a:ext>
                  </a:extLst>
                </p:cNvPr>
                <p:cNvGrpSpPr/>
                <p:nvPr/>
              </p:nvGrpSpPr>
              <p:grpSpPr>
                <a:xfrm rot="10800000">
                  <a:off x="6086063" y="2616713"/>
                  <a:ext cx="178658" cy="163639"/>
                  <a:chOff x="4059000" y="3629342"/>
                  <a:chExt cx="276692" cy="163488"/>
                </a:xfrm>
                <a:solidFill>
                  <a:srgbClr val="009252"/>
                </a:solidFill>
              </p:grpSpPr>
              <p:grpSp>
                <p:nvGrpSpPr>
                  <p:cNvPr id="240" name="Grafik 164">
                    <a:extLst>
                      <a:ext uri="{FF2B5EF4-FFF2-40B4-BE49-F238E27FC236}">
                        <a16:creationId xmlns:a16="http://schemas.microsoft.com/office/drawing/2014/main" id="{41E7A5CE-E84F-7DEC-9278-AB5225936387}"/>
                      </a:ext>
                    </a:extLst>
                  </p:cNvPr>
                  <p:cNvGrpSpPr/>
                  <p:nvPr/>
                </p:nvGrpSpPr>
                <p:grpSpPr>
                  <a:xfrm>
                    <a:off x="4059000" y="3629342"/>
                    <a:ext cx="276692" cy="163488"/>
                    <a:chOff x="4059000" y="3629342"/>
                    <a:chExt cx="276692" cy="163488"/>
                  </a:xfrm>
                  <a:grpFill/>
                </p:grpSpPr>
                <p:grpSp>
                  <p:nvGrpSpPr>
                    <p:cNvPr id="267" name="Grafik 164">
                      <a:extLst>
                        <a:ext uri="{FF2B5EF4-FFF2-40B4-BE49-F238E27FC236}">
                          <a16:creationId xmlns:a16="http://schemas.microsoft.com/office/drawing/2014/main" id="{C3608050-5809-55C3-3F02-2C98DD2CBCCF}"/>
                        </a:ext>
                      </a:extLst>
                    </p:cNvPr>
                    <p:cNvGrpSpPr/>
                    <p:nvPr/>
                  </p:nvGrpSpPr>
                  <p:grpSpPr>
                    <a:xfrm>
                      <a:off x="4059000" y="3629342"/>
                      <a:ext cx="276692" cy="163488"/>
                      <a:chOff x="4059000" y="3629342"/>
                      <a:chExt cx="276692" cy="163488"/>
                    </a:xfrm>
                    <a:grpFill/>
                  </p:grpSpPr>
                  <p:sp>
                    <p:nvSpPr>
                      <p:cNvPr id="268" name="Freihandform: Form 267">
                        <a:extLst>
                          <a:ext uri="{FF2B5EF4-FFF2-40B4-BE49-F238E27FC236}">
                            <a16:creationId xmlns:a16="http://schemas.microsoft.com/office/drawing/2014/main" id="{7AFCE9AA-B914-8DE8-BDEF-91A849D16A3F}"/>
                          </a:ext>
                        </a:extLst>
                      </p:cNvPr>
                      <p:cNvSpPr/>
                      <p:nvPr/>
                    </p:nvSpPr>
                    <p:spPr>
                      <a:xfrm rot="-2699514">
                        <a:off x="4059000" y="362934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69" name="Freihandform: Form 268">
                        <a:extLst>
                          <a:ext uri="{FF2B5EF4-FFF2-40B4-BE49-F238E27FC236}">
                            <a16:creationId xmlns:a16="http://schemas.microsoft.com/office/drawing/2014/main" id="{630FC6F8-D5A6-CD24-5C7E-AE68BFF68668}"/>
                          </a:ext>
                        </a:extLst>
                      </p:cNvPr>
                      <p:cNvSpPr/>
                      <p:nvPr/>
                    </p:nvSpPr>
                    <p:spPr>
                      <a:xfrm rot="-2700000">
                        <a:off x="4176983" y="3750810"/>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81" name="Freihandform: Form 280">
                        <a:extLst>
                          <a:ext uri="{FF2B5EF4-FFF2-40B4-BE49-F238E27FC236}">
                            <a16:creationId xmlns:a16="http://schemas.microsoft.com/office/drawing/2014/main" id="{78C80395-17CF-28E9-115E-7B1A6CBA29DB}"/>
                          </a:ext>
                        </a:extLst>
                      </p:cNvPr>
                      <p:cNvSpPr/>
                      <p:nvPr/>
                    </p:nvSpPr>
                    <p:spPr>
                      <a:xfrm rot="-2700486">
                        <a:off x="4138571" y="3707435"/>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82" name="Freihandform: Form 281">
                        <a:extLst>
                          <a:ext uri="{FF2B5EF4-FFF2-40B4-BE49-F238E27FC236}">
                            <a16:creationId xmlns:a16="http://schemas.microsoft.com/office/drawing/2014/main" id="{AD774433-7A19-D056-1D6A-342D538CAE08}"/>
                          </a:ext>
                        </a:extLst>
                      </p:cNvPr>
                      <p:cNvSpPr/>
                      <p:nvPr/>
                    </p:nvSpPr>
                    <p:spPr>
                      <a:xfrm>
                        <a:off x="4099764" y="3666795"/>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83" name="Freihandform: Form 282">
                        <a:extLst>
                          <a:ext uri="{FF2B5EF4-FFF2-40B4-BE49-F238E27FC236}">
                            <a16:creationId xmlns:a16="http://schemas.microsoft.com/office/drawing/2014/main" id="{BB039291-EE95-6DF9-0D38-4574D06A088D}"/>
                          </a:ext>
                        </a:extLst>
                      </p:cNvPr>
                      <p:cNvSpPr/>
                      <p:nvPr/>
                    </p:nvSpPr>
                    <p:spPr>
                      <a:xfrm rot="-2700486">
                        <a:off x="4293672" y="3632801"/>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302" name="Freihandform: Form 301">
                        <a:extLst>
                          <a:ext uri="{FF2B5EF4-FFF2-40B4-BE49-F238E27FC236}">
                            <a16:creationId xmlns:a16="http://schemas.microsoft.com/office/drawing/2014/main" id="{23AF3FA0-68EE-E0A2-BEB2-BDF338AA48DC}"/>
                          </a:ext>
                        </a:extLst>
                      </p:cNvPr>
                      <p:cNvSpPr/>
                      <p:nvPr/>
                    </p:nvSpPr>
                    <p:spPr>
                      <a:xfrm rot="-2699514">
                        <a:off x="4218148" y="362934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321" name="Freihandform: Form 320">
                        <a:extLst>
                          <a:ext uri="{FF2B5EF4-FFF2-40B4-BE49-F238E27FC236}">
                            <a16:creationId xmlns:a16="http://schemas.microsoft.com/office/drawing/2014/main" id="{6342740E-45AD-7B81-C2E4-BED058DD8ECF}"/>
                          </a:ext>
                        </a:extLst>
                      </p:cNvPr>
                      <p:cNvSpPr/>
                      <p:nvPr/>
                    </p:nvSpPr>
                    <p:spPr>
                      <a:xfrm rot="-2700486">
                        <a:off x="4253529" y="367459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322" name="Freihandform: Form 321">
                        <a:extLst>
                          <a:ext uri="{FF2B5EF4-FFF2-40B4-BE49-F238E27FC236}">
                            <a16:creationId xmlns:a16="http://schemas.microsoft.com/office/drawing/2014/main" id="{D111E054-85B1-45C9-743D-0DDEA8EE0A0C}"/>
                          </a:ext>
                        </a:extLst>
                      </p:cNvPr>
                      <p:cNvSpPr/>
                      <p:nvPr/>
                    </p:nvSpPr>
                    <p:spPr>
                      <a:xfrm>
                        <a:off x="4172588" y="3661851"/>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323" name="Freihandform: Form 322">
                        <a:extLst>
                          <a:ext uri="{FF2B5EF4-FFF2-40B4-BE49-F238E27FC236}">
                            <a16:creationId xmlns:a16="http://schemas.microsoft.com/office/drawing/2014/main" id="{3ED3511C-EBE0-1CBC-4849-FB0532433C0E}"/>
                          </a:ext>
                        </a:extLst>
                      </p:cNvPr>
                      <p:cNvSpPr/>
                      <p:nvPr/>
                    </p:nvSpPr>
                    <p:spPr>
                      <a:xfrm>
                        <a:off x="4211567" y="3711668"/>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grpSp>
              </p:grpSp>
            </p:grpSp>
          </p:grpSp>
        </p:grpSp>
        <p:grpSp>
          <p:nvGrpSpPr>
            <p:cNvPr id="354" name="Grafik 164">
              <a:extLst>
                <a:ext uri="{FF2B5EF4-FFF2-40B4-BE49-F238E27FC236}">
                  <a16:creationId xmlns:a16="http://schemas.microsoft.com/office/drawing/2014/main" id="{D0E0AAE0-A320-FC3E-0D7F-7619BE1812DF}"/>
                </a:ext>
              </a:extLst>
            </p:cNvPr>
            <p:cNvGrpSpPr/>
            <p:nvPr/>
          </p:nvGrpSpPr>
          <p:grpSpPr>
            <a:xfrm rot="10800000">
              <a:off x="6213737" y="2617034"/>
              <a:ext cx="178658" cy="163639"/>
              <a:chOff x="4059000" y="3629342"/>
              <a:chExt cx="276692" cy="163488"/>
            </a:xfrm>
            <a:solidFill>
              <a:schemeClr val="bg1"/>
            </a:solidFill>
          </p:grpSpPr>
          <p:grpSp>
            <p:nvGrpSpPr>
              <p:cNvPr id="355" name="Grafik 164">
                <a:extLst>
                  <a:ext uri="{FF2B5EF4-FFF2-40B4-BE49-F238E27FC236}">
                    <a16:creationId xmlns:a16="http://schemas.microsoft.com/office/drawing/2014/main" id="{85C0BFE6-9397-EAA6-25EE-E9BC04319CC9}"/>
                  </a:ext>
                </a:extLst>
              </p:cNvPr>
              <p:cNvGrpSpPr/>
              <p:nvPr/>
            </p:nvGrpSpPr>
            <p:grpSpPr>
              <a:xfrm>
                <a:off x="4059000" y="3629342"/>
                <a:ext cx="276692" cy="163488"/>
                <a:chOff x="4059000" y="3629342"/>
                <a:chExt cx="276692" cy="163488"/>
              </a:xfrm>
              <a:grpFill/>
            </p:grpSpPr>
            <p:grpSp>
              <p:nvGrpSpPr>
                <p:cNvPr id="356" name="Grafik 164">
                  <a:extLst>
                    <a:ext uri="{FF2B5EF4-FFF2-40B4-BE49-F238E27FC236}">
                      <a16:creationId xmlns:a16="http://schemas.microsoft.com/office/drawing/2014/main" id="{24987D8A-49E0-0060-C479-436F90C72A86}"/>
                    </a:ext>
                  </a:extLst>
                </p:cNvPr>
                <p:cNvGrpSpPr/>
                <p:nvPr/>
              </p:nvGrpSpPr>
              <p:grpSpPr>
                <a:xfrm>
                  <a:off x="4059000" y="3629342"/>
                  <a:ext cx="276692" cy="163488"/>
                  <a:chOff x="4059000" y="3629342"/>
                  <a:chExt cx="276692" cy="163488"/>
                </a:xfrm>
                <a:grpFill/>
              </p:grpSpPr>
              <p:sp>
                <p:nvSpPr>
                  <p:cNvPr id="357" name="Freihandform: Form 356">
                    <a:extLst>
                      <a:ext uri="{FF2B5EF4-FFF2-40B4-BE49-F238E27FC236}">
                        <a16:creationId xmlns:a16="http://schemas.microsoft.com/office/drawing/2014/main" id="{F14187B6-3709-5422-7C41-568F17FA3060}"/>
                      </a:ext>
                    </a:extLst>
                  </p:cNvPr>
                  <p:cNvSpPr/>
                  <p:nvPr/>
                </p:nvSpPr>
                <p:spPr>
                  <a:xfrm rot="-2699514">
                    <a:off x="4059000" y="362934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358" name="Freihandform: Form 357">
                    <a:extLst>
                      <a:ext uri="{FF2B5EF4-FFF2-40B4-BE49-F238E27FC236}">
                        <a16:creationId xmlns:a16="http://schemas.microsoft.com/office/drawing/2014/main" id="{769D58CE-6DDB-22A0-AEC0-B3705C9C0904}"/>
                      </a:ext>
                    </a:extLst>
                  </p:cNvPr>
                  <p:cNvSpPr/>
                  <p:nvPr/>
                </p:nvSpPr>
                <p:spPr>
                  <a:xfrm rot="-2700000">
                    <a:off x="4176983" y="3750810"/>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359" name="Freihandform: Form 358">
                    <a:extLst>
                      <a:ext uri="{FF2B5EF4-FFF2-40B4-BE49-F238E27FC236}">
                        <a16:creationId xmlns:a16="http://schemas.microsoft.com/office/drawing/2014/main" id="{C0A1000E-53A0-0D20-5E73-7D444F33F355}"/>
                      </a:ext>
                    </a:extLst>
                  </p:cNvPr>
                  <p:cNvSpPr/>
                  <p:nvPr/>
                </p:nvSpPr>
                <p:spPr>
                  <a:xfrm rot="-2700486">
                    <a:off x="4138571" y="3707435"/>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360" name="Freihandform: Form 359">
                    <a:extLst>
                      <a:ext uri="{FF2B5EF4-FFF2-40B4-BE49-F238E27FC236}">
                        <a16:creationId xmlns:a16="http://schemas.microsoft.com/office/drawing/2014/main" id="{B43E9450-FCD6-4849-438D-EF05208488A3}"/>
                      </a:ext>
                    </a:extLst>
                  </p:cNvPr>
                  <p:cNvSpPr/>
                  <p:nvPr/>
                </p:nvSpPr>
                <p:spPr>
                  <a:xfrm>
                    <a:off x="4099764" y="3666795"/>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361" name="Freihandform: Form 360">
                    <a:extLst>
                      <a:ext uri="{FF2B5EF4-FFF2-40B4-BE49-F238E27FC236}">
                        <a16:creationId xmlns:a16="http://schemas.microsoft.com/office/drawing/2014/main" id="{C94CBD74-0731-2B1C-6FFC-7D0C9463737C}"/>
                      </a:ext>
                    </a:extLst>
                  </p:cNvPr>
                  <p:cNvSpPr/>
                  <p:nvPr/>
                </p:nvSpPr>
                <p:spPr>
                  <a:xfrm rot="-2700486">
                    <a:off x="4293672" y="3632801"/>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362" name="Freihandform: Form 361">
                    <a:extLst>
                      <a:ext uri="{FF2B5EF4-FFF2-40B4-BE49-F238E27FC236}">
                        <a16:creationId xmlns:a16="http://schemas.microsoft.com/office/drawing/2014/main" id="{CF31BA08-817A-56A3-5738-AACA4738893E}"/>
                      </a:ext>
                    </a:extLst>
                  </p:cNvPr>
                  <p:cNvSpPr/>
                  <p:nvPr/>
                </p:nvSpPr>
                <p:spPr>
                  <a:xfrm rot="-2699514">
                    <a:off x="4218148" y="362934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363" name="Freihandform: Form 362">
                    <a:extLst>
                      <a:ext uri="{FF2B5EF4-FFF2-40B4-BE49-F238E27FC236}">
                        <a16:creationId xmlns:a16="http://schemas.microsoft.com/office/drawing/2014/main" id="{2C3FDE32-9936-E35A-2719-F87F20F7B79E}"/>
                      </a:ext>
                    </a:extLst>
                  </p:cNvPr>
                  <p:cNvSpPr/>
                  <p:nvPr/>
                </p:nvSpPr>
                <p:spPr>
                  <a:xfrm rot="-2700486">
                    <a:off x="4253529" y="367459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364" name="Freihandform: Form 363">
                    <a:extLst>
                      <a:ext uri="{FF2B5EF4-FFF2-40B4-BE49-F238E27FC236}">
                        <a16:creationId xmlns:a16="http://schemas.microsoft.com/office/drawing/2014/main" id="{08362626-30E6-04F8-178C-A16B8DFB17ED}"/>
                      </a:ext>
                    </a:extLst>
                  </p:cNvPr>
                  <p:cNvSpPr/>
                  <p:nvPr/>
                </p:nvSpPr>
                <p:spPr>
                  <a:xfrm>
                    <a:off x="4172588" y="3661851"/>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365" name="Freihandform: Form 364">
                    <a:extLst>
                      <a:ext uri="{FF2B5EF4-FFF2-40B4-BE49-F238E27FC236}">
                        <a16:creationId xmlns:a16="http://schemas.microsoft.com/office/drawing/2014/main" id="{897F4659-9512-43E4-8CCB-072EF8B224B9}"/>
                      </a:ext>
                    </a:extLst>
                  </p:cNvPr>
                  <p:cNvSpPr/>
                  <p:nvPr/>
                </p:nvSpPr>
                <p:spPr>
                  <a:xfrm>
                    <a:off x="4211567" y="3711668"/>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grpSp>
          </p:grpSp>
        </p:grpSp>
      </p:grpSp>
      <p:sp>
        <p:nvSpPr>
          <p:cNvPr id="378" name="Text Box 25">
            <a:extLst>
              <a:ext uri="{FF2B5EF4-FFF2-40B4-BE49-F238E27FC236}">
                <a16:creationId xmlns:a16="http://schemas.microsoft.com/office/drawing/2014/main" id="{81E96932-09B0-6A0C-E3CE-C7E36C548A07}"/>
              </a:ext>
            </a:extLst>
          </p:cNvPr>
          <p:cNvSpPr txBox="1">
            <a:spLocks noChangeArrowheads="1"/>
          </p:cNvSpPr>
          <p:nvPr/>
        </p:nvSpPr>
        <p:spPr bwMode="auto">
          <a:xfrm>
            <a:off x="1408322" y="3073830"/>
            <a:ext cx="1114572" cy="268149"/>
          </a:xfrm>
          <a:prstGeom prst="rect">
            <a:avLst/>
          </a:prstGeom>
          <a:noFill/>
          <a:ln w="12700">
            <a:noFill/>
            <a:miter lim="800000"/>
            <a:headEnd/>
            <a:tailEnd/>
          </a:ln>
        </p:spPr>
        <p:txBody>
          <a:bodyPr lIns="62308" tIns="29908" rIns="62308" bIns="29908">
            <a:spAutoFit/>
          </a:bodyPr>
          <a:lstStyle/>
          <a:p>
            <a:pPr>
              <a:spcBef>
                <a:spcPct val="50000"/>
              </a:spcBef>
            </a:pPr>
            <a:r>
              <a:rPr kumimoji="1" lang="en-GB" sz="675" noProof="0" dirty="0">
                <a:solidFill>
                  <a:srgbClr val="41474C"/>
                </a:solidFill>
                <a:latin typeface="Calibri" panose="020F0502020204030204" pitchFamily="34" charset="0"/>
                <a:cs typeface="Arial" charset="0"/>
              </a:rPr>
              <a:t>Recycling</a:t>
            </a:r>
            <a:br>
              <a:rPr kumimoji="1" lang="en-GB" sz="675" noProof="0" dirty="0">
                <a:solidFill>
                  <a:srgbClr val="41474C"/>
                </a:solidFill>
                <a:latin typeface="Calibri" panose="020F0502020204030204" pitchFamily="34" charset="0"/>
                <a:cs typeface="Arial" charset="0"/>
              </a:rPr>
            </a:br>
            <a:r>
              <a:rPr kumimoji="1" lang="en-GB" sz="675" noProof="0" dirty="0">
                <a:solidFill>
                  <a:srgbClr val="41474C"/>
                </a:solidFill>
                <a:latin typeface="Calibri" panose="020F0502020204030204" pitchFamily="34" charset="0"/>
                <a:cs typeface="Arial" charset="0"/>
              </a:rPr>
              <a:t>yards (MRF)</a:t>
            </a:r>
            <a:endParaRPr lang="en-GB" sz="675" noProof="0" dirty="0"/>
          </a:p>
        </p:txBody>
      </p:sp>
      <p:grpSp>
        <p:nvGrpSpPr>
          <p:cNvPr id="414" name="Grafik 42">
            <a:extLst>
              <a:ext uri="{FF2B5EF4-FFF2-40B4-BE49-F238E27FC236}">
                <a16:creationId xmlns:a16="http://schemas.microsoft.com/office/drawing/2014/main" id="{C723B8ED-DB08-FC74-DDC8-D50424DFF89F}"/>
              </a:ext>
            </a:extLst>
          </p:cNvPr>
          <p:cNvGrpSpPr>
            <a:grpSpLocks noChangeAspect="1"/>
          </p:cNvGrpSpPr>
          <p:nvPr/>
        </p:nvGrpSpPr>
        <p:grpSpPr>
          <a:xfrm>
            <a:off x="3333825" y="2074854"/>
            <a:ext cx="360000" cy="360000"/>
            <a:chOff x="1890251" y="3930400"/>
            <a:chExt cx="540000" cy="540000"/>
          </a:xfrm>
          <a:solidFill>
            <a:schemeClr val="accent1"/>
          </a:solidFill>
        </p:grpSpPr>
        <p:grpSp>
          <p:nvGrpSpPr>
            <p:cNvPr id="415" name="Grafik 42">
              <a:extLst>
                <a:ext uri="{FF2B5EF4-FFF2-40B4-BE49-F238E27FC236}">
                  <a16:creationId xmlns:a16="http://schemas.microsoft.com/office/drawing/2014/main" id="{763EEC7F-4C89-4B0B-0DBB-DD1F9BBFC888}"/>
                </a:ext>
              </a:extLst>
            </p:cNvPr>
            <p:cNvGrpSpPr/>
            <p:nvPr/>
          </p:nvGrpSpPr>
          <p:grpSpPr>
            <a:xfrm>
              <a:off x="1890251" y="3930400"/>
              <a:ext cx="539429" cy="538859"/>
              <a:chOff x="1890251" y="3930400"/>
              <a:chExt cx="539429" cy="538859"/>
            </a:xfrm>
            <a:grpFill/>
          </p:grpSpPr>
          <p:grpSp>
            <p:nvGrpSpPr>
              <p:cNvPr id="416" name="Grafik 42">
                <a:extLst>
                  <a:ext uri="{FF2B5EF4-FFF2-40B4-BE49-F238E27FC236}">
                    <a16:creationId xmlns:a16="http://schemas.microsoft.com/office/drawing/2014/main" id="{49DAF529-5A9D-97B6-13F1-E18D31EBC532}"/>
                  </a:ext>
                </a:extLst>
              </p:cNvPr>
              <p:cNvGrpSpPr/>
              <p:nvPr/>
            </p:nvGrpSpPr>
            <p:grpSpPr>
              <a:xfrm>
                <a:off x="1890251" y="4151914"/>
                <a:ext cx="539429" cy="317345"/>
                <a:chOff x="1890251" y="4151914"/>
                <a:chExt cx="539429" cy="317345"/>
              </a:xfrm>
              <a:grpFill/>
            </p:grpSpPr>
            <p:sp>
              <p:nvSpPr>
                <p:cNvPr id="417" name="Freihandform: Form 416">
                  <a:extLst>
                    <a:ext uri="{FF2B5EF4-FFF2-40B4-BE49-F238E27FC236}">
                      <a16:creationId xmlns:a16="http://schemas.microsoft.com/office/drawing/2014/main" id="{92965243-BC5F-F336-558A-42E6F21D27E2}"/>
                    </a:ext>
                  </a:extLst>
                </p:cNvPr>
                <p:cNvSpPr/>
                <p:nvPr/>
              </p:nvSpPr>
              <p:spPr>
                <a:xfrm>
                  <a:off x="2014032" y="4381984"/>
                  <a:ext cx="52098" cy="52098"/>
                </a:xfrm>
                <a:custGeom>
                  <a:avLst/>
                  <a:gdLst>
                    <a:gd name="connsiteX0" fmla="*/ 26049 w 52098"/>
                    <a:gd name="connsiteY0" fmla="*/ 0 h 52098"/>
                    <a:gd name="connsiteX1" fmla="*/ 0 w 52098"/>
                    <a:gd name="connsiteY1" fmla="*/ 26049 h 52098"/>
                    <a:gd name="connsiteX2" fmla="*/ 26049 w 52098"/>
                    <a:gd name="connsiteY2" fmla="*/ 52099 h 52098"/>
                    <a:gd name="connsiteX3" fmla="*/ 52099 w 52098"/>
                    <a:gd name="connsiteY3" fmla="*/ 26049 h 52098"/>
                    <a:gd name="connsiteX4" fmla="*/ 26049 w 52098"/>
                    <a:gd name="connsiteY4" fmla="*/ 0 h 52098"/>
                    <a:gd name="connsiteX5" fmla="*/ 26049 w 52098"/>
                    <a:gd name="connsiteY5" fmla="*/ 35366 h 52098"/>
                    <a:gd name="connsiteX6" fmla="*/ 16732 w 52098"/>
                    <a:gd name="connsiteY6" fmla="*/ 26049 h 52098"/>
                    <a:gd name="connsiteX7" fmla="*/ 26049 w 52098"/>
                    <a:gd name="connsiteY7" fmla="*/ 16732 h 52098"/>
                    <a:gd name="connsiteX8" fmla="*/ 35366 w 52098"/>
                    <a:gd name="connsiteY8" fmla="*/ 26049 h 52098"/>
                    <a:gd name="connsiteX9" fmla="*/ 26049 w 52098"/>
                    <a:gd name="connsiteY9" fmla="*/ 35366 h 52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098" h="52098">
                      <a:moveTo>
                        <a:pt x="26049" y="0"/>
                      </a:moveTo>
                      <a:cubicBezTo>
                        <a:pt x="11789" y="0"/>
                        <a:pt x="0" y="11599"/>
                        <a:pt x="0" y="26049"/>
                      </a:cubicBezTo>
                      <a:cubicBezTo>
                        <a:pt x="0" y="40310"/>
                        <a:pt x="11599" y="52099"/>
                        <a:pt x="26049" y="52099"/>
                      </a:cubicBezTo>
                      <a:cubicBezTo>
                        <a:pt x="40310" y="52099"/>
                        <a:pt x="52099" y="40500"/>
                        <a:pt x="52099" y="26049"/>
                      </a:cubicBezTo>
                      <a:cubicBezTo>
                        <a:pt x="51908" y="11789"/>
                        <a:pt x="40310" y="0"/>
                        <a:pt x="26049" y="0"/>
                      </a:cubicBezTo>
                      <a:close/>
                      <a:moveTo>
                        <a:pt x="26049" y="35366"/>
                      </a:moveTo>
                      <a:cubicBezTo>
                        <a:pt x="20915" y="35366"/>
                        <a:pt x="16732" y="31183"/>
                        <a:pt x="16732" y="26049"/>
                      </a:cubicBezTo>
                      <a:cubicBezTo>
                        <a:pt x="16732" y="20915"/>
                        <a:pt x="20915" y="16732"/>
                        <a:pt x="26049" y="16732"/>
                      </a:cubicBezTo>
                      <a:cubicBezTo>
                        <a:pt x="31183" y="16732"/>
                        <a:pt x="35366" y="20915"/>
                        <a:pt x="35366" y="26049"/>
                      </a:cubicBezTo>
                      <a:cubicBezTo>
                        <a:pt x="35366" y="31183"/>
                        <a:pt x="31183" y="35366"/>
                        <a:pt x="26049" y="35366"/>
                      </a:cubicBezTo>
                      <a:close/>
                    </a:path>
                  </a:pathLst>
                </a:custGeom>
                <a:grpFill/>
                <a:ln w="1878" cap="flat">
                  <a:noFill/>
                  <a:prstDash val="solid"/>
                  <a:miter/>
                </a:ln>
              </p:spPr>
              <p:txBody>
                <a:bodyPr rtlCol="0" anchor="ctr"/>
                <a:lstStyle/>
                <a:p>
                  <a:endParaRPr lang="en-GB" noProof="0" dirty="0"/>
                </a:p>
              </p:txBody>
            </p:sp>
            <p:sp>
              <p:nvSpPr>
                <p:cNvPr id="418" name="Freihandform: Form 417">
                  <a:extLst>
                    <a:ext uri="{FF2B5EF4-FFF2-40B4-BE49-F238E27FC236}">
                      <a16:creationId xmlns:a16="http://schemas.microsoft.com/office/drawing/2014/main" id="{2355A861-8557-0353-35F2-4B1C38000CFF}"/>
                    </a:ext>
                  </a:extLst>
                </p:cNvPr>
                <p:cNvSpPr/>
                <p:nvPr/>
              </p:nvSpPr>
              <p:spPr>
                <a:xfrm>
                  <a:off x="2288786" y="4381984"/>
                  <a:ext cx="52098" cy="52098"/>
                </a:xfrm>
                <a:custGeom>
                  <a:avLst/>
                  <a:gdLst>
                    <a:gd name="connsiteX0" fmla="*/ 26049 w 52098"/>
                    <a:gd name="connsiteY0" fmla="*/ 0 h 52098"/>
                    <a:gd name="connsiteX1" fmla="*/ 0 w 52098"/>
                    <a:gd name="connsiteY1" fmla="*/ 26049 h 52098"/>
                    <a:gd name="connsiteX2" fmla="*/ 26049 w 52098"/>
                    <a:gd name="connsiteY2" fmla="*/ 52099 h 52098"/>
                    <a:gd name="connsiteX3" fmla="*/ 52099 w 52098"/>
                    <a:gd name="connsiteY3" fmla="*/ 26049 h 52098"/>
                    <a:gd name="connsiteX4" fmla="*/ 26049 w 52098"/>
                    <a:gd name="connsiteY4" fmla="*/ 0 h 52098"/>
                    <a:gd name="connsiteX5" fmla="*/ 26049 w 52098"/>
                    <a:gd name="connsiteY5" fmla="*/ 35366 h 52098"/>
                    <a:gd name="connsiteX6" fmla="*/ 16732 w 52098"/>
                    <a:gd name="connsiteY6" fmla="*/ 26049 h 52098"/>
                    <a:gd name="connsiteX7" fmla="*/ 26049 w 52098"/>
                    <a:gd name="connsiteY7" fmla="*/ 16732 h 52098"/>
                    <a:gd name="connsiteX8" fmla="*/ 35366 w 52098"/>
                    <a:gd name="connsiteY8" fmla="*/ 26049 h 52098"/>
                    <a:gd name="connsiteX9" fmla="*/ 26049 w 52098"/>
                    <a:gd name="connsiteY9" fmla="*/ 35366 h 52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098" h="52098">
                      <a:moveTo>
                        <a:pt x="26049" y="0"/>
                      </a:moveTo>
                      <a:cubicBezTo>
                        <a:pt x="11789" y="0"/>
                        <a:pt x="0" y="11599"/>
                        <a:pt x="0" y="26049"/>
                      </a:cubicBezTo>
                      <a:cubicBezTo>
                        <a:pt x="0" y="40310"/>
                        <a:pt x="11599" y="52099"/>
                        <a:pt x="26049" y="52099"/>
                      </a:cubicBezTo>
                      <a:cubicBezTo>
                        <a:pt x="40310" y="52099"/>
                        <a:pt x="52099" y="40500"/>
                        <a:pt x="52099" y="26049"/>
                      </a:cubicBezTo>
                      <a:cubicBezTo>
                        <a:pt x="51908" y="11789"/>
                        <a:pt x="40310" y="0"/>
                        <a:pt x="26049" y="0"/>
                      </a:cubicBezTo>
                      <a:close/>
                      <a:moveTo>
                        <a:pt x="26049" y="35366"/>
                      </a:moveTo>
                      <a:cubicBezTo>
                        <a:pt x="20915" y="35366"/>
                        <a:pt x="16732" y="31183"/>
                        <a:pt x="16732" y="26049"/>
                      </a:cubicBezTo>
                      <a:cubicBezTo>
                        <a:pt x="16732" y="20915"/>
                        <a:pt x="20915" y="16732"/>
                        <a:pt x="26049" y="16732"/>
                      </a:cubicBezTo>
                      <a:cubicBezTo>
                        <a:pt x="31183" y="16732"/>
                        <a:pt x="35366" y="20915"/>
                        <a:pt x="35366" y="26049"/>
                      </a:cubicBezTo>
                      <a:cubicBezTo>
                        <a:pt x="35366" y="31183"/>
                        <a:pt x="31183" y="35366"/>
                        <a:pt x="26049" y="35366"/>
                      </a:cubicBezTo>
                      <a:close/>
                    </a:path>
                  </a:pathLst>
                </a:custGeom>
                <a:grpFill/>
                <a:ln w="1878" cap="flat">
                  <a:noFill/>
                  <a:prstDash val="solid"/>
                  <a:miter/>
                </a:ln>
              </p:spPr>
              <p:txBody>
                <a:bodyPr rtlCol="0" anchor="ctr"/>
                <a:lstStyle/>
                <a:p>
                  <a:endParaRPr lang="en-GB" noProof="0" dirty="0"/>
                </a:p>
              </p:txBody>
            </p:sp>
            <p:sp>
              <p:nvSpPr>
                <p:cNvPr id="419" name="Freihandform: Form 418">
                  <a:extLst>
                    <a:ext uri="{FF2B5EF4-FFF2-40B4-BE49-F238E27FC236}">
                      <a16:creationId xmlns:a16="http://schemas.microsoft.com/office/drawing/2014/main" id="{AC864827-A2D3-1A80-2624-DA0A9186FF1C}"/>
                    </a:ext>
                  </a:extLst>
                </p:cNvPr>
                <p:cNvSpPr/>
                <p:nvPr/>
              </p:nvSpPr>
              <p:spPr>
                <a:xfrm>
                  <a:off x="1890251" y="4151914"/>
                  <a:ext cx="539429" cy="317345"/>
                </a:xfrm>
                <a:custGeom>
                  <a:avLst/>
                  <a:gdLst>
                    <a:gd name="connsiteX0" fmla="*/ 530113 w 539429"/>
                    <a:gd name="connsiteY0" fmla="*/ 214669 h 317345"/>
                    <a:gd name="connsiteX1" fmla="*/ 530113 w 539429"/>
                    <a:gd name="connsiteY1" fmla="*/ 150782 h 317345"/>
                    <a:gd name="connsiteX2" fmla="*/ 524218 w 539429"/>
                    <a:gd name="connsiteY2" fmla="*/ 128725 h 317345"/>
                    <a:gd name="connsiteX3" fmla="*/ 477254 w 539429"/>
                    <a:gd name="connsiteY3" fmla="*/ 48296 h 317345"/>
                    <a:gd name="connsiteX4" fmla="*/ 439606 w 539429"/>
                    <a:gd name="connsiteY4" fmla="*/ 26620 h 317345"/>
                    <a:gd name="connsiteX5" fmla="*/ 380282 w 539429"/>
                    <a:gd name="connsiteY5" fmla="*/ 26620 h 317345"/>
                    <a:gd name="connsiteX6" fmla="*/ 363169 w 539429"/>
                    <a:gd name="connsiteY6" fmla="*/ 43732 h 317345"/>
                    <a:gd name="connsiteX7" fmla="*/ 363169 w 539429"/>
                    <a:gd name="connsiteY7" fmla="*/ 194704 h 317345"/>
                    <a:gd name="connsiteX8" fmla="*/ 344345 w 539429"/>
                    <a:gd name="connsiteY8" fmla="*/ 194704 h 317345"/>
                    <a:gd name="connsiteX9" fmla="*/ 344345 w 539429"/>
                    <a:gd name="connsiteY9" fmla="*/ 26049 h 317345"/>
                    <a:gd name="connsiteX10" fmla="*/ 318296 w 539429"/>
                    <a:gd name="connsiteY10" fmla="*/ 0 h 317345"/>
                    <a:gd name="connsiteX11" fmla="*/ 26049 w 539429"/>
                    <a:gd name="connsiteY11" fmla="*/ 0 h 317345"/>
                    <a:gd name="connsiteX12" fmla="*/ 0 w 539429"/>
                    <a:gd name="connsiteY12" fmla="*/ 26049 h 317345"/>
                    <a:gd name="connsiteX13" fmla="*/ 0 w 539429"/>
                    <a:gd name="connsiteY13" fmla="*/ 238246 h 317345"/>
                    <a:gd name="connsiteX14" fmla="*/ 26049 w 539429"/>
                    <a:gd name="connsiteY14" fmla="*/ 264296 h 317345"/>
                    <a:gd name="connsiteX15" fmla="*/ 89176 w 539429"/>
                    <a:gd name="connsiteY15" fmla="*/ 264296 h 317345"/>
                    <a:gd name="connsiteX16" fmla="*/ 150021 w 539429"/>
                    <a:gd name="connsiteY16" fmla="*/ 317345 h 317345"/>
                    <a:gd name="connsiteX17" fmla="*/ 210866 w 539429"/>
                    <a:gd name="connsiteY17" fmla="*/ 264296 h 317345"/>
                    <a:gd name="connsiteX18" fmla="*/ 364120 w 539429"/>
                    <a:gd name="connsiteY18" fmla="*/ 264296 h 317345"/>
                    <a:gd name="connsiteX19" fmla="*/ 424965 w 539429"/>
                    <a:gd name="connsiteY19" fmla="*/ 317345 h 317345"/>
                    <a:gd name="connsiteX20" fmla="*/ 485810 w 539429"/>
                    <a:gd name="connsiteY20" fmla="*/ 264296 h 317345"/>
                    <a:gd name="connsiteX21" fmla="*/ 522317 w 539429"/>
                    <a:gd name="connsiteY21" fmla="*/ 264296 h 317345"/>
                    <a:gd name="connsiteX22" fmla="*/ 539430 w 539429"/>
                    <a:gd name="connsiteY22" fmla="*/ 247183 h 317345"/>
                    <a:gd name="connsiteX23" fmla="*/ 539430 w 539429"/>
                    <a:gd name="connsiteY23" fmla="*/ 229500 h 317345"/>
                    <a:gd name="connsiteX24" fmla="*/ 530113 w 539429"/>
                    <a:gd name="connsiteY24" fmla="*/ 214669 h 317345"/>
                    <a:gd name="connsiteX25" fmla="*/ 16542 w 539429"/>
                    <a:gd name="connsiteY25" fmla="*/ 175880 h 317345"/>
                    <a:gd name="connsiteX26" fmla="*/ 35366 w 539429"/>
                    <a:gd name="connsiteY26" fmla="*/ 175880 h 317345"/>
                    <a:gd name="connsiteX27" fmla="*/ 35366 w 539429"/>
                    <a:gd name="connsiteY27" fmla="*/ 202880 h 317345"/>
                    <a:gd name="connsiteX28" fmla="*/ 26049 w 539429"/>
                    <a:gd name="connsiteY28" fmla="*/ 212197 h 317345"/>
                    <a:gd name="connsiteX29" fmla="*/ 16542 w 539429"/>
                    <a:gd name="connsiteY29" fmla="*/ 212197 h 317345"/>
                    <a:gd name="connsiteX30" fmla="*/ 16542 w 539429"/>
                    <a:gd name="connsiteY30" fmla="*/ 175880 h 317345"/>
                    <a:gd name="connsiteX31" fmla="*/ 149831 w 539429"/>
                    <a:gd name="connsiteY31" fmla="*/ 300803 h 317345"/>
                    <a:gd name="connsiteX32" fmla="*/ 105148 w 539429"/>
                    <a:gd name="connsiteY32" fmla="*/ 256120 h 317345"/>
                    <a:gd name="connsiteX33" fmla="*/ 105148 w 539429"/>
                    <a:gd name="connsiteY33" fmla="*/ 256120 h 317345"/>
                    <a:gd name="connsiteX34" fmla="*/ 105148 w 539429"/>
                    <a:gd name="connsiteY34" fmla="*/ 256120 h 317345"/>
                    <a:gd name="connsiteX35" fmla="*/ 149831 w 539429"/>
                    <a:gd name="connsiteY35" fmla="*/ 211437 h 317345"/>
                    <a:gd name="connsiteX36" fmla="*/ 194704 w 539429"/>
                    <a:gd name="connsiteY36" fmla="*/ 256120 h 317345"/>
                    <a:gd name="connsiteX37" fmla="*/ 149831 w 539429"/>
                    <a:gd name="connsiteY37" fmla="*/ 300803 h 317345"/>
                    <a:gd name="connsiteX38" fmla="*/ 327803 w 539429"/>
                    <a:gd name="connsiteY38" fmla="*/ 247754 h 317345"/>
                    <a:gd name="connsiteX39" fmla="*/ 210486 w 539429"/>
                    <a:gd name="connsiteY39" fmla="*/ 247754 h 317345"/>
                    <a:gd name="connsiteX40" fmla="*/ 149641 w 539429"/>
                    <a:gd name="connsiteY40" fmla="*/ 194704 h 317345"/>
                    <a:gd name="connsiteX41" fmla="*/ 88796 w 539429"/>
                    <a:gd name="connsiteY41" fmla="*/ 247754 h 317345"/>
                    <a:gd name="connsiteX42" fmla="*/ 26049 w 539429"/>
                    <a:gd name="connsiteY42" fmla="*/ 247754 h 317345"/>
                    <a:gd name="connsiteX43" fmla="*/ 16732 w 539429"/>
                    <a:gd name="connsiteY43" fmla="*/ 238437 h 317345"/>
                    <a:gd name="connsiteX44" fmla="*/ 16732 w 539429"/>
                    <a:gd name="connsiteY44" fmla="*/ 229120 h 317345"/>
                    <a:gd name="connsiteX45" fmla="*/ 26049 w 539429"/>
                    <a:gd name="connsiteY45" fmla="*/ 229120 h 317345"/>
                    <a:gd name="connsiteX46" fmla="*/ 52099 w 539429"/>
                    <a:gd name="connsiteY46" fmla="*/ 203070 h 317345"/>
                    <a:gd name="connsiteX47" fmla="*/ 52099 w 539429"/>
                    <a:gd name="connsiteY47" fmla="*/ 167704 h 317345"/>
                    <a:gd name="connsiteX48" fmla="*/ 43732 w 539429"/>
                    <a:gd name="connsiteY48" fmla="*/ 159338 h 317345"/>
                    <a:gd name="connsiteX49" fmla="*/ 16542 w 539429"/>
                    <a:gd name="connsiteY49" fmla="*/ 159338 h 317345"/>
                    <a:gd name="connsiteX50" fmla="*/ 16542 w 539429"/>
                    <a:gd name="connsiteY50" fmla="*/ 26049 h 317345"/>
                    <a:gd name="connsiteX51" fmla="*/ 25859 w 539429"/>
                    <a:gd name="connsiteY51" fmla="*/ 16732 h 317345"/>
                    <a:gd name="connsiteX52" fmla="*/ 318296 w 539429"/>
                    <a:gd name="connsiteY52" fmla="*/ 16732 h 317345"/>
                    <a:gd name="connsiteX53" fmla="*/ 327613 w 539429"/>
                    <a:gd name="connsiteY53" fmla="*/ 26049 h 317345"/>
                    <a:gd name="connsiteX54" fmla="*/ 327613 w 539429"/>
                    <a:gd name="connsiteY54" fmla="*/ 247754 h 317345"/>
                    <a:gd name="connsiteX55" fmla="*/ 363169 w 539429"/>
                    <a:gd name="connsiteY55" fmla="*/ 247754 h 317345"/>
                    <a:gd name="connsiteX56" fmla="*/ 344345 w 539429"/>
                    <a:gd name="connsiteY56" fmla="*/ 247754 h 317345"/>
                    <a:gd name="connsiteX57" fmla="*/ 344345 w 539429"/>
                    <a:gd name="connsiteY57" fmla="*/ 211246 h 317345"/>
                    <a:gd name="connsiteX58" fmla="*/ 363169 w 539429"/>
                    <a:gd name="connsiteY58" fmla="*/ 211246 h 317345"/>
                    <a:gd name="connsiteX59" fmla="*/ 363169 w 539429"/>
                    <a:gd name="connsiteY59" fmla="*/ 247754 h 317345"/>
                    <a:gd name="connsiteX60" fmla="*/ 379711 w 539429"/>
                    <a:gd name="connsiteY60" fmla="*/ 43923 h 317345"/>
                    <a:gd name="connsiteX61" fmla="*/ 380282 w 539429"/>
                    <a:gd name="connsiteY61" fmla="*/ 43352 h 317345"/>
                    <a:gd name="connsiteX62" fmla="*/ 439606 w 539429"/>
                    <a:gd name="connsiteY62" fmla="*/ 43352 h 317345"/>
                    <a:gd name="connsiteX63" fmla="*/ 462993 w 539429"/>
                    <a:gd name="connsiteY63" fmla="*/ 56852 h 317345"/>
                    <a:gd name="connsiteX64" fmla="*/ 466035 w 539429"/>
                    <a:gd name="connsiteY64" fmla="*/ 62176 h 317345"/>
                    <a:gd name="connsiteX65" fmla="*/ 379711 w 539429"/>
                    <a:gd name="connsiteY65" fmla="*/ 62176 h 317345"/>
                    <a:gd name="connsiteX66" fmla="*/ 379711 w 539429"/>
                    <a:gd name="connsiteY66" fmla="*/ 43923 h 317345"/>
                    <a:gd name="connsiteX67" fmla="*/ 379711 w 539429"/>
                    <a:gd name="connsiteY67" fmla="*/ 78718 h 317345"/>
                    <a:gd name="connsiteX68" fmla="*/ 475732 w 539429"/>
                    <a:gd name="connsiteY68" fmla="*/ 78718 h 317345"/>
                    <a:gd name="connsiteX69" fmla="*/ 509768 w 539429"/>
                    <a:gd name="connsiteY69" fmla="*/ 137092 h 317345"/>
                    <a:gd name="connsiteX70" fmla="*/ 513380 w 539429"/>
                    <a:gd name="connsiteY70" fmla="*/ 150782 h 317345"/>
                    <a:gd name="connsiteX71" fmla="*/ 513380 w 539429"/>
                    <a:gd name="connsiteY71" fmla="*/ 159528 h 317345"/>
                    <a:gd name="connsiteX72" fmla="*/ 497218 w 539429"/>
                    <a:gd name="connsiteY72" fmla="*/ 159528 h 317345"/>
                    <a:gd name="connsiteX73" fmla="*/ 484289 w 539429"/>
                    <a:gd name="connsiteY73" fmla="*/ 154204 h 317345"/>
                    <a:gd name="connsiteX74" fmla="*/ 473261 w 539429"/>
                    <a:gd name="connsiteY74" fmla="*/ 143176 h 317345"/>
                    <a:gd name="connsiteX75" fmla="*/ 448732 w 539429"/>
                    <a:gd name="connsiteY75" fmla="*/ 132908 h 317345"/>
                    <a:gd name="connsiteX76" fmla="*/ 379521 w 539429"/>
                    <a:gd name="connsiteY76" fmla="*/ 132908 h 317345"/>
                    <a:gd name="connsiteX77" fmla="*/ 379521 w 539429"/>
                    <a:gd name="connsiteY77" fmla="*/ 78718 h 317345"/>
                    <a:gd name="connsiteX78" fmla="*/ 424585 w 539429"/>
                    <a:gd name="connsiteY78" fmla="*/ 300803 h 317345"/>
                    <a:gd name="connsiteX79" fmla="*/ 379901 w 539429"/>
                    <a:gd name="connsiteY79" fmla="*/ 255930 h 317345"/>
                    <a:gd name="connsiteX80" fmla="*/ 424585 w 539429"/>
                    <a:gd name="connsiteY80" fmla="*/ 211246 h 317345"/>
                    <a:gd name="connsiteX81" fmla="*/ 469268 w 539429"/>
                    <a:gd name="connsiteY81" fmla="*/ 255930 h 317345"/>
                    <a:gd name="connsiteX82" fmla="*/ 424585 w 539429"/>
                    <a:gd name="connsiteY82" fmla="*/ 300803 h 317345"/>
                    <a:gd name="connsiteX83" fmla="*/ 486951 w 539429"/>
                    <a:gd name="connsiteY83" fmla="*/ 229500 h 317345"/>
                    <a:gd name="connsiteX84" fmla="*/ 486951 w 539429"/>
                    <a:gd name="connsiteY84" fmla="*/ 247754 h 317345"/>
                    <a:gd name="connsiteX85" fmla="*/ 485239 w 539429"/>
                    <a:gd name="connsiteY85" fmla="*/ 247754 h 317345"/>
                    <a:gd name="connsiteX86" fmla="*/ 424394 w 539429"/>
                    <a:gd name="connsiteY86" fmla="*/ 194704 h 317345"/>
                    <a:gd name="connsiteX87" fmla="*/ 379711 w 539429"/>
                    <a:gd name="connsiteY87" fmla="*/ 214099 h 317345"/>
                    <a:gd name="connsiteX88" fmla="*/ 379711 w 539429"/>
                    <a:gd name="connsiteY88" fmla="*/ 149261 h 317345"/>
                    <a:gd name="connsiteX89" fmla="*/ 448923 w 539429"/>
                    <a:gd name="connsiteY89" fmla="*/ 149261 h 317345"/>
                    <a:gd name="connsiteX90" fmla="*/ 461852 w 539429"/>
                    <a:gd name="connsiteY90" fmla="*/ 154585 h 317345"/>
                    <a:gd name="connsiteX91" fmla="*/ 472880 w 539429"/>
                    <a:gd name="connsiteY91" fmla="*/ 165613 h 317345"/>
                    <a:gd name="connsiteX92" fmla="*/ 497408 w 539429"/>
                    <a:gd name="connsiteY92" fmla="*/ 175880 h 317345"/>
                    <a:gd name="connsiteX93" fmla="*/ 513570 w 539429"/>
                    <a:gd name="connsiteY93" fmla="*/ 175880 h 317345"/>
                    <a:gd name="connsiteX94" fmla="*/ 513570 w 539429"/>
                    <a:gd name="connsiteY94" fmla="*/ 212387 h 317345"/>
                    <a:gd name="connsiteX95" fmla="*/ 504254 w 539429"/>
                    <a:gd name="connsiteY95" fmla="*/ 212387 h 317345"/>
                    <a:gd name="connsiteX96" fmla="*/ 486951 w 539429"/>
                    <a:gd name="connsiteY96" fmla="*/ 229500 h 317345"/>
                    <a:gd name="connsiteX97" fmla="*/ 522317 w 539429"/>
                    <a:gd name="connsiteY97" fmla="*/ 247183 h 317345"/>
                    <a:gd name="connsiteX98" fmla="*/ 521746 w 539429"/>
                    <a:gd name="connsiteY98" fmla="*/ 247754 h 317345"/>
                    <a:gd name="connsiteX99" fmla="*/ 503493 w 539429"/>
                    <a:gd name="connsiteY99" fmla="*/ 247754 h 317345"/>
                    <a:gd name="connsiteX100" fmla="*/ 503493 w 539429"/>
                    <a:gd name="connsiteY100" fmla="*/ 229500 h 317345"/>
                    <a:gd name="connsiteX101" fmla="*/ 504063 w 539429"/>
                    <a:gd name="connsiteY101" fmla="*/ 228930 h 317345"/>
                    <a:gd name="connsiteX102" fmla="*/ 521746 w 539429"/>
                    <a:gd name="connsiteY102" fmla="*/ 228930 h 317345"/>
                    <a:gd name="connsiteX103" fmla="*/ 522317 w 539429"/>
                    <a:gd name="connsiteY103" fmla="*/ 229500 h 317345"/>
                    <a:gd name="connsiteX104" fmla="*/ 522317 w 539429"/>
                    <a:gd name="connsiteY104" fmla="*/ 247183 h 317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539429" h="317345">
                      <a:moveTo>
                        <a:pt x="530113" y="214669"/>
                      </a:moveTo>
                      <a:lnTo>
                        <a:pt x="530113" y="150782"/>
                      </a:lnTo>
                      <a:cubicBezTo>
                        <a:pt x="530113" y="142986"/>
                        <a:pt x="528021" y="135380"/>
                        <a:pt x="524218" y="128725"/>
                      </a:cubicBezTo>
                      <a:lnTo>
                        <a:pt x="477254" y="48296"/>
                      </a:lnTo>
                      <a:cubicBezTo>
                        <a:pt x="469458" y="34986"/>
                        <a:pt x="455007" y="26620"/>
                        <a:pt x="439606" y="26620"/>
                      </a:cubicBezTo>
                      <a:lnTo>
                        <a:pt x="380282" y="26620"/>
                      </a:lnTo>
                      <a:cubicBezTo>
                        <a:pt x="370775" y="26620"/>
                        <a:pt x="363169" y="34225"/>
                        <a:pt x="363169" y="43732"/>
                      </a:cubicBezTo>
                      <a:lnTo>
                        <a:pt x="363169" y="194704"/>
                      </a:lnTo>
                      <a:lnTo>
                        <a:pt x="344345" y="194704"/>
                      </a:lnTo>
                      <a:lnTo>
                        <a:pt x="344345" y="26049"/>
                      </a:lnTo>
                      <a:cubicBezTo>
                        <a:pt x="344345" y="11789"/>
                        <a:pt x="332746" y="0"/>
                        <a:pt x="318296" y="0"/>
                      </a:cubicBezTo>
                      <a:lnTo>
                        <a:pt x="26049" y="0"/>
                      </a:lnTo>
                      <a:cubicBezTo>
                        <a:pt x="11789" y="0"/>
                        <a:pt x="0" y="11599"/>
                        <a:pt x="0" y="26049"/>
                      </a:cubicBezTo>
                      <a:lnTo>
                        <a:pt x="0" y="238246"/>
                      </a:lnTo>
                      <a:cubicBezTo>
                        <a:pt x="0" y="252507"/>
                        <a:pt x="11599" y="264296"/>
                        <a:pt x="26049" y="264296"/>
                      </a:cubicBezTo>
                      <a:lnTo>
                        <a:pt x="89176" y="264296"/>
                      </a:lnTo>
                      <a:cubicBezTo>
                        <a:pt x="93169" y="294148"/>
                        <a:pt x="118838" y="317345"/>
                        <a:pt x="150021" y="317345"/>
                      </a:cubicBezTo>
                      <a:cubicBezTo>
                        <a:pt x="181014" y="317345"/>
                        <a:pt x="206683" y="294148"/>
                        <a:pt x="210866" y="264296"/>
                      </a:cubicBezTo>
                      <a:lnTo>
                        <a:pt x="364120" y="264296"/>
                      </a:lnTo>
                      <a:cubicBezTo>
                        <a:pt x="368113" y="294148"/>
                        <a:pt x="393972" y="317345"/>
                        <a:pt x="424965" y="317345"/>
                      </a:cubicBezTo>
                      <a:cubicBezTo>
                        <a:pt x="455958" y="317345"/>
                        <a:pt x="481627" y="294148"/>
                        <a:pt x="485810" y="264296"/>
                      </a:cubicBezTo>
                      <a:lnTo>
                        <a:pt x="522317" y="264296"/>
                      </a:lnTo>
                      <a:cubicBezTo>
                        <a:pt x="531824" y="264296"/>
                        <a:pt x="539430" y="256690"/>
                        <a:pt x="539430" y="247183"/>
                      </a:cubicBezTo>
                      <a:lnTo>
                        <a:pt x="539430" y="229500"/>
                      </a:lnTo>
                      <a:cubicBezTo>
                        <a:pt x="539049" y="223225"/>
                        <a:pt x="535437" y="217521"/>
                        <a:pt x="530113" y="214669"/>
                      </a:cubicBezTo>
                      <a:close/>
                      <a:moveTo>
                        <a:pt x="16542" y="175880"/>
                      </a:moveTo>
                      <a:lnTo>
                        <a:pt x="35366" y="175880"/>
                      </a:lnTo>
                      <a:lnTo>
                        <a:pt x="35366" y="202880"/>
                      </a:lnTo>
                      <a:cubicBezTo>
                        <a:pt x="35366" y="208014"/>
                        <a:pt x="31183" y="212197"/>
                        <a:pt x="26049" y="212197"/>
                      </a:cubicBezTo>
                      <a:lnTo>
                        <a:pt x="16542" y="212197"/>
                      </a:lnTo>
                      <a:lnTo>
                        <a:pt x="16542" y="175880"/>
                      </a:lnTo>
                      <a:close/>
                      <a:moveTo>
                        <a:pt x="149831" y="300803"/>
                      </a:moveTo>
                      <a:cubicBezTo>
                        <a:pt x="125113" y="300803"/>
                        <a:pt x="105148" y="280648"/>
                        <a:pt x="105148" y="256120"/>
                      </a:cubicBezTo>
                      <a:lnTo>
                        <a:pt x="105148" y="256120"/>
                      </a:lnTo>
                      <a:lnTo>
                        <a:pt x="105148" y="256120"/>
                      </a:lnTo>
                      <a:cubicBezTo>
                        <a:pt x="105148" y="231401"/>
                        <a:pt x="125303" y="211437"/>
                        <a:pt x="149831" y="211437"/>
                      </a:cubicBezTo>
                      <a:cubicBezTo>
                        <a:pt x="174549" y="211437"/>
                        <a:pt x="194704" y="231592"/>
                        <a:pt x="194704" y="256120"/>
                      </a:cubicBezTo>
                      <a:cubicBezTo>
                        <a:pt x="194514" y="280838"/>
                        <a:pt x="174549" y="300803"/>
                        <a:pt x="149831" y="300803"/>
                      </a:cubicBezTo>
                      <a:close/>
                      <a:moveTo>
                        <a:pt x="327803" y="247754"/>
                      </a:moveTo>
                      <a:lnTo>
                        <a:pt x="210486" y="247754"/>
                      </a:lnTo>
                      <a:cubicBezTo>
                        <a:pt x="206493" y="217901"/>
                        <a:pt x="180634" y="194704"/>
                        <a:pt x="149641" y="194704"/>
                      </a:cubicBezTo>
                      <a:cubicBezTo>
                        <a:pt x="118648" y="194704"/>
                        <a:pt x="92979" y="217901"/>
                        <a:pt x="88796" y="247754"/>
                      </a:cubicBezTo>
                      <a:lnTo>
                        <a:pt x="26049" y="247754"/>
                      </a:lnTo>
                      <a:cubicBezTo>
                        <a:pt x="20915" y="247754"/>
                        <a:pt x="16732" y="243570"/>
                        <a:pt x="16732" y="238437"/>
                      </a:cubicBezTo>
                      <a:lnTo>
                        <a:pt x="16732" y="229120"/>
                      </a:lnTo>
                      <a:lnTo>
                        <a:pt x="26049" y="229120"/>
                      </a:lnTo>
                      <a:cubicBezTo>
                        <a:pt x="40310" y="229120"/>
                        <a:pt x="52099" y="217521"/>
                        <a:pt x="52099" y="203070"/>
                      </a:cubicBezTo>
                      <a:lnTo>
                        <a:pt x="52099" y="167704"/>
                      </a:lnTo>
                      <a:cubicBezTo>
                        <a:pt x="52099" y="163141"/>
                        <a:pt x="48296" y="159338"/>
                        <a:pt x="43732" y="159338"/>
                      </a:cubicBezTo>
                      <a:lnTo>
                        <a:pt x="16542" y="159338"/>
                      </a:lnTo>
                      <a:lnTo>
                        <a:pt x="16542" y="26049"/>
                      </a:lnTo>
                      <a:cubicBezTo>
                        <a:pt x="16542" y="20915"/>
                        <a:pt x="20725" y="16732"/>
                        <a:pt x="25859" y="16732"/>
                      </a:cubicBezTo>
                      <a:lnTo>
                        <a:pt x="318296" y="16732"/>
                      </a:lnTo>
                      <a:cubicBezTo>
                        <a:pt x="323430" y="16732"/>
                        <a:pt x="327613" y="20915"/>
                        <a:pt x="327613" y="26049"/>
                      </a:cubicBezTo>
                      <a:lnTo>
                        <a:pt x="327613" y="247754"/>
                      </a:lnTo>
                      <a:close/>
                      <a:moveTo>
                        <a:pt x="363169" y="247754"/>
                      </a:moveTo>
                      <a:lnTo>
                        <a:pt x="344345" y="247754"/>
                      </a:lnTo>
                      <a:lnTo>
                        <a:pt x="344345" y="211246"/>
                      </a:lnTo>
                      <a:lnTo>
                        <a:pt x="363169" y="211246"/>
                      </a:lnTo>
                      <a:lnTo>
                        <a:pt x="363169" y="247754"/>
                      </a:lnTo>
                      <a:close/>
                      <a:moveTo>
                        <a:pt x="379711" y="43923"/>
                      </a:moveTo>
                      <a:cubicBezTo>
                        <a:pt x="379711" y="43542"/>
                        <a:pt x="379901" y="43352"/>
                        <a:pt x="380282" y="43352"/>
                      </a:cubicBezTo>
                      <a:lnTo>
                        <a:pt x="439606" y="43352"/>
                      </a:lnTo>
                      <a:cubicBezTo>
                        <a:pt x="449303" y="43352"/>
                        <a:pt x="458239" y="48486"/>
                        <a:pt x="462993" y="56852"/>
                      </a:cubicBezTo>
                      <a:lnTo>
                        <a:pt x="466035" y="62176"/>
                      </a:lnTo>
                      <a:lnTo>
                        <a:pt x="379711" y="62176"/>
                      </a:lnTo>
                      <a:lnTo>
                        <a:pt x="379711" y="43923"/>
                      </a:lnTo>
                      <a:close/>
                      <a:moveTo>
                        <a:pt x="379711" y="78718"/>
                      </a:moveTo>
                      <a:lnTo>
                        <a:pt x="475732" y="78718"/>
                      </a:lnTo>
                      <a:lnTo>
                        <a:pt x="509768" y="137092"/>
                      </a:lnTo>
                      <a:cubicBezTo>
                        <a:pt x="512239" y="141275"/>
                        <a:pt x="513380" y="146028"/>
                        <a:pt x="513380" y="150782"/>
                      </a:cubicBezTo>
                      <a:lnTo>
                        <a:pt x="513380" y="159528"/>
                      </a:lnTo>
                      <a:lnTo>
                        <a:pt x="497218" y="159528"/>
                      </a:lnTo>
                      <a:cubicBezTo>
                        <a:pt x="492275" y="159528"/>
                        <a:pt x="487711" y="157627"/>
                        <a:pt x="484289" y="154204"/>
                      </a:cubicBezTo>
                      <a:lnTo>
                        <a:pt x="473261" y="143176"/>
                      </a:lnTo>
                      <a:cubicBezTo>
                        <a:pt x="466606" y="136521"/>
                        <a:pt x="457859" y="132908"/>
                        <a:pt x="448732" y="132908"/>
                      </a:cubicBezTo>
                      <a:lnTo>
                        <a:pt x="379521" y="132908"/>
                      </a:lnTo>
                      <a:lnTo>
                        <a:pt x="379521" y="78718"/>
                      </a:lnTo>
                      <a:close/>
                      <a:moveTo>
                        <a:pt x="424585" y="300803"/>
                      </a:moveTo>
                      <a:cubicBezTo>
                        <a:pt x="399866" y="300803"/>
                        <a:pt x="379901" y="280648"/>
                        <a:pt x="379901" y="255930"/>
                      </a:cubicBezTo>
                      <a:cubicBezTo>
                        <a:pt x="379901" y="231211"/>
                        <a:pt x="400056" y="211246"/>
                        <a:pt x="424585" y="211246"/>
                      </a:cubicBezTo>
                      <a:cubicBezTo>
                        <a:pt x="449303" y="211246"/>
                        <a:pt x="469268" y="231401"/>
                        <a:pt x="469268" y="255930"/>
                      </a:cubicBezTo>
                      <a:cubicBezTo>
                        <a:pt x="469268" y="280838"/>
                        <a:pt x="449303" y="300803"/>
                        <a:pt x="424585" y="300803"/>
                      </a:cubicBezTo>
                      <a:close/>
                      <a:moveTo>
                        <a:pt x="486951" y="229500"/>
                      </a:moveTo>
                      <a:lnTo>
                        <a:pt x="486951" y="247754"/>
                      </a:lnTo>
                      <a:lnTo>
                        <a:pt x="485239" y="247754"/>
                      </a:lnTo>
                      <a:cubicBezTo>
                        <a:pt x="481247" y="217901"/>
                        <a:pt x="455387" y="194704"/>
                        <a:pt x="424394" y="194704"/>
                      </a:cubicBezTo>
                      <a:cubicBezTo>
                        <a:pt x="406711" y="194704"/>
                        <a:pt x="390739" y="202120"/>
                        <a:pt x="379711" y="214099"/>
                      </a:cubicBezTo>
                      <a:lnTo>
                        <a:pt x="379711" y="149261"/>
                      </a:lnTo>
                      <a:lnTo>
                        <a:pt x="448923" y="149261"/>
                      </a:lnTo>
                      <a:cubicBezTo>
                        <a:pt x="453866" y="149261"/>
                        <a:pt x="458430" y="151162"/>
                        <a:pt x="461852" y="154585"/>
                      </a:cubicBezTo>
                      <a:lnTo>
                        <a:pt x="472880" y="165613"/>
                      </a:lnTo>
                      <a:cubicBezTo>
                        <a:pt x="479535" y="172268"/>
                        <a:pt x="488282" y="175880"/>
                        <a:pt x="497408" y="175880"/>
                      </a:cubicBezTo>
                      <a:lnTo>
                        <a:pt x="513570" y="175880"/>
                      </a:lnTo>
                      <a:lnTo>
                        <a:pt x="513570" y="212387"/>
                      </a:lnTo>
                      <a:lnTo>
                        <a:pt x="504254" y="212387"/>
                      </a:lnTo>
                      <a:cubicBezTo>
                        <a:pt x="494747" y="212387"/>
                        <a:pt x="486951" y="220183"/>
                        <a:pt x="486951" y="229500"/>
                      </a:cubicBezTo>
                      <a:close/>
                      <a:moveTo>
                        <a:pt x="522317" y="247183"/>
                      </a:moveTo>
                      <a:cubicBezTo>
                        <a:pt x="522317" y="247563"/>
                        <a:pt x="522127" y="247754"/>
                        <a:pt x="521746" y="247754"/>
                      </a:cubicBezTo>
                      <a:lnTo>
                        <a:pt x="503493" y="247754"/>
                      </a:lnTo>
                      <a:lnTo>
                        <a:pt x="503493" y="229500"/>
                      </a:lnTo>
                      <a:cubicBezTo>
                        <a:pt x="503493" y="229120"/>
                        <a:pt x="503683" y="228930"/>
                        <a:pt x="504063" y="228930"/>
                      </a:cubicBezTo>
                      <a:lnTo>
                        <a:pt x="521746" y="228930"/>
                      </a:lnTo>
                      <a:cubicBezTo>
                        <a:pt x="522127" y="228930"/>
                        <a:pt x="522317" y="229120"/>
                        <a:pt x="522317" y="229500"/>
                      </a:cubicBezTo>
                      <a:lnTo>
                        <a:pt x="522317" y="247183"/>
                      </a:lnTo>
                      <a:close/>
                    </a:path>
                  </a:pathLst>
                </a:custGeom>
                <a:grpFill/>
                <a:ln w="1878" cap="flat">
                  <a:noFill/>
                  <a:prstDash val="solid"/>
                  <a:miter/>
                </a:ln>
              </p:spPr>
              <p:txBody>
                <a:bodyPr rtlCol="0" anchor="ctr"/>
                <a:lstStyle/>
                <a:p>
                  <a:endParaRPr lang="en-GB" noProof="0" dirty="0"/>
                </a:p>
              </p:txBody>
            </p:sp>
          </p:grpSp>
        </p:grpSp>
      </p:grpSp>
      <p:pic>
        <p:nvPicPr>
          <p:cNvPr id="420" name="Grafik 419">
            <a:extLst>
              <a:ext uri="{FF2B5EF4-FFF2-40B4-BE49-F238E27FC236}">
                <a16:creationId xmlns:a16="http://schemas.microsoft.com/office/drawing/2014/main" id="{E8FCB330-DF42-C997-9DFE-D5B3CEB666BB}"/>
              </a:ext>
            </a:extLst>
          </p:cNvPr>
          <p:cNvPicPr>
            <a:picLocks noChangeAspect="1"/>
          </p:cNvPicPr>
          <p:nvPr/>
        </p:nvPicPr>
        <p:blipFill>
          <a:blip r:embed="rId3"/>
          <a:stretch>
            <a:fillRect/>
          </a:stretch>
        </p:blipFill>
        <p:spPr>
          <a:xfrm>
            <a:off x="3355475" y="2132740"/>
            <a:ext cx="193947" cy="89790"/>
          </a:xfrm>
          <a:prstGeom prst="rect">
            <a:avLst/>
          </a:prstGeom>
        </p:spPr>
      </p:pic>
      <p:grpSp>
        <p:nvGrpSpPr>
          <p:cNvPr id="10" name="Gruppieren 9">
            <a:extLst>
              <a:ext uri="{FF2B5EF4-FFF2-40B4-BE49-F238E27FC236}">
                <a16:creationId xmlns:a16="http://schemas.microsoft.com/office/drawing/2014/main" id="{BB41CC37-44AE-B560-336C-D0F9683B95D2}"/>
              </a:ext>
            </a:extLst>
          </p:cNvPr>
          <p:cNvGrpSpPr/>
          <p:nvPr/>
        </p:nvGrpSpPr>
        <p:grpSpPr>
          <a:xfrm>
            <a:off x="3333612" y="2535569"/>
            <a:ext cx="360000" cy="360000"/>
            <a:chOff x="3326505" y="2872156"/>
            <a:chExt cx="360000" cy="360000"/>
          </a:xfrm>
        </p:grpSpPr>
        <p:grpSp>
          <p:nvGrpSpPr>
            <p:cNvPr id="284" name="Grafik 42">
              <a:extLst>
                <a:ext uri="{FF2B5EF4-FFF2-40B4-BE49-F238E27FC236}">
                  <a16:creationId xmlns:a16="http://schemas.microsoft.com/office/drawing/2014/main" id="{A3C4552E-A61C-7131-9834-F03B72BD4467}"/>
                </a:ext>
              </a:extLst>
            </p:cNvPr>
            <p:cNvGrpSpPr>
              <a:grpSpLocks noChangeAspect="1"/>
            </p:cNvGrpSpPr>
            <p:nvPr/>
          </p:nvGrpSpPr>
          <p:grpSpPr>
            <a:xfrm>
              <a:off x="3326505" y="2872156"/>
              <a:ext cx="360000" cy="360000"/>
              <a:chOff x="1890251" y="3930400"/>
              <a:chExt cx="540000" cy="540000"/>
            </a:xfrm>
            <a:solidFill>
              <a:schemeClr val="accent1"/>
            </a:solidFill>
          </p:grpSpPr>
          <p:grpSp>
            <p:nvGrpSpPr>
              <p:cNvPr id="285" name="Grafik 42">
                <a:extLst>
                  <a:ext uri="{FF2B5EF4-FFF2-40B4-BE49-F238E27FC236}">
                    <a16:creationId xmlns:a16="http://schemas.microsoft.com/office/drawing/2014/main" id="{BFF7EA88-0CA5-0F09-17A0-CA1E6B1F9D4C}"/>
                  </a:ext>
                </a:extLst>
              </p:cNvPr>
              <p:cNvGrpSpPr/>
              <p:nvPr/>
            </p:nvGrpSpPr>
            <p:grpSpPr>
              <a:xfrm>
                <a:off x="1890251" y="3930400"/>
                <a:ext cx="539429" cy="538859"/>
                <a:chOff x="1890251" y="3930400"/>
                <a:chExt cx="539429" cy="538859"/>
              </a:xfrm>
              <a:grpFill/>
            </p:grpSpPr>
            <p:grpSp>
              <p:nvGrpSpPr>
                <p:cNvPr id="286" name="Grafik 42">
                  <a:extLst>
                    <a:ext uri="{FF2B5EF4-FFF2-40B4-BE49-F238E27FC236}">
                      <a16:creationId xmlns:a16="http://schemas.microsoft.com/office/drawing/2014/main" id="{57855BF4-1AF4-F43E-25E0-460532275D64}"/>
                    </a:ext>
                  </a:extLst>
                </p:cNvPr>
                <p:cNvGrpSpPr/>
                <p:nvPr/>
              </p:nvGrpSpPr>
              <p:grpSpPr>
                <a:xfrm>
                  <a:off x="1890251" y="4151914"/>
                  <a:ext cx="539429" cy="317345"/>
                  <a:chOff x="1890251" y="4151914"/>
                  <a:chExt cx="539429" cy="317345"/>
                </a:xfrm>
                <a:grpFill/>
              </p:grpSpPr>
              <p:sp>
                <p:nvSpPr>
                  <p:cNvPr id="287" name="Freihandform: Form 286">
                    <a:extLst>
                      <a:ext uri="{FF2B5EF4-FFF2-40B4-BE49-F238E27FC236}">
                        <a16:creationId xmlns:a16="http://schemas.microsoft.com/office/drawing/2014/main" id="{66131E94-E0EE-BD3F-2BA3-7FEFF8DE3CA3}"/>
                      </a:ext>
                    </a:extLst>
                  </p:cNvPr>
                  <p:cNvSpPr/>
                  <p:nvPr/>
                </p:nvSpPr>
                <p:spPr>
                  <a:xfrm>
                    <a:off x="2014032" y="4381984"/>
                    <a:ext cx="52098" cy="52098"/>
                  </a:xfrm>
                  <a:custGeom>
                    <a:avLst/>
                    <a:gdLst>
                      <a:gd name="connsiteX0" fmla="*/ 26049 w 52098"/>
                      <a:gd name="connsiteY0" fmla="*/ 0 h 52098"/>
                      <a:gd name="connsiteX1" fmla="*/ 0 w 52098"/>
                      <a:gd name="connsiteY1" fmla="*/ 26049 h 52098"/>
                      <a:gd name="connsiteX2" fmla="*/ 26049 w 52098"/>
                      <a:gd name="connsiteY2" fmla="*/ 52099 h 52098"/>
                      <a:gd name="connsiteX3" fmla="*/ 52099 w 52098"/>
                      <a:gd name="connsiteY3" fmla="*/ 26049 h 52098"/>
                      <a:gd name="connsiteX4" fmla="*/ 26049 w 52098"/>
                      <a:gd name="connsiteY4" fmla="*/ 0 h 52098"/>
                      <a:gd name="connsiteX5" fmla="*/ 26049 w 52098"/>
                      <a:gd name="connsiteY5" fmla="*/ 35366 h 52098"/>
                      <a:gd name="connsiteX6" fmla="*/ 16732 w 52098"/>
                      <a:gd name="connsiteY6" fmla="*/ 26049 h 52098"/>
                      <a:gd name="connsiteX7" fmla="*/ 26049 w 52098"/>
                      <a:gd name="connsiteY7" fmla="*/ 16732 h 52098"/>
                      <a:gd name="connsiteX8" fmla="*/ 35366 w 52098"/>
                      <a:gd name="connsiteY8" fmla="*/ 26049 h 52098"/>
                      <a:gd name="connsiteX9" fmla="*/ 26049 w 52098"/>
                      <a:gd name="connsiteY9" fmla="*/ 35366 h 52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098" h="52098">
                        <a:moveTo>
                          <a:pt x="26049" y="0"/>
                        </a:moveTo>
                        <a:cubicBezTo>
                          <a:pt x="11789" y="0"/>
                          <a:pt x="0" y="11599"/>
                          <a:pt x="0" y="26049"/>
                        </a:cubicBezTo>
                        <a:cubicBezTo>
                          <a:pt x="0" y="40310"/>
                          <a:pt x="11599" y="52099"/>
                          <a:pt x="26049" y="52099"/>
                        </a:cubicBezTo>
                        <a:cubicBezTo>
                          <a:pt x="40310" y="52099"/>
                          <a:pt x="52099" y="40500"/>
                          <a:pt x="52099" y="26049"/>
                        </a:cubicBezTo>
                        <a:cubicBezTo>
                          <a:pt x="51908" y="11789"/>
                          <a:pt x="40310" y="0"/>
                          <a:pt x="26049" y="0"/>
                        </a:cubicBezTo>
                        <a:close/>
                        <a:moveTo>
                          <a:pt x="26049" y="35366"/>
                        </a:moveTo>
                        <a:cubicBezTo>
                          <a:pt x="20915" y="35366"/>
                          <a:pt x="16732" y="31183"/>
                          <a:pt x="16732" y="26049"/>
                        </a:cubicBezTo>
                        <a:cubicBezTo>
                          <a:pt x="16732" y="20915"/>
                          <a:pt x="20915" y="16732"/>
                          <a:pt x="26049" y="16732"/>
                        </a:cubicBezTo>
                        <a:cubicBezTo>
                          <a:pt x="31183" y="16732"/>
                          <a:pt x="35366" y="20915"/>
                          <a:pt x="35366" y="26049"/>
                        </a:cubicBezTo>
                        <a:cubicBezTo>
                          <a:pt x="35366" y="31183"/>
                          <a:pt x="31183" y="35366"/>
                          <a:pt x="26049" y="35366"/>
                        </a:cubicBezTo>
                        <a:close/>
                      </a:path>
                    </a:pathLst>
                  </a:custGeom>
                  <a:grpFill/>
                  <a:ln w="1878" cap="flat">
                    <a:noFill/>
                    <a:prstDash val="solid"/>
                    <a:miter/>
                  </a:ln>
                </p:spPr>
                <p:txBody>
                  <a:bodyPr rtlCol="0" anchor="ctr"/>
                  <a:lstStyle/>
                  <a:p>
                    <a:endParaRPr lang="en-GB" noProof="0" dirty="0"/>
                  </a:p>
                </p:txBody>
              </p:sp>
              <p:sp>
                <p:nvSpPr>
                  <p:cNvPr id="288" name="Freihandform: Form 287">
                    <a:extLst>
                      <a:ext uri="{FF2B5EF4-FFF2-40B4-BE49-F238E27FC236}">
                        <a16:creationId xmlns:a16="http://schemas.microsoft.com/office/drawing/2014/main" id="{0363150F-0ADF-C1BF-CF87-5C1B80C3763A}"/>
                      </a:ext>
                    </a:extLst>
                  </p:cNvPr>
                  <p:cNvSpPr/>
                  <p:nvPr/>
                </p:nvSpPr>
                <p:spPr>
                  <a:xfrm>
                    <a:off x="2288786" y="4381984"/>
                    <a:ext cx="52098" cy="52098"/>
                  </a:xfrm>
                  <a:custGeom>
                    <a:avLst/>
                    <a:gdLst>
                      <a:gd name="connsiteX0" fmla="*/ 26049 w 52098"/>
                      <a:gd name="connsiteY0" fmla="*/ 0 h 52098"/>
                      <a:gd name="connsiteX1" fmla="*/ 0 w 52098"/>
                      <a:gd name="connsiteY1" fmla="*/ 26049 h 52098"/>
                      <a:gd name="connsiteX2" fmla="*/ 26049 w 52098"/>
                      <a:gd name="connsiteY2" fmla="*/ 52099 h 52098"/>
                      <a:gd name="connsiteX3" fmla="*/ 52099 w 52098"/>
                      <a:gd name="connsiteY3" fmla="*/ 26049 h 52098"/>
                      <a:gd name="connsiteX4" fmla="*/ 26049 w 52098"/>
                      <a:gd name="connsiteY4" fmla="*/ 0 h 52098"/>
                      <a:gd name="connsiteX5" fmla="*/ 26049 w 52098"/>
                      <a:gd name="connsiteY5" fmla="*/ 35366 h 52098"/>
                      <a:gd name="connsiteX6" fmla="*/ 16732 w 52098"/>
                      <a:gd name="connsiteY6" fmla="*/ 26049 h 52098"/>
                      <a:gd name="connsiteX7" fmla="*/ 26049 w 52098"/>
                      <a:gd name="connsiteY7" fmla="*/ 16732 h 52098"/>
                      <a:gd name="connsiteX8" fmla="*/ 35366 w 52098"/>
                      <a:gd name="connsiteY8" fmla="*/ 26049 h 52098"/>
                      <a:gd name="connsiteX9" fmla="*/ 26049 w 52098"/>
                      <a:gd name="connsiteY9" fmla="*/ 35366 h 52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098" h="52098">
                        <a:moveTo>
                          <a:pt x="26049" y="0"/>
                        </a:moveTo>
                        <a:cubicBezTo>
                          <a:pt x="11789" y="0"/>
                          <a:pt x="0" y="11599"/>
                          <a:pt x="0" y="26049"/>
                        </a:cubicBezTo>
                        <a:cubicBezTo>
                          <a:pt x="0" y="40310"/>
                          <a:pt x="11599" y="52099"/>
                          <a:pt x="26049" y="52099"/>
                        </a:cubicBezTo>
                        <a:cubicBezTo>
                          <a:pt x="40310" y="52099"/>
                          <a:pt x="52099" y="40500"/>
                          <a:pt x="52099" y="26049"/>
                        </a:cubicBezTo>
                        <a:cubicBezTo>
                          <a:pt x="51908" y="11789"/>
                          <a:pt x="40310" y="0"/>
                          <a:pt x="26049" y="0"/>
                        </a:cubicBezTo>
                        <a:close/>
                        <a:moveTo>
                          <a:pt x="26049" y="35366"/>
                        </a:moveTo>
                        <a:cubicBezTo>
                          <a:pt x="20915" y="35366"/>
                          <a:pt x="16732" y="31183"/>
                          <a:pt x="16732" y="26049"/>
                        </a:cubicBezTo>
                        <a:cubicBezTo>
                          <a:pt x="16732" y="20915"/>
                          <a:pt x="20915" y="16732"/>
                          <a:pt x="26049" y="16732"/>
                        </a:cubicBezTo>
                        <a:cubicBezTo>
                          <a:pt x="31183" y="16732"/>
                          <a:pt x="35366" y="20915"/>
                          <a:pt x="35366" y="26049"/>
                        </a:cubicBezTo>
                        <a:cubicBezTo>
                          <a:pt x="35366" y="31183"/>
                          <a:pt x="31183" y="35366"/>
                          <a:pt x="26049" y="35366"/>
                        </a:cubicBezTo>
                        <a:close/>
                      </a:path>
                    </a:pathLst>
                  </a:custGeom>
                  <a:grpFill/>
                  <a:ln w="1878" cap="flat">
                    <a:noFill/>
                    <a:prstDash val="solid"/>
                    <a:miter/>
                  </a:ln>
                </p:spPr>
                <p:txBody>
                  <a:bodyPr rtlCol="0" anchor="ctr"/>
                  <a:lstStyle/>
                  <a:p>
                    <a:endParaRPr lang="en-GB" noProof="0" dirty="0"/>
                  </a:p>
                </p:txBody>
              </p:sp>
              <p:sp>
                <p:nvSpPr>
                  <p:cNvPr id="289" name="Freihandform: Form 288">
                    <a:extLst>
                      <a:ext uri="{FF2B5EF4-FFF2-40B4-BE49-F238E27FC236}">
                        <a16:creationId xmlns:a16="http://schemas.microsoft.com/office/drawing/2014/main" id="{07DCF393-1A99-3017-5E8F-890CF89A7CD2}"/>
                      </a:ext>
                    </a:extLst>
                  </p:cNvPr>
                  <p:cNvSpPr/>
                  <p:nvPr/>
                </p:nvSpPr>
                <p:spPr>
                  <a:xfrm>
                    <a:off x="1890251" y="4151914"/>
                    <a:ext cx="539429" cy="317345"/>
                  </a:xfrm>
                  <a:custGeom>
                    <a:avLst/>
                    <a:gdLst>
                      <a:gd name="connsiteX0" fmla="*/ 530113 w 539429"/>
                      <a:gd name="connsiteY0" fmla="*/ 214669 h 317345"/>
                      <a:gd name="connsiteX1" fmla="*/ 530113 w 539429"/>
                      <a:gd name="connsiteY1" fmla="*/ 150782 h 317345"/>
                      <a:gd name="connsiteX2" fmla="*/ 524218 w 539429"/>
                      <a:gd name="connsiteY2" fmla="*/ 128725 h 317345"/>
                      <a:gd name="connsiteX3" fmla="*/ 477254 w 539429"/>
                      <a:gd name="connsiteY3" fmla="*/ 48296 h 317345"/>
                      <a:gd name="connsiteX4" fmla="*/ 439606 w 539429"/>
                      <a:gd name="connsiteY4" fmla="*/ 26620 h 317345"/>
                      <a:gd name="connsiteX5" fmla="*/ 380282 w 539429"/>
                      <a:gd name="connsiteY5" fmla="*/ 26620 h 317345"/>
                      <a:gd name="connsiteX6" fmla="*/ 363169 w 539429"/>
                      <a:gd name="connsiteY6" fmla="*/ 43732 h 317345"/>
                      <a:gd name="connsiteX7" fmla="*/ 363169 w 539429"/>
                      <a:gd name="connsiteY7" fmla="*/ 194704 h 317345"/>
                      <a:gd name="connsiteX8" fmla="*/ 344345 w 539429"/>
                      <a:gd name="connsiteY8" fmla="*/ 194704 h 317345"/>
                      <a:gd name="connsiteX9" fmla="*/ 344345 w 539429"/>
                      <a:gd name="connsiteY9" fmla="*/ 26049 h 317345"/>
                      <a:gd name="connsiteX10" fmla="*/ 318296 w 539429"/>
                      <a:gd name="connsiteY10" fmla="*/ 0 h 317345"/>
                      <a:gd name="connsiteX11" fmla="*/ 26049 w 539429"/>
                      <a:gd name="connsiteY11" fmla="*/ 0 h 317345"/>
                      <a:gd name="connsiteX12" fmla="*/ 0 w 539429"/>
                      <a:gd name="connsiteY12" fmla="*/ 26049 h 317345"/>
                      <a:gd name="connsiteX13" fmla="*/ 0 w 539429"/>
                      <a:gd name="connsiteY13" fmla="*/ 238246 h 317345"/>
                      <a:gd name="connsiteX14" fmla="*/ 26049 w 539429"/>
                      <a:gd name="connsiteY14" fmla="*/ 264296 h 317345"/>
                      <a:gd name="connsiteX15" fmla="*/ 89176 w 539429"/>
                      <a:gd name="connsiteY15" fmla="*/ 264296 h 317345"/>
                      <a:gd name="connsiteX16" fmla="*/ 150021 w 539429"/>
                      <a:gd name="connsiteY16" fmla="*/ 317345 h 317345"/>
                      <a:gd name="connsiteX17" fmla="*/ 210866 w 539429"/>
                      <a:gd name="connsiteY17" fmla="*/ 264296 h 317345"/>
                      <a:gd name="connsiteX18" fmla="*/ 364120 w 539429"/>
                      <a:gd name="connsiteY18" fmla="*/ 264296 h 317345"/>
                      <a:gd name="connsiteX19" fmla="*/ 424965 w 539429"/>
                      <a:gd name="connsiteY19" fmla="*/ 317345 h 317345"/>
                      <a:gd name="connsiteX20" fmla="*/ 485810 w 539429"/>
                      <a:gd name="connsiteY20" fmla="*/ 264296 h 317345"/>
                      <a:gd name="connsiteX21" fmla="*/ 522317 w 539429"/>
                      <a:gd name="connsiteY21" fmla="*/ 264296 h 317345"/>
                      <a:gd name="connsiteX22" fmla="*/ 539430 w 539429"/>
                      <a:gd name="connsiteY22" fmla="*/ 247183 h 317345"/>
                      <a:gd name="connsiteX23" fmla="*/ 539430 w 539429"/>
                      <a:gd name="connsiteY23" fmla="*/ 229500 h 317345"/>
                      <a:gd name="connsiteX24" fmla="*/ 530113 w 539429"/>
                      <a:gd name="connsiteY24" fmla="*/ 214669 h 317345"/>
                      <a:gd name="connsiteX25" fmla="*/ 16542 w 539429"/>
                      <a:gd name="connsiteY25" fmla="*/ 175880 h 317345"/>
                      <a:gd name="connsiteX26" fmla="*/ 35366 w 539429"/>
                      <a:gd name="connsiteY26" fmla="*/ 175880 h 317345"/>
                      <a:gd name="connsiteX27" fmla="*/ 35366 w 539429"/>
                      <a:gd name="connsiteY27" fmla="*/ 202880 h 317345"/>
                      <a:gd name="connsiteX28" fmla="*/ 26049 w 539429"/>
                      <a:gd name="connsiteY28" fmla="*/ 212197 h 317345"/>
                      <a:gd name="connsiteX29" fmla="*/ 16542 w 539429"/>
                      <a:gd name="connsiteY29" fmla="*/ 212197 h 317345"/>
                      <a:gd name="connsiteX30" fmla="*/ 16542 w 539429"/>
                      <a:gd name="connsiteY30" fmla="*/ 175880 h 317345"/>
                      <a:gd name="connsiteX31" fmla="*/ 149831 w 539429"/>
                      <a:gd name="connsiteY31" fmla="*/ 300803 h 317345"/>
                      <a:gd name="connsiteX32" fmla="*/ 105148 w 539429"/>
                      <a:gd name="connsiteY32" fmla="*/ 256120 h 317345"/>
                      <a:gd name="connsiteX33" fmla="*/ 105148 w 539429"/>
                      <a:gd name="connsiteY33" fmla="*/ 256120 h 317345"/>
                      <a:gd name="connsiteX34" fmla="*/ 105148 w 539429"/>
                      <a:gd name="connsiteY34" fmla="*/ 256120 h 317345"/>
                      <a:gd name="connsiteX35" fmla="*/ 149831 w 539429"/>
                      <a:gd name="connsiteY35" fmla="*/ 211437 h 317345"/>
                      <a:gd name="connsiteX36" fmla="*/ 194704 w 539429"/>
                      <a:gd name="connsiteY36" fmla="*/ 256120 h 317345"/>
                      <a:gd name="connsiteX37" fmla="*/ 149831 w 539429"/>
                      <a:gd name="connsiteY37" fmla="*/ 300803 h 317345"/>
                      <a:gd name="connsiteX38" fmla="*/ 327803 w 539429"/>
                      <a:gd name="connsiteY38" fmla="*/ 247754 h 317345"/>
                      <a:gd name="connsiteX39" fmla="*/ 210486 w 539429"/>
                      <a:gd name="connsiteY39" fmla="*/ 247754 h 317345"/>
                      <a:gd name="connsiteX40" fmla="*/ 149641 w 539429"/>
                      <a:gd name="connsiteY40" fmla="*/ 194704 h 317345"/>
                      <a:gd name="connsiteX41" fmla="*/ 88796 w 539429"/>
                      <a:gd name="connsiteY41" fmla="*/ 247754 h 317345"/>
                      <a:gd name="connsiteX42" fmla="*/ 26049 w 539429"/>
                      <a:gd name="connsiteY42" fmla="*/ 247754 h 317345"/>
                      <a:gd name="connsiteX43" fmla="*/ 16732 w 539429"/>
                      <a:gd name="connsiteY43" fmla="*/ 238437 h 317345"/>
                      <a:gd name="connsiteX44" fmla="*/ 16732 w 539429"/>
                      <a:gd name="connsiteY44" fmla="*/ 229120 h 317345"/>
                      <a:gd name="connsiteX45" fmla="*/ 26049 w 539429"/>
                      <a:gd name="connsiteY45" fmla="*/ 229120 h 317345"/>
                      <a:gd name="connsiteX46" fmla="*/ 52099 w 539429"/>
                      <a:gd name="connsiteY46" fmla="*/ 203070 h 317345"/>
                      <a:gd name="connsiteX47" fmla="*/ 52099 w 539429"/>
                      <a:gd name="connsiteY47" fmla="*/ 167704 h 317345"/>
                      <a:gd name="connsiteX48" fmla="*/ 43732 w 539429"/>
                      <a:gd name="connsiteY48" fmla="*/ 159338 h 317345"/>
                      <a:gd name="connsiteX49" fmla="*/ 16542 w 539429"/>
                      <a:gd name="connsiteY49" fmla="*/ 159338 h 317345"/>
                      <a:gd name="connsiteX50" fmla="*/ 16542 w 539429"/>
                      <a:gd name="connsiteY50" fmla="*/ 26049 h 317345"/>
                      <a:gd name="connsiteX51" fmla="*/ 25859 w 539429"/>
                      <a:gd name="connsiteY51" fmla="*/ 16732 h 317345"/>
                      <a:gd name="connsiteX52" fmla="*/ 318296 w 539429"/>
                      <a:gd name="connsiteY52" fmla="*/ 16732 h 317345"/>
                      <a:gd name="connsiteX53" fmla="*/ 327613 w 539429"/>
                      <a:gd name="connsiteY53" fmla="*/ 26049 h 317345"/>
                      <a:gd name="connsiteX54" fmla="*/ 327613 w 539429"/>
                      <a:gd name="connsiteY54" fmla="*/ 247754 h 317345"/>
                      <a:gd name="connsiteX55" fmla="*/ 363169 w 539429"/>
                      <a:gd name="connsiteY55" fmla="*/ 247754 h 317345"/>
                      <a:gd name="connsiteX56" fmla="*/ 344345 w 539429"/>
                      <a:gd name="connsiteY56" fmla="*/ 247754 h 317345"/>
                      <a:gd name="connsiteX57" fmla="*/ 344345 w 539429"/>
                      <a:gd name="connsiteY57" fmla="*/ 211246 h 317345"/>
                      <a:gd name="connsiteX58" fmla="*/ 363169 w 539429"/>
                      <a:gd name="connsiteY58" fmla="*/ 211246 h 317345"/>
                      <a:gd name="connsiteX59" fmla="*/ 363169 w 539429"/>
                      <a:gd name="connsiteY59" fmla="*/ 247754 h 317345"/>
                      <a:gd name="connsiteX60" fmla="*/ 379711 w 539429"/>
                      <a:gd name="connsiteY60" fmla="*/ 43923 h 317345"/>
                      <a:gd name="connsiteX61" fmla="*/ 380282 w 539429"/>
                      <a:gd name="connsiteY61" fmla="*/ 43352 h 317345"/>
                      <a:gd name="connsiteX62" fmla="*/ 439606 w 539429"/>
                      <a:gd name="connsiteY62" fmla="*/ 43352 h 317345"/>
                      <a:gd name="connsiteX63" fmla="*/ 462993 w 539429"/>
                      <a:gd name="connsiteY63" fmla="*/ 56852 h 317345"/>
                      <a:gd name="connsiteX64" fmla="*/ 466035 w 539429"/>
                      <a:gd name="connsiteY64" fmla="*/ 62176 h 317345"/>
                      <a:gd name="connsiteX65" fmla="*/ 379711 w 539429"/>
                      <a:gd name="connsiteY65" fmla="*/ 62176 h 317345"/>
                      <a:gd name="connsiteX66" fmla="*/ 379711 w 539429"/>
                      <a:gd name="connsiteY66" fmla="*/ 43923 h 317345"/>
                      <a:gd name="connsiteX67" fmla="*/ 379711 w 539429"/>
                      <a:gd name="connsiteY67" fmla="*/ 78718 h 317345"/>
                      <a:gd name="connsiteX68" fmla="*/ 475732 w 539429"/>
                      <a:gd name="connsiteY68" fmla="*/ 78718 h 317345"/>
                      <a:gd name="connsiteX69" fmla="*/ 509768 w 539429"/>
                      <a:gd name="connsiteY69" fmla="*/ 137092 h 317345"/>
                      <a:gd name="connsiteX70" fmla="*/ 513380 w 539429"/>
                      <a:gd name="connsiteY70" fmla="*/ 150782 h 317345"/>
                      <a:gd name="connsiteX71" fmla="*/ 513380 w 539429"/>
                      <a:gd name="connsiteY71" fmla="*/ 159528 h 317345"/>
                      <a:gd name="connsiteX72" fmla="*/ 497218 w 539429"/>
                      <a:gd name="connsiteY72" fmla="*/ 159528 h 317345"/>
                      <a:gd name="connsiteX73" fmla="*/ 484289 w 539429"/>
                      <a:gd name="connsiteY73" fmla="*/ 154204 h 317345"/>
                      <a:gd name="connsiteX74" fmla="*/ 473261 w 539429"/>
                      <a:gd name="connsiteY74" fmla="*/ 143176 h 317345"/>
                      <a:gd name="connsiteX75" fmla="*/ 448732 w 539429"/>
                      <a:gd name="connsiteY75" fmla="*/ 132908 h 317345"/>
                      <a:gd name="connsiteX76" fmla="*/ 379521 w 539429"/>
                      <a:gd name="connsiteY76" fmla="*/ 132908 h 317345"/>
                      <a:gd name="connsiteX77" fmla="*/ 379521 w 539429"/>
                      <a:gd name="connsiteY77" fmla="*/ 78718 h 317345"/>
                      <a:gd name="connsiteX78" fmla="*/ 424585 w 539429"/>
                      <a:gd name="connsiteY78" fmla="*/ 300803 h 317345"/>
                      <a:gd name="connsiteX79" fmla="*/ 379901 w 539429"/>
                      <a:gd name="connsiteY79" fmla="*/ 255930 h 317345"/>
                      <a:gd name="connsiteX80" fmla="*/ 424585 w 539429"/>
                      <a:gd name="connsiteY80" fmla="*/ 211246 h 317345"/>
                      <a:gd name="connsiteX81" fmla="*/ 469268 w 539429"/>
                      <a:gd name="connsiteY81" fmla="*/ 255930 h 317345"/>
                      <a:gd name="connsiteX82" fmla="*/ 424585 w 539429"/>
                      <a:gd name="connsiteY82" fmla="*/ 300803 h 317345"/>
                      <a:gd name="connsiteX83" fmla="*/ 486951 w 539429"/>
                      <a:gd name="connsiteY83" fmla="*/ 229500 h 317345"/>
                      <a:gd name="connsiteX84" fmla="*/ 486951 w 539429"/>
                      <a:gd name="connsiteY84" fmla="*/ 247754 h 317345"/>
                      <a:gd name="connsiteX85" fmla="*/ 485239 w 539429"/>
                      <a:gd name="connsiteY85" fmla="*/ 247754 h 317345"/>
                      <a:gd name="connsiteX86" fmla="*/ 424394 w 539429"/>
                      <a:gd name="connsiteY86" fmla="*/ 194704 h 317345"/>
                      <a:gd name="connsiteX87" fmla="*/ 379711 w 539429"/>
                      <a:gd name="connsiteY87" fmla="*/ 214099 h 317345"/>
                      <a:gd name="connsiteX88" fmla="*/ 379711 w 539429"/>
                      <a:gd name="connsiteY88" fmla="*/ 149261 h 317345"/>
                      <a:gd name="connsiteX89" fmla="*/ 448923 w 539429"/>
                      <a:gd name="connsiteY89" fmla="*/ 149261 h 317345"/>
                      <a:gd name="connsiteX90" fmla="*/ 461852 w 539429"/>
                      <a:gd name="connsiteY90" fmla="*/ 154585 h 317345"/>
                      <a:gd name="connsiteX91" fmla="*/ 472880 w 539429"/>
                      <a:gd name="connsiteY91" fmla="*/ 165613 h 317345"/>
                      <a:gd name="connsiteX92" fmla="*/ 497408 w 539429"/>
                      <a:gd name="connsiteY92" fmla="*/ 175880 h 317345"/>
                      <a:gd name="connsiteX93" fmla="*/ 513570 w 539429"/>
                      <a:gd name="connsiteY93" fmla="*/ 175880 h 317345"/>
                      <a:gd name="connsiteX94" fmla="*/ 513570 w 539429"/>
                      <a:gd name="connsiteY94" fmla="*/ 212387 h 317345"/>
                      <a:gd name="connsiteX95" fmla="*/ 504254 w 539429"/>
                      <a:gd name="connsiteY95" fmla="*/ 212387 h 317345"/>
                      <a:gd name="connsiteX96" fmla="*/ 486951 w 539429"/>
                      <a:gd name="connsiteY96" fmla="*/ 229500 h 317345"/>
                      <a:gd name="connsiteX97" fmla="*/ 522317 w 539429"/>
                      <a:gd name="connsiteY97" fmla="*/ 247183 h 317345"/>
                      <a:gd name="connsiteX98" fmla="*/ 521746 w 539429"/>
                      <a:gd name="connsiteY98" fmla="*/ 247754 h 317345"/>
                      <a:gd name="connsiteX99" fmla="*/ 503493 w 539429"/>
                      <a:gd name="connsiteY99" fmla="*/ 247754 h 317345"/>
                      <a:gd name="connsiteX100" fmla="*/ 503493 w 539429"/>
                      <a:gd name="connsiteY100" fmla="*/ 229500 h 317345"/>
                      <a:gd name="connsiteX101" fmla="*/ 504063 w 539429"/>
                      <a:gd name="connsiteY101" fmla="*/ 228930 h 317345"/>
                      <a:gd name="connsiteX102" fmla="*/ 521746 w 539429"/>
                      <a:gd name="connsiteY102" fmla="*/ 228930 h 317345"/>
                      <a:gd name="connsiteX103" fmla="*/ 522317 w 539429"/>
                      <a:gd name="connsiteY103" fmla="*/ 229500 h 317345"/>
                      <a:gd name="connsiteX104" fmla="*/ 522317 w 539429"/>
                      <a:gd name="connsiteY104" fmla="*/ 247183 h 317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539429" h="317345">
                        <a:moveTo>
                          <a:pt x="530113" y="214669"/>
                        </a:moveTo>
                        <a:lnTo>
                          <a:pt x="530113" y="150782"/>
                        </a:lnTo>
                        <a:cubicBezTo>
                          <a:pt x="530113" y="142986"/>
                          <a:pt x="528021" y="135380"/>
                          <a:pt x="524218" y="128725"/>
                        </a:cubicBezTo>
                        <a:lnTo>
                          <a:pt x="477254" y="48296"/>
                        </a:lnTo>
                        <a:cubicBezTo>
                          <a:pt x="469458" y="34986"/>
                          <a:pt x="455007" y="26620"/>
                          <a:pt x="439606" y="26620"/>
                        </a:cubicBezTo>
                        <a:lnTo>
                          <a:pt x="380282" y="26620"/>
                        </a:lnTo>
                        <a:cubicBezTo>
                          <a:pt x="370775" y="26620"/>
                          <a:pt x="363169" y="34225"/>
                          <a:pt x="363169" y="43732"/>
                        </a:cubicBezTo>
                        <a:lnTo>
                          <a:pt x="363169" y="194704"/>
                        </a:lnTo>
                        <a:lnTo>
                          <a:pt x="344345" y="194704"/>
                        </a:lnTo>
                        <a:lnTo>
                          <a:pt x="344345" y="26049"/>
                        </a:lnTo>
                        <a:cubicBezTo>
                          <a:pt x="344345" y="11789"/>
                          <a:pt x="332746" y="0"/>
                          <a:pt x="318296" y="0"/>
                        </a:cubicBezTo>
                        <a:lnTo>
                          <a:pt x="26049" y="0"/>
                        </a:lnTo>
                        <a:cubicBezTo>
                          <a:pt x="11789" y="0"/>
                          <a:pt x="0" y="11599"/>
                          <a:pt x="0" y="26049"/>
                        </a:cubicBezTo>
                        <a:lnTo>
                          <a:pt x="0" y="238246"/>
                        </a:lnTo>
                        <a:cubicBezTo>
                          <a:pt x="0" y="252507"/>
                          <a:pt x="11599" y="264296"/>
                          <a:pt x="26049" y="264296"/>
                        </a:cubicBezTo>
                        <a:lnTo>
                          <a:pt x="89176" y="264296"/>
                        </a:lnTo>
                        <a:cubicBezTo>
                          <a:pt x="93169" y="294148"/>
                          <a:pt x="118838" y="317345"/>
                          <a:pt x="150021" y="317345"/>
                        </a:cubicBezTo>
                        <a:cubicBezTo>
                          <a:pt x="181014" y="317345"/>
                          <a:pt x="206683" y="294148"/>
                          <a:pt x="210866" y="264296"/>
                        </a:cubicBezTo>
                        <a:lnTo>
                          <a:pt x="364120" y="264296"/>
                        </a:lnTo>
                        <a:cubicBezTo>
                          <a:pt x="368113" y="294148"/>
                          <a:pt x="393972" y="317345"/>
                          <a:pt x="424965" y="317345"/>
                        </a:cubicBezTo>
                        <a:cubicBezTo>
                          <a:pt x="455958" y="317345"/>
                          <a:pt x="481627" y="294148"/>
                          <a:pt x="485810" y="264296"/>
                        </a:cubicBezTo>
                        <a:lnTo>
                          <a:pt x="522317" y="264296"/>
                        </a:lnTo>
                        <a:cubicBezTo>
                          <a:pt x="531824" y="264296"/>
                          <a:pt x="539430" y="256690"/>
                          <a:pt x="539430" y="247183"/>
                        </a:cubicBezTo>
                        <a:lnTo>
                          <a:pt x="539430" y="229500"/>
                        </a:lnTo>
                        <a:cubicBezTo>
                          <a:pt x="539049" y="223225"/>
                          <a:pt x="535437" y="217521"/>
                          <a:pt x="530113" y="214669"/>
                        </a:cubicBezTo>
                        <a:close/>
                        <a:moveTo>
                          <a:pt x="16542" y="175880"/>
                        </a:moveTo>
                        <a:lnTo>
                          <a:pt x="35366" y="175880"/>
                        </a:lnTo>
                        <a:lnTo>
                          <a:pt x="35366" y="202880"/>
                        </a:lnTo>
                        <a:cubicBezTo>
                          <a:pt x="35366" y="208014"/>
                          <a:pt x="31183" y="212197"/>
                          <a:pt x="26049" y="212197"/>
                        </a:cubicBezTo>
                        <a:lnTo>
                          <a:pt x="16542" y="212197"/>
                        </a:lnTo>
                        <a:lnTo>
                          <a:pt x="16542" y="175880"/>
                        </a:lnTo>
                        <a:close/>
                        <a:moveTo>
                          <a:pt x="149831" y="300803"/>
                        </a:moveTo>
                        <a:cubicBezTo>
                          <a:pt x="125113" y="300803"/>
                          <a:pt x="105148" y="280648"/>
                          <a:pt x="105148" y="256120"/>
                        </a:cubicBezTo>
                        <a:lnTo>
                          <a:pt x="105148" y="256120"/>
                        </a:lnTo>
                        <a:lnTo>
                          <a:pt x="105148" y="256120"/>
                        </a:lnTo>
                        <a:cubicBezTo>
                          <a:pt x="105148" y="231401"/>
                          <a:pt x="125303" y="211437"/>
                          <a:pt x="149831" y="211437"/>
                        </a:cubicBezTo>
                        <a:cubicBezTo>
                          <a:pt x="174549" y="211437"/>
                          <a:pt x="194704" y="231592"/>
                          <a:pt x="194704" y="256120"/>
                        </a:cubicBezTo>
                        <a:cubicBezTo>
                          <a:pt x="194514" y="280838"/>
                          <a:pt x="174549" y="300803"/>
                          <a:pt x="149831" y="300803"/>
                        </a:cubicBezTo>
                        <a:close/>
                        <a:moveTo>
                          <a:pt x="327803" y="247754"/>
                        </a:moveTo>
                        <a:lnTo>
                          <a:pt x="210486" y="247754"/>
                        </a:lnTo>
                        <a:cubicBezTo>
                          <a:pt x="206493" y="217901"/>
                          <a:pt x="180634" y="194704"/>
                          <a:pt x="149641" y="194704"/>
                        </a:cubicBezTo>
                        <a:cubicBezTo>
                          <a:pt x="118648" y="194704"/>
                          <a:pt x="92979" y="217901"/>
                          <a:pt x="88796" y="247754"/>
                        </a:cubicBezTo>
                        <a:lnTo>
                          <a:pt x="26049" y="247754"/>
                        </a:lnTo>
                        <a:cubicBezTo>
                          <a:pt x="20915" y="247754"/>
                          <a:pt x="16732" y="243570"/>
                          <a:pt x="16732" y="238437"/>
                        </a:cubicBezTo>
                        <a:lnTo>
                          <a:pt x="16732" y="229120"/>
                        </a:lnTo>
                        <a:lnTo>
                          <a:pt x="26049" y="229120"/>
                        </a:lnTo>
                        <a:cubicBezTo>
                          <a:pt x="40310" y="229120"/>
                          <a:pt x="52099" y="217521"/>
                          <a:pt x="52099" y="203070"/>
                        </a:cubicBezTo>
                        <a:lnTo>
                          <a:pt x="52099" y="167704"/>
                        </a:lnTo>
                        <a:cubicBezTo>
                          <a:pt x="52099" y="163141"/>
                          <a:pt x="48296" y="159338"/>
                          <a:pt x="43732" y="159338"/>
                        </a:cubicBezTo>
                        <a:lnTo>
                          <a:pt x="16542" y="159338"/>
                        </a:lnTo>
                        <a:lnTo>
                          <a:pt x="16542" y="26049"/>
                        </a:lnTo>
                        <a:cubicBezTo>
                          <a:pt x="16542" y="20915"/>
                          <a:pt x="20725" y="16732"/>
                          <a:pt x="25859" y="16732"/>
                        </a:cubicBezTo>
                        <a:lnTo>
                          <a:pt x="318296" y="16732"/>
                        </a:lnTo>
                        <a:cubicBezTo>
                          <a:pt x="323430" y="16732"/>
                          <a:pt x="327613" y="20915"/>
                          <a:pt x="327613" y="26049"/>
                        </a:cubicBezTo>
                        <a:lnTo>
                          <a:pt x="327613" y="247754"/>
                        </a:lnTo>
                        <a:close/>
                        <a:moveTo>
                          <a:pt x="363169" y="247754"/>
                        </a:moveTo>
                        <a:lnTo>
                          <a:pt x="344345" y="247754"/>
                        </a:lnTo>
                        <a:lnTo>
                          <a:pt x="344345" y="211246"/>
                        </a:lnTo>
                        <a:lnTo>
                          <a:pt x="363169" y="211246"/>
                        </a:lnTo>
                        <a:lnTo>
                          <a:pt x="363169" y="247754"/>
                        </a:lnTo>
                        <a:close/>
                        <a:moveTo>
                          <a:pt x="379711" y="43923"/>
                        </a:moveTo>
                        <a:cubicBezTo>
                          <a:pt x="379711" y="43542"/>
                          <a:pt x="379901" y="43352"/>
                          <a:pt x="380282" y="43352"/>
                        </a:cubicBezTo>
                        <a:lnTo>
                          <a:pt x="439606" y="43352"/>
                        </a:lnTo>
                        <a:cubicBezTo>
                          <a:pt x="449303" y="43352"/>
                          <a:pt x="458239" y="48486"/>
                          <a:pt x="462993" y="56852"/>
                        </a:cubicBezTo>
                        <a:lnTo>
                          <a:pt x="466035" y="62176"/>
                        </a:lnTo>
                        <a:lnTo>
                          <a:pt x="379711" y="62176"/>
                        </a:lnTo>
                        <a:lnTo>
                          <a:pt x="379711" y="43923"/>
                        </a:lnTo>
                        <a:close/>
                        <a:moveTo>
                          <a:pt x="379711" y="78718"/>
                        </a:moveTo>
                        <a:lnTo>
                          <a:pt x="475732" y="78718"/>
                        </a:lnTo>
                        <a:lnTo>
                          <a:pt x="509768" y="137092"/>
                        </a:lnTo>
                        <a:cubicBezTo>
                          <a:pt x="512239" y="141275"/>
                          <a:pt x="513380" y="146028"/>
                          <a:pt x="513380" y="150782"/>
                        </a:cubicBezTo>
                        <a:lnTo>
                          <a:pt x="513380" y="159528"/>
                        </a:lnTo>
                        <a:lnTo>
                          <a:pt x="497218" y="159528"/>
                        </a:lnTo>
                        <a:cubicBezTo>
                          <a:pt x="492275" y="159528"/>
                          <a:pt x="487711" y="157627"/>
                          <a:pt x="484289" y="154204"/>
                        </a:cubicBezTo>
                        <a:lnTo>
                          <a:pt x="473261" y="143176"/>
                        </a:lnTo>
                        <a:cubicBezTo>
                          <a:pt x="466606" y="136521"/>
                          <a:pt x="457859" y="132908"/>
                          <a:pt x="448732" y="132908"/>
                        </a:cubicBezTo>
                        <a:lnTo>
                          <a:pt x="379521" y="132908"/>
                        </a:lnTo>
                        <a:lnTo>
                          <a:pt x="379521" y="78718"/>
                        </a:lnTo>
                        <a:close/>
                        <a:moveTo>
                          <a:pt x="424585" y="300803"/>
                        </a:moveTo>
                        <a:cubicBezTo>
                          <a:pt x="399866" y="300803"/>
                          <a:pt x="379901" y="280648"/>
                          <a:pt x="379901" y="255930"/>
                        </a:cubicBezTo>
                        <a:cubicBezTo>
                          <a:pt x="379901" y="231211"/>
                          <a:pt x="400056" y="211246"/>
                          <a:pt x="424585" y="211246"/>
                        </a:cubicBezTo>
                        <a:cubicBezTo>
                          <a:pt x="449303" y="211246"/>
                          <a:pt x="469268" y="231401"/>
                          <a:pt x="469268" y="255930"/>
                        </a:cubicBezTo>
                        <a:cubicBezTo>
                          <a:pt x="469268" y="280838"/>
                          <a:pt x="449303" y="300803"/>
                          <a:pt x="424585" y="300803"/>
                        </a:cubicBezTo>
                        <a:close/>
                        <a:moveTo>
                          <a:pt x="486951" y="229500"/>
                        </a:moveTo>
                        <a:lnTo>
                          <a:pt x="486951" y="247754"/>
                        </a:lnTo>
                        <a:lnTo>
                          <a:pt x="485239" y="247754"/>
                        </a:lnTo>
                        <a:cubicBezTo>
                          <a:pt x="481247" y="217901"/>
                          <a:pt x="455387" y="194704"/>
                          <a:pt x="424394" y="194704"/>
                        </a:cubicBezTo>
                        <a:cubicBezTo>
                          <a:pt x="406711" y="194704"/>
                          <a:pt x="390739" y="202120"/>
                          <a:pt x="379711" y="214099"/>
                        </a:cubicBezTo>
                        <a:lnTo>
                          <a:pt x="379711" y="149261"/>
                        </a:lnTo>
                        <a:lnTo>
                          <a:pt x="448923" y="149261"/>
                        </a:lnTo>
                        <a:cubicBezTo>
                          <a:pt x="453866" y="149261"/>
                          <a:pt x="458430" y="151162"/>
                          <a:pt x="461852" y="154585"/>
                        </a:cubicBezTo>
                        <a:lnTo>
                          <a:pt x="472880" y="165613"/>
                        </a:lnTo>
                        <a:cubicBezTo>
                          <a:pt x="479535" y="172268"/>
                          <a:pt x="488282" y="175880"/>
                          <a:pt x="497408" y="175880"/>
                        </a:cubicBezTo>
                        <a:lnTo>
                          <a:pt x="513570" y="175880"/>
                        </a:lnTo>
                        <a:lnTo>
                          <a:pt x="513570" y="212387"/>
                        </a:lnTo>
                        <a:lnTo>
                          <a:pt x="504254" y="212387"/>
                        </a:lnTo>
                        <a:cubicBezTo>
                          <a:pt x="494747" y="212387"/>
                          <a:pt x="486951" y="220183"/>
                          <a:pt x="486951" y="229500"/>
                        </a:cubicBezTo>
                        <a:close/>
                        <a:moveTo>
                          <a:pt x="522317" y="247183"/>
                        </a:moveTo>
                        <a:cubicBezTo>
                          <a:pt x="522317" y="247563"/>
                          <a:pt x="522127" y="247754"/>
                          <a:pt x="521746" y="247754"/>
                        </a:cubicBezTo>
                        <a:lnTo>
                          <a:pt x="503493" y="247754"/>
                        </a:lnTo>
                        <a:lnTo>
                          <a:pt x="503493" y="229500"/>
                        </a:lnTo>
                        <a:cubicBezTo>
                          <a:pt x="503493" y="229120"/>
                          <a:pt x="503683" y="228930"/>
                          <a:pt x="504063" y="228930"/>
                        </a:cubicBezTo>
                        <a:lnTo>
                          <a:pt x="521746" y="228930"/>
                        </a:lnTo>
                        <a:cubicBezTo>
                          <a:pt x="522127" y="228930"/>
                          <a:pt x="522317" y="229120"/>
                          <a:pt x="522317" y="229500"/>
                        </a:cubicBezTo>
                        <a:lnTo>
                          <a:pt x="522317" y="247183"/>
                        </a:lnTo>
                        <a:close/>
                      </a:path>
                    </a:pathLst>
                  </a:custGeom>
                  <a:grpFill/>
                  <a:ln w="1878" cap="flat">
                    <a:noFill/>
                    <a:prstDash val="solid"/>
                    <a:miter/>
                  </a:ln>
                </p:spPr>
                <p:txBody>
                  <a:bodyPr rtlCol="0" anchor="ctr"/>
                  <a:lstStyle/>
                  <a:p>
                    <a:endParaRPr lang="en-GB" noProof="0" dirty="0"/>
                  </a:p>
                </p:txBody>
              </p:sp>
            </p:grpSp>
          </p:grpSp>
        </p:grpSp>
        <p:pic>
          <p:nvPicPr>
            <p:cNvPr id="421" name="Grafik 420">
              <a:extLst>
                <a:ext uri="{FF2B5EF4-FFF2-40B4-BE49-F238E27FC236}">
                  <a16:creationId xmlns:a16="http://schemas.microsoft.com/office/drawing/2014/main" id="{D357E82A-61AE-6964-1210-B355448F5562}"/>
                </a:ext>
              </a:extLst>
            </p:cNvPr>
            <p:cNvPicPr>
              <a:picLocks noChangeAspect="1"/>
            </p:cNvPicPr>
            <p:nvPr/>
          </p:nvPicPr>
          <p:blipFill>
            <a:blip r:embed="rId3"/>
            <a:stretch>
              <a:fillRect/>
            </a:stretch>
          </p:blipFill>
          <p:spPr>
            <a:xfrm>
              <a:off x="3351373" y="2929234"/>
              <a:ext cx="193947" cy="89790"/>
            </a:xfrm>
            <a:prstGeom prst="rect">
              <a:avLst/>
            </a:prstGeom>
          </p:spPr>
        </p:pic>
      </p:grpSp>
      <p:sp>
        <p:nvSpPr>
          <p:cNvPr id="23" name="Freihandform: Form 22">
            <a:extLst>
              <a:ext uri="{FF2B5EF4-FFF2-40B4-BE49-F238E27FC236}">
                <a16:creationId xmlns:a16="http://schemas.microsoft.com/office/drawing/2014/main" id="{25482B0F-8ABE-4779-12B8-BF2A86C3ECA6}"/>
              </a:ext>
            </a:extLst>
          </p:cNvPr>
          <p:cNvSpPr/>
          <p:nvPr/>
        </p:nvSpPr>
        <p:spPr>
          <a:xfrm>
            <a:off x="2365868" y="2633918"/>
            <a:ext cx="294690" cy="253732"/>
          </a:xfrm>
          <a:custGeom>
            <a:avLst/>
            <a:gdLst>
              <a:gd name="connsiteX0" fmla="*/ 538479 w 539049"/>
              <a:gd name="connsiteY0" fmla="*/ 203641 h 538098"/>
              <a:gd name="connsiteX1" fmla="*/ 538479 w 539049"/>
              <a:gd name="connsiteY1" fmla="*/ 192613 h 538098"/>
              <a:gd name="connsiteX2" fmla="*/ 537528 w 539049"/>
              <a:gd name="connsiteY2" fmla="*/ 192613 h 538098"/>
              <a:gd name="connsiteX3" fmla="*/ 538479 w 539049"/>
              <a:gd name="connsiteY3" fmla="*/ 192232 h 538098"/>
              <a:gd name="connsiteX4" fmla="*/ 487141 w 539049"/>
              <a:gd name="connsiteY4" fmla="*/ 82521 h 538098"/>
              <a:gd name="connsiteX5" fmla="*/ 345676 w 539049"/>
              <a:gd name="connsiteY5" fmla="*/ 82521 h 538098"/>
              <a:gd name="connsiteX6" fmla="*/ 345676 w 539049"/>
              <a:gd name="connsiteY6" fmla="*/ 65408 h 538098"/>
              <a:gd name="connsiteX7" fmla="*/ 370394 w 539049"/>
              <a:gd name="connsiteY7" fmla="*/ 33275 h 538098"/>
              <a:gd name="connsiteX8" fmla="*/ 337310 w 539049"/>
              <a:gd name="connsiteY8" fmla="*/ 0 h 538098"/>
              <a:gd name="connsiteX9" fmla="*/ 304035 w 539049"/>
              <a:gd name="connsiteY9" fmla="*/ 33275 h 538098"/>
              <a:gd name="connsiteX10" fmla="*/ 328563 w 539049"/>
              <a:gd name="connsiteY10" fmla="*/ 65408 h 538098"/>
              <a:gd name="connsiteX11" fmla="*/ 328563 w 539049"/>
              <a:gd name="connsiteY11" fmla="*/ 82521 h 538098"/>
              <a:gd name="connsiteX12" fmla="*/ 215810 w 539049"/>
              <a:gd name="connsiteY12" fmla="*/ 82521 h 538098"/>
              <a:gd name="connsiteX13" fmla="*/ 215810 w 539049"/>
              <a:gd name="connsiteY13" fmla="*/ 65789 h 538098"/>
              <a:gd name="connsiteX14" fmla="*/ 242239 w 539049"/>
              <a:gd name="connsiteY14" fmla="*/ 33275 h 538098"/>
              <a:gd name="connsiteX15" fmla="*/ 209155 w 539049"/>
              <a:gd name="connsiteY15" fmla="*/ 0 h 538098"/>
              <a:gd name="connsiteX16" fmla="*/ 176070 w 539049"/>
              <a:gd name="connsiteY16" fmla="*/ 33275 h 538098"/>
              <a:gd name="connsiteX17" fmla="*/ 198887 w 539049"/>
              <a:gd name="connsiteY17" fmla="*/ 64838 h 538098"/>
              <a:gd name="connsiteX18" fmla="*/ 198887 w 539049"/>
              <a:gd name="connsiteY18" fmla="*/ 82521 h 538098"/>
              <a:gd name="connsiteX19" fmla="*/ 56472 w 539049"/>
              <a:gd name="connsiteY19" fmla="*/ 82521 h 538098"/>
              <a:gd name="connsiteX20" fmla="*/ 0 w 539049"/>
              <a:gd name="connsiteY20" fmla="*/ 192232 h 538098"/>
              <a:gd name="connsiteX21" fmla="*/ 761 w 539049"/>
              <a:gd name="connsiteY21" fmla="*/ 192613 h 538098"/>
              <a:gd name="connsiteX22" fmla="*/ 0 w 539049"/>
              <a:gd name="connsiteY22" fmla="*/ 192613 h 538098"/>
              <a:gd name="connsiteX23" fmla="*/ 0 w 539049"/>
              <a:gd name="connsiteY23" fmla="*/ 523077 h 538098"/>
              <a:gd name="connsiteX24" fmla="*/ 19394 w 539049"/>
              <a:gd name="connsiteY24" fmla="*/ 523077 h 538098"/>
              <a:gd name="connsiteX25" fmla="*/ 19394 w 539049"/>
              <a:gd name="connsiteY25" fmla="*/ 538099 h 538098"/>
              <a:gd name="connsiteX26" fmla="*/ 522697 w 539049"/>
              <a:gd name="connsiteY26" fmla="*/ 538099 h 538098"/>
              <a:gd name="connsiteX27" fmla="*/ 522697 w 539049"/>
              <a:gd name="connsiteY27" fmla="*/ 523077 h 538098"/>
              <a:gd name="connsiteX28" fmla="*/ 538669 w 539049"/>
              <a:gd name="connsiteY28" fmla="*/ 523077 h 538098"/>
              <a:gd name="connsiteX29" fmla="*/ 538669 w 539049"/>
              <a:gd name="connsiteY29" fmla="*/ 204592 h 538098"/>
              <a:gd name="connsiteX30" fmla="*/ 539049 w 539049"/>
              <a:gd name="connsiteY30" fmla="*/ 204592 h 538098"/>
              <a:gd name="connsiteX31" fmla="*/ 538479 w 539049"/>
              <a:gd name="connsiteY31" fmla="*/ 203641 h 538098"/>
              <a:gd name="connsiteX32" fmla="*/ 321148 w 539049"/>
              <a:gd name="connsiteY32" fmla="*/ 33275 h 538098"/>
              <a:gd name="connsiteX33" fmla="*/ 337310 w 539049"/>
              <a:gd name="connsiteY33" fmla="*/ 17113 h 538098"/>
              <a:gd name="connsiteX34" fmla="*/ 353472 w 539049"/>
              <a:gd name="connsiteY34" fmla="*/ 33275 h 538098"/>
              <a:gd name="connsiteX35" fmla="*/ 337310 w 539049"/>
              <a:gd name="connsiteY35" fmla="*/ 49437 h 538098"/>
              <a:gd name="connsiteX36" fmla="*/ 321148 w 539049"/>
              <a:gd name="connsiteY36" fmla="*/ 33275 h 538098"/>
              <a:gd name="connsiteX37" fmla="*/ 193183 w 539049"/>
              <a:gd name="connsiteY37" fmla="*/ 33275 h 538098"/>
              <a:gd name="connsiteX38" fmla="*/ 209345 w 539049"/>
              <a:gd name="connsiteY38" fmla="*/ 17113 h 538098"/>
              <a:gd name="connsiteX39" fmla="*/ 225507 w 539049"/>
              <a:gd name="connsiteY39" fmla="*/ 33275 h 538098"/>
              <a:gd name="connsiteX40" fmla="*/ 209345 w 539049"/>
              <a:gd name="connsiteY40" fmla="*/ 49437 h 538098"/>
              <a:gd name="connsiteX41" fmla="*/ 193183 w 539049"/>
              <a:gd name="connsiteY41" fmla="*/ 33275 h 538098"/>
              <a:gd name="connsiteX42" fmla="*/ 521366 w 539049"/>
              <a:gd name="connsiteY42" fmla="*/ 251746 h 538098"/>
              <a:gd name="connsiteX43" fmla="*/ 277796 w 539049"/>
              <a:gd name="connsiteY43" fmla="*/ 251746 h 538098"/>
              <a:gd name="connsiteX44" fmla="*/ 277796 w 539049"/>
              <a:gd name="connsiteY44" fmla="*/ 209725 h 538098"/>
              <a:gd name="connsiteX45" fmla="*/ 521366 w 539049"/>
              <a:gd name="connsiteY45" fmla="*/ 209725 h 538098"/>
              <a:gd name="connsiteX46" fmla="*/ 521366 w 539049"/>
              <a:gd name="connsiteY46" fmla="*/ 251746 h 538098"/>
              <a:gd name="connsiteX47" fmla="*/ 521366 w 539049"/>
              <a:gd name="connsiteY47" fmla="*/ 406331 h 538098"/>
              <a:gd name="connsiteX48" fmla="*/ 277796 w 539049"/>
              <a:gd name="connsiteY48" fmla="*/ 406331 h 538098"/>
              <a:gd name="connsiteX49" fmla="*/ 277796 w 539049"/>
              <a:gd name="connsiteY49" fmla="*/ 268669 h 538098"/>
              <a:gd name="connsiteX50" fmla="*/ 521366 w 539049"/>
              <a:gd name="connsiteY50" fmla="*/ 268669 h 538098"/>
              <a:gd name="connsiteX51" fmla="*/ 521366 w 539049"/>
              <a:gd name="connsiteY51" fmla="*/ 406331 h 538098"/>
              <a:gd name="connsiteX52" fmla="*/ 17113 w 539049"/>
              <a:gd name="connsiteY52" fmla="*/ 268859 h 538098"/>
              <a:gd name="connsiteX53" fmla="*/ 260683 w 539049"/>
              <a:gd name="connsiteY53" fmla="*/ 268859 h 538098"/>
              <a:gd name="connsiteX54" fmla="*/ 260683 w 539049"/>
              <a:gd name="connsiteY54" fmla="*/ 406521 h 538098"/>
              <a:gd name="connsiteX55" fmla="*/ 17113 w 539049"/>
              <a:gd name="connsiteY55" fmla="*/ 406521 h 538098"/>
              <a:gd name="connsiteX56" fmla="*/ 17113 w 539049"/>
              <a:gd name="connsiteY56" fmla="*/ 268859 h 538098"/>
              <a:gd name="connsiteX57" fmla="*/ 421923 w 539049"/>
              <a:gd name="connsiteY57" fmla="*/ 145648 h 538098"/>
              <a:gd name="connsiteX58" fmla="*/ 388077 w 539049"/>
              <a:gd name="connsiteY58" fmla="*/ 178542 h 538098"/>
              <a:gd name="connsiteX59" fmla="*/ 354232 w 539049"/>
              <a:gd name="connsiteY59" fmla="*/ 145648 h 538098"/>
              <a:gd name="connsiteX60" fmla="*/ 388077 w 539049"/>
              <a:gd name="connsiteY60" fmla="*/ 112754 h 538098"/>
              <a:gd name="connsiteX61" fmla="*/ 421923 w 539049"/>
              <a:gd name="connsiteY61" fmla="*/ 145648 h 538098"/>
              <a:gd name="connsiteX62" fmla="*/ 66930 w 539049"/>
              <a:gd name="connsiteY62" fmla="*/ 99634 h 538098"/>
              <a:gd name="connsiteX63" fmla="*/ 260683 w 539049"/>
              <a:gd name="connsiteY63" fmla="*/ 99634 h 538098"/>
              <a:gd name="connsiteX64" fmla="*/ 260683 w 539049"/>
              <a:gd name="connsiteY64" fmla="*/ 192613 h 538098"/>
              <a:gd name="connsiteX65" fmla="*/ 19014 w 539049"/>
              <a:gd name="connsiteY65" fmla="*/ 192613 h 538098"/>
              <a:gd name="connsiteX66" fmla="*/ 66930 w 539049"/>
              <a:gd name="connsiteY66" fmla="*/ 99634 h 538098"/>
              <a:gd name="connsiteX67" fmla="*/ 17113 w 539049"/>
              <a:gd name="connsiteY67" fmla="*/ 209725 h 538098"/>
              <a:gd name="connsiteX68" fmla="*/ 260683 w 539049"/>
              <a:gd name="connsiteY68" fmla="*/ 209725 h 538098"/>
              <a:gd name="connsiteX69" fmla="*/ 260683 w 539049"/>
              <a:gd name="connsiteY69" fmla="*/ 251746 h 538098"/>
              <a:gd name="connsiteX70" fmla="*/ 17113 w 539049"/>
              <a:gd name="connsiteY70" fmla="*/ 251746 h 538098"/>
              <a:gd name="connsiteX71" fmla="*/ 17113 w 539049"/>
              <a:gd name="connsiteY71" fmla="*/ 209725 h 538098"/>
              <a:gd name="connsiteX72" fmla="*/ 17113 w 539049"/>
              <a:gd name="connsiteY72" fmla="*/ 505965 h 538098"/>
              <a:gd name="connsiteX73" fmla="*/ 17113 w 539049"/>
              <a:gd name="connsiteY73" fmla="*/ 423634 h 538098"/>
              <a:gd name="connsiteX74" fmla="*/ 260683 w 539049"/>
              <a:gd name="connsiteY74" fmla="*/ 423634 h 538098"/>
              <a:gd name="connsiteX75" fmla="*/ 260683 w 539049"/>
              <a:gd name="connsiteY75" fmla="*/ 505965 h 538098"/>
              <a:gd name="connsiteX76" fmla="*/ 17113 w 539049"/>
              <a:gd name="connsiteY76" fmla="*/ 505965 h 538098"/>
              <a:gd name="connsiteX77" fmla="*/ 521366 w 539049"/>
              <a:gd name="connsiteY77" fmla="*/ 505965 h 538098"/>
              <a:gd name="connsiteX78" fmla="*/ 277796 w 539049"/>
              <a:gd name="connsiteY78" fmla="*/ 505965 h 538098"/>
              <a:gd name="connsiteX79" fmla="*/ 277796 w 539049"/>
              <a:gd name="connsiteY79" fmla="*/ 423634 h 538098"/>
              <a:gd name="connsiteX80" fmla="*/ 521366 w 539049"/>
              <a:gd name="connsiteY80" fmla="*/ 423634 h 538098"/>
              <a:gd name="connsiteX81" fmla="*/ 521366 w 539049"/>
              <a:gd name="connsiteY81" fmla="*/ 505965 h 538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539049" h="538098">
                <a:moveTo>
                  <a:pt x="538479" y="203641"/>
                </a:moveTo>
                <a:lnTo>
                  <a:pt x="538479" y="192613"/>
                </a:lnTo>
                <a:lnTo>
                  <a:pt x="537528" y="192613"/>
                </a:lnTo>
                <a:lnTo>
                  <a:pt x="538479" y="192232"/>
                </a:lnTo>
                <a:lnTo>
                  <a:pt x="487141" y="82521"/>
                </a:lnTo>
                <a:lnTo>
                  <a:pt x="345676" y="82521"/>
                </a:lnTo>
                <a:lnTo>
                  <a:pt x="345676" y="65408"/>
                </a:lnTo>
                <a:cubicBezTo>
                  <a:pt x="359746" y="61606"/>
                  <a:pt x="370394" y="48676"/>
                  <a:pt x="370394" y="33275"/>
                </a:cubicBezTo>
                <a:cubicBezTo>
                  <a:pt x="370394" y="15021"/>
                  <a:pt x="355563" y="0"/>
                  <a:pt x="337310" y="0"/>
                </a:cubicBezTo>
                <a:cubicBezTo>
                  <a:pt x="319056" y="0"/>
                  <a:pt x="304035" y="15021"/>
                  <a:pt x="304035" y="33275"/>
                </a:cubicBezTo>
                <a:cubicBezTo>
                  <a:pt x="304035" y="48676"/>
                  <a:pt x="314493" y="61606"/>
                  <a:pt x="328563" y="65408"/>
                </a:cubicBezTo>
                <a:lnTo>
                  <a:pt x="328563" y="82521"/>
                </a:lnTo>
                <a:lnTo>
                  <a:pt x="215810" y="82521"/>
                </a:lnTo>
                <a:lnTo>
                  <a:pt x="215810" y="65789"/>
                </a:lnTo>
                <a:cubicBezTo>
                  <a:pt x="230831" y="62746"/>
                  <a:pt x="242239" y="49246"/>
                  <a:pt x="242239" y="33275"/>
                </a:cubicBezTo>
                <a:cubicBezTo>
                  <a:pt x="242239" y="15021"/>
                  <a:pt x="227408" y="0"/>
                  <a:pt x="209155" y="0"/>
                </a:cubicBezTo>
                <a:cubicBezTo>
                  <a:pt x="190901" y="0"/>
                  <a:pt x="176070" y="14831"/>
                  <a:pt x="176070" y="33275"/>
                </a:cubicBezTo>
                <a:cubicBezTo>
                  <a:pt x="176070" y="47915"/>
                  <a:pt x="185577" y="60465"/>
                  <a:pt x="198887" y="64838"/>
                </a:cubicBezTo>
                <a:lnTo>
                  <a:pt x="198887" y="82521"/>
                </a:lnTo>
                <a:lnTo>
                  <a:pt x="56472" y="82521"/>
                </a:lnTo>
                <a:lnTo>
                  <a:pt x="0" y="192232"/>
                </a:lnTo>
                <a:lnTo>
                  <a:pt x="761" y="192613"/>
                </a:lnTo>
                <a:lnTo>
                  <a:pt x="0" y="192613"/>
                </a:lnTo>
                <a:lnTo>
                  <a:pt x="0" y="523077"/>
                </a:lnTo>
                <a:lnTo>
                  <a:pt x="19394" y="523077"/>
                </a:lnTo>
                <a:lnTo>
                  <a:pt x="19394" y="538099"/>
                </a:lnTo>
                <a:lnTo>
                  <a:pt x="522697" y="538099"/>
                </a:lnTo>
                <a:lnTo>
                  <a:pt x="522697" y="523077"/>
                </a:lnTo>
                <a:lnTo>
                  <a:pt x="538669" y="523077"/>
                </a:lnTo>
                <a:lnTo>
                  <a:pt x="538669" y="204592"/>
                </a:lnTo>
                <a:lnTo>
                  <a:pt x="539049" y="204592"/>
                </a:lnTo>
                <a:lnTo>
                  <a:pt x="538479" y="203641"/>
                </a:lnTo>
                <a:close/>
                <a:moveTo>
                  <a:pt x="321148" y="33275"/>
                </a:moveTo>
                <a:cubicBezTo>
                  <a:pt x="321148" y="24338"/>
                  <a:pt x="328373" y="17113"/>
                  <a:pt x="337310" y="17113"/>
                </a:cubicBezTo>
                <a:cubicBezTo>
                  <a:pt x="346247" y="17113"/>
                  <a:pt x="353472" y="24338"/>
                  <a:pt x="353472" y="33275"/>
                </a:cubicBezTo>
                <a:cubicBezTo>
                  <a:pt x="353472" y="42211"/>
                  <a:pt x="346247" y="49437"/>
                  <a:pt x="337310" y="49437"/>
                </a:cubicBezTo>
                <a:cubicBezTo>
                  <a:pt x="328373" y="49437"/>
                  <a:pt x="321148" y="42211"/>
                  <a:pt x="321148" y="33275"/>
                </a:cubicBezTo>
                <a:close/>
                <a:moveTo>
                  <a:pt x="193183" y="33275"/>
                </a:moveTo>
                <a:cubicBezTo>
                  <a:pt x="193183" y="24338"/>
                  <a:pt x="200408" y="17113"/>
                  <a:pt x="209345" y="17113"/>
                </a:cubicBezTo>
                <a:cubicBezTo>
                  <a:pt x="218282" y="17113"/>
                  <a:pt x="225507" y="24338"/>
                  <a:pt x="225507" y="33275"/>
                </a:cubicBezTo>
                <a:cubicBezTo>
                  <a:pt x="225507" y="42211"/>
                  <a:pt x="218282" y="49437"/>
                  <a:pt x="209345" y="49437"/>
                </a:cubicBezTo>
                <a:cubicBezTo>
                  <a:pt x="200408" y="49437"/>
                  <a:pt x="193183" y="42211"/>
                  <a:pt x="193183" y="33275"/>
                </a:cubicBezTo>
                <a:close/>
                <a:moveTo>
                  <a:pt x="521366" y="251746"/>
                </a:moveTo>
                <a:lnTo>
                  <a:pt x="277796" y="251746"/>
                </a:lnTo>
                <a:lnTo>
                  <a:pt x="277796" y="209725"/>
                </a:lnTo>
                <a:lnTo>
                  <a:pt x="521366" y="209725"/>
                </a:lnTo>
                <a:lnTo>
                  <a:pt x="521366" y="251746"/>
                </a:lnTo>
                <a:close/>
                <a:moveTo>
                  <a:pt x="521366" y="406331"/>
                </a:moveTo>
                <a:lnTo>
                  <a:pt x="277796" y="406331"/>
                </a:lnTo>
                <a:lnTo>
                  <a:pt x="277796" y="268669"/>
                </a:lnTo>
                <a:lnTo>
                  <a:pt x="521366" y="268669"/>
                </a:lnTo>
                <a:lnTo>
                  <a:pt x="521366" y="406331"/>
                </a:lnTo>
                <a:close/>
                <a:moveTo>
                  <a:pt x="17113" y="268859"/>
                </a:moveTo>
                <a:lnTo>
                  <a:pt x="260683" y="268859"/>
                </a:lnTo>
                <a:lnTo>
                  <a:pt x="260683" y="406521"/>
                </a:lnTo>
                <a:lnTo>
                  <a:pt x="17113" y="406521"/>
                </a:lnTo>
                <a:lnTo>
                  <a:pt x="17113" y="268859"/>
                </a:lnTo>
                <a:close/>
                <a:moveTo>
                  <a:pt x="421923" y="145648"/>
                </a:moveTo>
                <a:cubicBezTo>
                  <a:pt x="421923" y="163711"/>
                  <a:pt x="406711" y="178542"/>
                  <a:pt x="388077" y="178542"/>
                </a:cubicBezTo>
                <a:cubicBezTo>
                  <a:pt x="369444" y="178542"/>
                  <a:pt x="354232" y="163901"/>
                  <a:pt x="354232" y="145648"/>
                </a:cubicBezTo>
                <a:cubicBezTo>
                  <a:pt x="354232" y="127394"/>
                  <a:pt x="369444" y="112754"/>
                  <a:pt x="388077" y="112754"/>
                </a:cubicBezTo>
                <a:cubicBezTo>
                  <a:pt x="406711" y="112944"/>
                  <a:pt x="421923" y="127585"/>
                  <a:pt x="421923" y="145648"/>
                </a:cubicBezTo>
                <a:close/>
                <a:moveTo>
                  <a:pt x="66930" y="99634"/>
                </a:moveTo>
                <a:lnTo>
                  <a:pt x="260683" y="99634"/>
                </a:lnTo>
                <a:lnTo>
                  <a:pt x="260683" y="192613"/>
                </a:lnTo>
                <a:lnTo>
                  <a:pt x="19014" y="192613"/>
                </a:lnTo>
                <a:lnTo>
                  <a:pt x="66930" y="99634"/>
                </a:lnTo>
                <a:close/>
                <a:moveTo>
                  <a:pt x="17113" y="209725"/>
                </a:moveTo>
                <a:lnTo>
                  <a:pt x="260683" y="209725"/>
                </a:lnTo>
                <a:lnTo>
                  <a:pt x="260683" y="251746"/>
                </a:lnTo>
                <a:lnTo>
                  <a:pt x="17113" y="251746"/>
                </a:lnTo>
                <a:lnTo>
                  <a:pt x="17113" y="209725"/>
                </a:lnTo>
                <a:close/>
                <a:moveTo>
                  <a:pt x="17113" y="505965"/>
                </a:moveTo>
                <a:lnTo>
                  <a:pt x="17113" y="423634"/>
                </a:lnTo>
                <a:lnTo>
                  <a:pt x="260683" y="423634"/>
                </a:lnTo>
                <a:lnTo>
                  <a:pt x="260683" y="505965"/>
                </a:lnTo>
                <a:lnTo>
                  <a:pt x="17113" y="505965"/>
                </a:lnTo>
                <a:close/>
                <a:moveTo>
                  <a:pt x="521366" y="505965"/>
                </a:moveTo>
                <a:lnTo>
                  <a:pt x="277796" y="505965"/>
                </a:lnTo>
                <a:lnTo>
                  <a:pt x="277796" y="423634"/>
                </a:lnTo>
                <a:lnTo>
                  <a:pt x="521366" y="423634"/>
                </a:lnTo>
                <a:lnTo>
                  <a:pt x="521366" y="505965"/>
                </a:lnTo>
                <a:close/>
              </a:path>
            </a:pathLst>
          </a:custGeom>
          <a:solidFill>
            <a:srgbClr val="009252"/>
          </a:solidFill>
          <a:ln w="1878" cap="flat">
            <a:noFill/>
            <a:prstDash val="solid"/>
            <a:miter/>
          </a:ln>
        </p:spPr>
        <p:txBody>
          <a:bodyPr rtlCol="0" anchor="ctr"/>
          <a:lstStyle/>
          <a:p>
            <a:endParaRPr lang="en-GB" noProof="0" dirty="0"/>
          </a:p>
        </p:txBody>
      </p:sp>
      <p:sp>
        <p:nvSpPr>
          <p:cNvPr id="25" name="Freihandform: Form 24">
            <a:extLst>
              <a:ext uri="{FF2B5EF4-FFF2-40B4-BE49-F238E27FC236}">
                <a16:creationId xmlns:a16="http://schemas.microsoft.com/office/drawing/2014/main" id="{50E9DC06-F86C-C0E4-5419-EA56068B55B2}"/>
              </a:ext>
            </a:extLst>
          </p:cNvPr>
          <p:cNvSpPr/>
          <p:nvPr/>
        </p:nvSpPr>
        <p:spPr>
          <a:xfrm>
            <a:off x="2361303" y="2175075"/>
            <a:ext cx="294690" cy="253732"/>
          </a:xfrm>
          <a:custGeom>
            <a:avLst/>
            <a:gdLst>
              <a:gd name="connsiteX0" fmla="*/ 538479 w 539049"/>
              <a:gd name="connsiteY0" fmla="*/ 203641 h 538098"/>
              <a:gd name="connsiteX1" fmla="*/ 538479 w 539049"/>
              <a:gd name="connsiteY1" fmla="*/ 192613 h 538098"/>
              <a:gd name="connsiteX2" fmla="*/ 537528 w 539049"/>
              <a:gd name="connsiteY2" fmla="*/ 192613 h 538098"/>
              <a:gd name="connsiteX3" fmla="*/ 538479 w 539049"/>
              <a:gd name="connsiteY3" fmla="*/ 192232 h 538098"/>
              <a:gd name="connsiteX4" fmla="*/ 487141 w 539049"/>
              <a:gd name="connsiteY4" fmla="*/ 82521 h 538098"/>
              <a:gd name="connsiteX5" fmla="*/ 345676 w 539049"/>
              <a:gd name="connsiteY5" fmla="*/ 82521 h 538098"/>
              <a:gd name="connsiteX6" fmla="*/ 345676 w 539049"/>
              <a:gd name="connsiteY6" fmla="*/ 65408 h 538098"/>
              <a:gd name="connsiteX7" fmla="*/ 370394 w 539049"/>
              <a:gd name="connsiteY7" fmla="*/ 33275 h 538098"/>
              <a:gd name="connsiteX8" fmla="*/ 337310 w 539049"/>
              <a:gd name="connsiteY8" fmla="*/ 0 h 538098"/>
              <a:gd name="connsiteX9" fmla="*/ 304035 w 539049"/>
              <a:gd name="connsiteY9" fmla="*/ 33275 h 538098"/>
              <a:gd name="connsiteX10" fmla="*/ 328563 w 539049"/>
              <a:gd name="connsiteY10" fmla="*/ 65408 h 538098"/>
              <a:gd name="connsiteX11" fmla="*/ 328563 w 539049"/>
              <a:gd name="connsiteY11" fmla="*/ 82521 h 538098"/>
              <a:gd name="connsiteX12" fmla="*/ 215810 w 539049"/>
              <a:gd name="connsiteY12" fmla="*/ 82521 h 538098"/>
              <a:gd name="connsiteX13" fmla="*/ 215810 w 539049"/>
              <a:gd name="connsiteY13" fmla="*/ 65789 h 538098"/>
              <a:gd name="connsiteX14" fmla="*/ 242239 w 539049"/>
              <a:gd name="connsiteY14" fmla="*/ 33275 h 538098"/>
              <a:gd name="connsiteX15" fmla="*/ 209155 w 539049"/>
              <a:gd name="connsiteY15" fmla="*/ 0 h 538098"/>
              <a:gd name="connsiteX16" fmla="*/ 176070 w 539049"/>
              <a:gd name="connsiteY16" fmla="*/ 33275 h 538098"/>
              <a:gd name="connsiteX17" fmla="*/ 198887 w 539049"/>
              <a:gd name="connsiteY17" fmla="*/ 64838 h 538098"/>
              <a:gd name="connsiteX18" fmla="*/ 198887 w 539049"/>
              <a:gd name="connsiteY18" fmla="*/ 82521 h 538098"/>
              <a:gd name="connsiteX19" fmla="*/ 56472 w 539049"/>
              <a:gd name="connsiteY19" fmla="*/ 82521 h 538098"/>
              <a:gd name="connsiteX20" fmla="*/ 0 w 539049"/>
              <a:gd name="connsiteY20" fmla="*/ 192232 h 538098"/>
              <a:gd name="connsiteX21" fmla="*/ 761 w 539049"/>
              <a:gd name="connsiteY21" fmla="*/ 192613 h 538098"/>
              <a:gd name="connsiteX22" fmla="*/ 0 w 539049"/>
              <a:gd name="connsiteY22" fmla="*/ 192613 h 538098"/>
              <a:gd name="connsiteX23" fmla="*/ 0 w 539049"/>
              <a:gd name="connsiteY23" fmla="*/ 523077 h 538098"/>
              <a:gd name="connsiteX24" fmla="*/ 19394 w 539049"/>
              <a:gd name="connsiteY24" fmla="*/ 523077 h 538098"/>
              <a:gd name="connsiteX25" fmla="*/ 19394 w 539049"/>
              <a:gd name="connsiteY25" fmla="*/ 538099 h 538098"/>
              <a:gd name="connsiteX26" fmla="*/ 522697 w 539049"/>
              <a:gd name="connsiteY26" fmla="*/ 538099 h 538098"/>
              <a:gd name="connsiteX27" fmla="*/ 522697 w 539049"/>
              <a:gd name="connsiteY27" fmla="*/ 523077 h 538098"/>
              <a:gd name="connsiteX28" fmla="*/ 538669 w 539049"/>
              <a:gd name="connsiteY28" fmla="*/ 523077 h 538098"/>
              <a:gd name="connsiteX29" fmla="*/ 538669 w 539049"/>
              <a:gd name="connsiteY29" fmla="*/ 204592 h 538098"/>
              <a:gd name="connsiteX30" fmla="*/ 539049 w 539049"/>
              <a:gd name="connsiteY30" fmla="*/ 204592 h 538098"/>
              <a:gd name="connsiteX31" fmla="*/ 538479 w 539049"/>
              <a:gd name="connsiteY31" fmla="*/ 203641 h 538098"/>
              <a:gd name="connsiteX32" fmla="*/ 321148 w 539049"/>
              <a:gd name="connsiteY32" fmla="*/ 33275 h 538098"/>
              <a:gd name="connsiteX33" fmla="*/ 337310 w 539049"/>
              <a:gd name="connsiteY33" fmla="*/ 17113 h 538098"/>
              <a:gd name="connsiteX34" fmla="*/ 353472 w 539049"/>
              <a:gd name="connsiteY34" fmla="*/ 33275 h 538098"/>
              <a:gd name="connsiteX35" fmla="*/ 337310 w 539049"/>
              <a:gd name="connsiteY35" fmla="*/ 49437 h 538098"/>
              <a:gd name="connsiteX36" fmla="*/ 321148 w 539049"/>
              <a:gd name="connsiteY36" fmla="*/ 33275 h 538098"/>
              <a:gd name="connsiteX37" fmla="*/ 193183 w 539049"/>
              <a:gd name="connsiteY37" fmla="*/ 33275 h 538098"/>
              <a:gd name="connsiteX38" fmla="*/ 209345 w 539049"/>
              <a:gd name="connsiteY38" fmla="*/ 17113 h 538098"/>
              <a:gd name="connsiteX39" fmla="*/ 225507 w 539049"/>
              <a:gd name="connsiteY39" fmla="*/ 33275 h 538098"/>
              <a:gd name="connsiteX40" fmla="*/ 209345 w 539049"/>
              <a:gd name="connsiteY40" fmla="*/ 49437 h 538098"/>
              <a:gd name="connsiteX41" fmla="*/ 193183 w 539049"/>
              <a:gd name="connsiteY41" fmla="*/ 33275 h 538098"/>
              <a:gd name="connsiteX42" fmla="*/ 521366 w 539049"/>
              <a:gd name="connsiteY42" fmla="*/ 251746 h 538098"/>
              <a:gd name="connsiteX43" fmla="*/ 277796 w 539049"/>
              <a:gd name="connsiteY43" fmla="*/ 251746 h 538098"/>
              <a:gd name="connsiteX44" fmla="*/ 277796 w 539049"/>
              <a:gd name="connsiteY44" fmla="*/ 209725 h 538098"/>
              <a:gd name="connsiteX45" fmla="*/ 521366 w 539049"/>
              <a:gd name="connsiteY45" fmla="*/ 209725 h 538098"/>
              <a:gd name="connsiteX46" fmla="*/ 521366 w 539049"/>
              <a:gd name="connsiteY46" fmla="*/ 251746 h 538098"/>
              <a:gd name="connsiteX47" fmla="*/ 521366 w 539049"/>
              <a:gd name="connsiteY47" fmla="*/ 406331 h 538098"/>
              <a:gd name="connsiteX48" fmla="*/ 277796 w 539049"/>
              <a:gd name="connsiteY48" fmla="*/ 406331 h 538098"/>
              <a:gd name="connsiteX49" fmla="*/ 277796 w 539049"/>
              <a:gd name="connsiteY49" fmla="*/ 268669 h 538098"/>
              <a:gd name="connsiteX50" fmla="*/ 521366 w 539049"/>
              <a:gd name="connsiteY50" fmla="*/ 268669 h 538098"/>
              <a:gd name="connsiteX51" fmla="*/ 521366 w 539049"/>
              <a:gd name="connsiteY51" fmla="*/ 406331 h 538098"/>
              <a:gd name="connsiteX52" fmla="*/ 17113 w 539049"/>
              <a:gd name="connsiteY52" fmla="*/ 268859 h 538098"/>
              <a:gd name="connsiteX53" fmla="*/ 260683 w 539049"/>
              <a:gd name="connsiteY53" fmla="*/ 268859 h 538098"/>
              <a:gd name="connsiteX54" fmla="*/ 260683 w 539049"/>
              <a:gd name="connsiteY54" fmla="*/ 406521 h 538098"/>
              <a:gd name="connsiteX55" fmla="*/ 17113 w 539049"/>
              <a:gd name="connsiteY55" fmla="*/ 406521 h 538098"/>
              <a:gd name="connsiteX56" fmla="*/ 17113 w 539049"/>
              <a:gd name="connsiteY56" fmla="*/ 268859 h 538098"/>
              <a:gd name="connsiteX57" fmla="*/ 421923 w 539049"/>
              <a:gd name="connsiteY57" fmla="*/ 145648 h 538098"/>
              <a:gd name="connsiteX58" fmla="*/ 388077 w 539049"/>
              <a:gd name="connsiteY58" fmla="*/ 178542 h 538098"/>
              <a:gd name="connsiteX59" fmla="*/ 354232 w 539049"/>
              <a:gd name="connsiteY59" fmla="*/ 145648 h 538098"/>
              <a:gd name="connsiteX60" fmla="*/ 388077 w 539049"/>
              <a:gd name="connsiteY60" fmla="*/ 112754 h 538098"/>
              <a:gd name="connsiteX61" fmla="*/ 421923 w 539049"/>
              <a:gd name="connsiteY61" fmla="*/ 145648 h 538098"/>
              <a:gd name="connsiteX62" fmla="*/ 66930 w 539049"/>
              <a:gd name="connsiteY62" fmla="*/ 99634 h 538098"/>
              <a:gd name="connsiteX63" fmla="*/ 260683 w 539049"/>
              <a:gd name="connsiteY63" fmla="*/ 99634 h 538098"/>
              <a:gd name="connsiteX64" fmla="*/ 260683 w 539049"/>
              <a:gd name="connsiteY64" fmla="*/ 192613 h 538098"/>
              <a:gd name="connsiteX65" fmla="*/ 19014 w 539049"/>
              <a:gd name="connsiteY65" fmla="*/ 192613 h 538098"/>
              <a:gd name="connsiteX66" fmla="*/ 66930 w 539049"/>
              <a:gd name="connsiteY66" fmla="*/ 99634 h 538098"/>
              <a:gd name="connsiteX67" fmla="*/ 17113 w 539049"/>
              <a:gd name="connsiteY67" fmla="*/ 209725 h 538098"/>
              <a:gd name="connsiteX68" fmla="*/ 260683 w 539049"/>
              <a:gd name="connsiteY68" fmla="*/ 209725 h 538098"/>
              <a:gd name="connsiteX69" fmla="*/ 260683 w 539049"/>
              <a:gd name="connsiteY69" fmla="*/ 251746 h 538098"/>
              <a:gd name="connsiteX70" fmla="*/ 17113 w 539049"/>
              <a:gd name="connsiteY70" fmla="*/ 251746 h 538098"/>
              <a:gd name="connsiteX71" fmla="*/ 17113 w 539049"/>
              <a:gd name="connsiteY71" fmla="*/ 209725 h 538098"/>
              <a:gd name="connsiteX72" fmla="*/ 17113 w 539049"/>
              <a:gd name="connsiteY72" fmla="*/ 505965 h 538098"/>
              <a:gd name="connsiteX73" fmla="*/ 17113 w 539049"/>
              <a:gd name="connsiteY73" fmla="*/ 423634 h 538098"/>
              <a:gd name="connsiteX74" fmla="*/ 260683 w 539049"/>
              <a:gd name="connsiteY74" fmla="*/ 423634 h 538098"/>
              <a:gd name="connsiteX75" fmla="*/ 260683 w 539049"/>
              <a:gd name="connsiteY75" fmla="*/ 505965 h 538098"/>
              <a:gd name="connsiteX76" fmla="*/ 17113 w 539049"/>
              <a:gd name="connsiteY76" fmla="*/ 505965 h 538098"/>
              <a:gd name="connsiteX77" fmla="*/ 521366 w 539049"/>
              <a:gd name="connsiteY77" fmla="*/ 505965 h 538098"/>
              <a:gd name="connsiteX78" fmla="*/ 277796 w 539049"/>
              <a:gd name="connsiteY78" fmla="*/ 505965 h 538098"/>
              <a:gd name="connsiteX79" fmla="*/ 277796 w 539049"/>
              <a:gd name="connsiteY79" fmla="*/ 423634 h 538098"/>
              <a:gd name="connsiteX80" fmla="*/ 521366 w 539049"/>
              <a:gd name="connsiteY80" fmla="*/ 423634 h 538098"/>
              <a:gd name="connsiteX81" fmla="*/ 521366 w 539049"/>
              <a:gd name="connsiteY81" fmla="*/ 505965 h 538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539049" h="538098">
                <a:moveTo>
                  <a:pt x="538479" y="203641"/>
                </a:moveTo>
                <a:lnTo>
                  <a:pt x="538479" y="192613"/>
                </a:lnTo>
                <a:lnTo>
                  <a:pt x="537528" y="192613"/>
                </a:lnTo>
                <a:lnTo>
                  <a:pt x="538479" y="192232"/>
                </a:lnTo>
                <a:lnTo>
                  <a:pt x="487141" y="82521"/>
                </a:lnTo>
                <a:lnTo>
                  <a:pt x="345676" y="82521"/>
                </a:lnTo>
                <a:lnTo>
                  <a:pt x="345676" y="65408"/>
                </a:lnTo>
                <a:cubicBezTo>
                  <a:pt x="359746" y="61606"/>
                  <a:pt x="370394" y="48676"/>
                  <a:pt x="370394" y="33275"/>
                </a:cubicBezTo>
                <a:cubicBezTo>
                  <a:pt x="370394" y="15021"/>
                  <a:pt x="355563" y="0"/>
                  <a:pt x="337310" y="0"/>
                </a:cubicBezTo>
                <a:cubicBezTo>
                  <a:pt x="319056" y="0"/>
                  <a:pt x="304035" y="15021"/>
                  <a:pt x="304035" y="33275"/>
                </a:cubicBezTo>
                <a:cubicBezTo>
                  <a:pt x="304035" y="48676"/>
                  <a:pt x="314493" y="61606"/>
                  <a:pt x="328563" y="65408"/>
                </a:cubicBezTo>
                <a:lnTo>
                  <a:pt x="328563" y="82521"/>
                </a:lnTo>
                <a:lnTo>
                  <a:pt x="215810" y="82521"/>
                </a:lnTo>
                <a:lnTo>
                  <a:pt x="215810" y="65789"/>
                </a:lnTo>
                <a:cubicBezTo>
                  <a:pt x="230831" y="62746"/>
                  <a:pt x="242239" y="49246"/>
                  <a:pt x="242239" y="33275"/>
                </a:cubicBezTo>
                <a:cubicBezTo>
                  <a:pt x="242239" y="15021"/>
                  <a:pt x="227408" y="0"/>
                  <a:pt x="209155" y="0"/>
                </a:cubicBezTo>
                <a:cubicBezTo>
                  <a:pt x="190901" y="0"/>
                  <a:pt x="176070" y="14831"/>
                  <a:pt x="176070" y="33275"/>
                </a:cubicBezTo>
                <a:cubicBezTo>
                  <a:pt x="176070" y="47915"/>
                  <a:pt x="185577" y="60465"/>
                  <a:pt x="198887" y="64838"/>
                </a:cubicBezTo>
                <a:lnTo>
                  <a:pt x="198887" y="82521"/>
                </a:lnTo>
                <a:lnTo>
                  <a:pt x="56472" y="82521"/>
                </a:lnTo>
                <a:lnTo>
                  <a:pt x="0" y="192232"/>
                </a:lnTo>
                <a:lnTo>
                  <a:pt x="761" y="192613"/>
                </a:lnTo>
                <a:lnTo>
                  <a:pt x="0" y="192613"/>
                </a:lnTo>
                <a:lnTo>
                  <a:pt x="0" y="523077"/>
                </a:lnTo>
                <a:lnTo>
                  <a:pt x="19394" y="523077"/>
                </a:lnTo>
                <a:lnTo>
                  <a:pt x="19394" y="538099"/>
                </a:lnTo>
                <a:lnTo>
                  <a:pt x="522697" y="538099"/>
                </a:lnTo>
                <a:lnTo>
                  <a:pt x="522697" y="523077"/>
                </a:lnTo>
                <a:lnTo>
                  <a:pt x="538669" y="523077"/>
                </a:lnTo>
                <a:lnTo>
                  <a:pt x="538669" y="204592"/>
                </a:lnTo>
                <a:lnTo>
                  <a:pt x="539049" y="204592"/>
                </a:lnTo>
                <a:lnTo>
                  <a:pt x="538479" y="203641"/>
                </a:lnTo>
                <a:close/>
                <a:moveTo>
                  <a:pt x="321148" y="33275"/>
                </a:moveTo>
                <a:cubicBezTo>
                  <a:pt x="321148" y="24338"/>
                  <a:pt x="328373" y="17113"/>
                  <a:pt x="337310" y="17113"/>
                </a:cubicBezTo>
                <a:cubicBezTo>
                  <a:pt x="346247" y="17113"/>
                  <a:pt x="353472" y="24338"/>
                  <a:pt x="353472" y="33275"/>
                </a:cubicBezTo>
                <a:cubicBezTo>
                  <a:pt x="353472" y="42211"/>
                  <a:pt x="346247" y="49437"/>
                  <a:pt x="337310" y="49437"/>
                </a:cubicBezTo>
                <a:cubicBezTo>
                  <a:pt x="328373" y="49437"/>
                  <a:pt x="321148" y="42211"/>
                  <a:pt x="321148" y="33275"/>
                </a:cubicBezTo>
                <a:close/>
                <a:moveTo>
                  <a:pt x="193183" y="33275"/>
                </a:moveTo>
                <a:cubicBezTo>
                  <a:pt x="193183" y="24338"/>
                  <a:pt x="200408" y="17113"/>
                  <a:pt x="209345" y="17113"/>
                </a:cubicBezTo>
                <a:cubicBezTo>
                  <a:pt x="218282" y="17113"/>
                  <a:pt x="225507" y="24338"/>
                  <a:pt x="225507" y="33275"/>
                </a:cubicBezTo>
                <a:cubicBezTo>
                  <a:pt x="225507" y="42211"/>
                  <a:pt x="218282" y="49437"/>
                  <a:pt x="209345" y="49437"/>
                </a:cubicBezTo>
                <a:cubicBezTo>
                  <a:pt x="200408" y="49437"/>
                  <a:pt x="193183" y="42211"/>
                  <a:pt x="193183" y="33275"/>
                </a:cubicBezTo>
                <a:close/>
                <a:moveTo>
                  <a:pt x="521366" y="251746"/>
                </a:moveTo>
                <a:lnTo>
                  <a:pt x="277796" y="251746"/>
                </a:lnTo>
                <a:lnTo>
                  <a:pt x="277796" y="209725"/>
                </a:lnTo>
                <a:lnTo>
                  <a:pt x="521366" y="209725"/>
                </a:lnTo>
                <a:lnTo>
                  <a:pt x="521366" y="251746"/>
                </a:lnTo>
                <a:close/>
                <a:moveTo>
                  <a:pt x="521366" y="406331"/>
                </a:moveTo>
                <a:lnTo>
                  <a:pt x="277796" y="406331"/>
                </a:lnTo>
                <a:lnTo>
                  <a:pt x="277796" y="268669"/>
                </a:lnTo>
                <a:lnTo>
                  <a:pt x="521366" y="268669"/>
                </a:lnTo>
                <a:lnTo>
                  <a:pt x="521366" y="406331"/>
                </a:lnTo>
                <a:close/>
                <a:moveTo>
                  <a:pt x="17113" y="268859"/>
                </a:moveTo>
                <a:lnTo>
                  <a:pt x="260683" y="268859"/>
                </a:lnTo>
                <a:lnTo>
                  <a:pt x="260683" y="406521"/>
                </a:lnTo>
                <a:lnTo>
                  <a:pt x="17113" y="406521"/>
                </a:lnTo>
                <a:lnTo>
                  <a:pt x="17113" y="268859"/>
                </a:lnTo>
                <a:close/>
                <a:moveTo>
                  <a:pt x="421923" y="145648"/>
                </a:moveTo>
                <a:cubicBezTo>
                  <a:pt x="421923" y="163711"/>
                  <a:pt x="406711" y="178542"/>
                  <a:pt x="388077" y="178542"/>
                </a:cubicBezTo>
                <a:cubicBezTo>
                  <a:pt x="369444" y="178542"/>
                  <a:pt x="354232" y="163901"/>
                  <a:pt x="354232" y="145648"/>
                </a:cubicBezTo>
                <a:cubicBezTo>
                  <a:pt x="354232" y="127394"/>
                  <a:pt x="369444" y="112754"/>
                  <a:pt x="388077" y="112754"/>
                </a:cubicBezTo>
                <a:cubicBezTo>
                  <a:pt x="406711" y="112944"/>
                  <a:pt x="421923" y="127585"/>
                  <a:pt x="421923" y="145648"/>
                </a:cubicBezTo>
                <a:close/>
                <a:moveTo>
                  <a:pt x="66930" y="99634"/>
                </a:moveTo>
                <a:lnTo>
                  <a:pt x="260683" y="99634"/>
                </a:lnTo>
                <a:lnTo>
                  <a:pt x="260683" y="192613"/>
                </a:lnTo>
                <a:lnTo>
                  <a:pt x="19014" y="192613"/>
                </a:lnTo>
                <a:lnTo>
                  <a:pt x="66930" y="99634"/>
                </a:lnTo>
                <a:close/>
                <a:moveTo>
                  <a:pt x="17113" y="209725"/>
                </a:moveTo>
                <a:lnTo>
                  <a:pt x="260683" y="209725"/>
                </a:lnTo>
                <a:lnTo>
                  <a:pt x="260683" y="251746"/>
                </a:lnTo>
                <a:lnTo>
                  <a:pt x="17113" y="251746"/>
                </a:lnTo>
                <a:lnTo>
                  <a:pt x="17113" y="209725"/>
                </a:lnTo>
                <a:close/>
                <a:moveTo>
                  <a:pt x="17113" y="505965"/>
                </a:moveTo>
                <a:lnTo>
                  <a:pt x="17113" y="423634"/>
                </a:lnTo>
                <a:lnTo>
                  <a:pt x="260683" y="423634"/>
                </a:lnTo>
                <a:lnTo>
                  <a:pt x="260683" y="505965"/>
                </a:lnTo>
                <a:lnTo>
                  <a:pt x="17113" y="505965"/>
                </a:lnTo>
                <a:close/>
                <a:moveTo>
                  <a:pt x="521366" y="505965"/>
                </a:moveTo>
                <a:lnTo>
                  <a:pt x="277796" y="505965"/>
                </a:lnTo>
                <a:lnTo>
                  <a:pt x="277796" y="423634"/>
                </a:lnTo>
                <a:lnTo>
                  <a:pt x="521366" y="423634"/>
                </a:lnTo>
                <a:lnTo>
                  <a:pt x="521366" y="505965"/>
                </a:lnTo>
                <a:close/>
              </a:path>
            </a:pathLst>
          </a:custGeom>
          <a:solidFill>
            <a:srgbClr val="009252"/>
          </a:solidFill>
          <a:ln w="1878" cap="flat">
            <a:noFill/>
            <a:prstDash val="solid"/>
            <a:miter/>
          </a:ln>
        </p:spPr>
        <p:txBody>
          <a:bodyPr rtlCol="0" anchor="ctr"/>
          <a:lstStyle/>
          <a:p>
            <a:endParaRPr lang="en-GB" noProof="0" dirty="0"/>
          </a:p>
        </p:txBody>
      </p:sp>
      <p:sp>
        <p:nvSpPr>
          <p:cNvPr id="12" name="Line 65">
            <a:extLst>
              <a:ext uri="{FF2B5EF4-FFF2-40B4-BE49-F238E27FC236}">
                <a16:creationId xmlns:a16="http://schemas.microsoft.com/office/drawing/2014/main" id="{1EF0239B-400D-A8EB-747B-4B7563CC2877}"/>
              </a:ext>
            </a:extLst>
          </p:cNvPr>
          <p:cNvSpPr>
            <a:spLocks noChangeShapeType="1"/>
          </p:cNvSpPr>
          <p:nvPr/>
        </p:nvSpPr>
        <p:spPr bwMode="auto">
          <a:xfrm flipH="1" flipV="1">
            <a:off x="4700647" y="2108032"/>
            <a:ext cx="0" cy="1101275"/>
          </a:xfrm>
          <a:prstGeom prst="line">
            <a:avLst/>
          </a:prstGeom>
          <a:noFill/>
          <a:ln w="25400">
            <a:solidFill>
              <a:schemeClr val="accent5"/>
            </a:solidFill>
            <a:round/>
            <a:headEnd type="none" w="med" len="med"/>
            <a:tailEnd type="none" w="med" len="med"/>
          </a:ln>
        </p:spPr>
        <p:txBody>
          <a:bodyPr wrap="square" lIns="62308" tIns="29908" rIns="62308" bIns="29908">
            <a:noAutofit/>
          </a:bodyPr>
          <a:lstStyle/>
          <a:p>
            <a:endParaRPr lang="en-GB" sz="761" noProof="0" dirty="0">
              <a:ln>
                <a:solidFill>
                  <a:schemeClr val="tx1"/>
                </a:solidFill>
                <a:prstDash val="solid"/>
              </a:ln>
            </a:endParaRPr>
          </a:p>
        </p:txBody>
      </p:sp>
      <p:sp>
        <p:nvSpPr>
          <p:cNvPr id="30" name="Line 65">
            <a:extLst>
              <a:ext uri="{FF2B5EF4-FFF2-40B4-BE49-F238E27FC236}">
                <a16:creationId xmlns:a16="http://schemas.microsoft.com/office/drawing/2014/main" id="{3A01E6EB-127E-A910-A400-EDCA835C683C}"/>
              </a:ext>
            </a:extLst>
          </p:cNvPr>
          <p:cNvSpPr>
            <a:spLocks noChangeShapeType="1"/>
          </p:cNvSpPr>
          <p:nvPr/>
        </p:nvSpPr>
        <p:spPr bwMode="auto">
          <a:xfrm>
            <a:off x="4688396" y="3209413"/>
            <a:ext cx="3148603" cy="7524"/>
          </a:xfrm>
          <a:prstGeom prst="line">
            <a:avLst/>
          </a:prstGeom>
          <a:noFill/>
          <a:ln w="25400">
            <a:solidFill>
              <a:schemeClr val="accent5"/>
            </a:solidFill>
            <a:round/>
            <a:headEnd type="none" w="med" len="med"/>
            <a:tailEnd type="triangle" w="med" len="med"/>
          </a:ln>
        </p:spPr>
        <p:txBody>
          <a:bodyPr wrap="square" lIns="62308" tIns="29908" rIns="62308" bIns="29908">
            <a:noAutofit/>
          </a:bodyPr>
          <a:lstStyle/>
          <a:p>
            <a:endParaRPr lang="en-GB" sz="761" noProof="0" dirty="0">
              <a:ln>
                <a:solidFill>
                  <a:schemeClr val="tx1"/>
                </a:solidFill>
                <a:prstDash val="solid"/>
              </a:ln>
            </a:endParaRPr>
          </a:p>
        </p:txBody>
      </p:sp>
      <p:sp>
        <p:nvSpPr>
          <p:cNvPr id="32" name="Rechteck 31">
            <a:extLst>
              <a:ext uri="{FF2B5EF4-FFF2-40B4-BE49-F238E27FC236}">
                <a16:creationId xmlns:a16="http://schemas.microsoft.com/office/drawing/2014/main" id="{F18C80A8-9033-9CEA-3F20-F7018B7CC61D}"/>
              </a:ext>
            </a:extLst>
          </p:cNvPr>
          <p:cNvSpPr/>
          <p:nvPr/>
        </p:nvSpPr>
        <p:spPr>
          <a:xfrm>
            <a:off x="5906677" y="3062928"/>
            <a:ext cx="702962" cy="276811"/>
          </a:xfrm>
          <a:prstGeom prst="rect">
            <a:avLst/>
          </a:prstGeom>
          <a:solidFill>
            <a:schemeClr val="bg1"/>
          </a:solidFill>
          <a:ln>
            <a:solidFill>
              <a:schemeClr val="bg1"/>
            </a:solidFill>
          </a:ln>
        </p:spPr>
        <p:txBody>
          <a:bodyPr lIns="0" tIns="0" rIns="0" bIns="0" rtlCol="0" anchor="ctr">
            <a:noAutofit/>
          </a:bodyPr>
          <a:lstStyle/>
          <a:p>
            <a:pPr marL="207169" indent="-207169" algn="ctr" defTabSz="247650">
              <a:spcBef>
                <a:spcPts val="225"/>
              </a:spcBef>
              <a:buFont typeface="Symbol" pitchFamily="18" charset="2"/>
              <a:buChar char="-"/>
            </a:pPr>
            <a:endParaRPr lang="en-GB" sz="1350" kern="0" noProof="0" dirty="0">
              <a:solidFill>
                <a:srgbClr val="41474C"/>
              </a:solidFill>
              <a:latin typeface="Corbel" pitchFamily="34" charset="0"/>
            </a:endParaRPr>
          </a:p>
        </p:txBody>
      </p:sp>
      <p:pic>
        <p:nvPicPr>
          <p:cNvPr id="37" name="Grafik 36" descr="Ein Bild, das Grafiken, Clipart, Grün, Design enthält.&#10;&#10;KI-generierte Inhalte können fehlerhaft sein.">
            <a:extLst>
              <a:ext uri="{FF2B5EF4-FFF2-40B4-BE49-F238E27FC236}">
                <a16:creationId xmlns:a16="http://schemas.microsoft.com/office/drawing/2014/main" id="{E70B45C3-2B82-B618-C4EE-75F3B744895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15508" y="3111137"/>
            <a:ext cx="341377" cy="195865"/>
          </a:xfrm>
          <a:prstGeom prst="rect">
            <a:avLst/>
          </a:prstGeom>
        </p:spPr>
      </p:pic>
      <p:pic>
        <p:nvPicPr>
          <p:cNvPr id="39" name="Grafik 38" descr="Ein Bild, das Grafiken, Clipart, Symbol, Design enthält.&#10;&#10;KI-generierte Inhalte können fehlerhaft sein.">
            <a:extLst>
              <a:ext uri="{FF2B5EF4-FFF2-40B4-BE49-F238E27FC236}">
                <a16:creationId xmlns:a16="http://schemas.microsoft.com/office/drawing/2014/main" id="{1BE0ED23-824C-BCC8-2948-DF9908D4B3F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53393" y="3106645"/>
            <a:ext cx="341377" cy="201199"/>
          </a:xfrm>
          <a:prstGeom prst="rect">
            <a:avLst/>
          </a:prstGeom>
        </p:spPr>
      </p:pic>
      <p:sp>
        <p:nvSpPr>
          <p:cNvPr id="29" name="Freihandform 26">
            <a:extLst>
              <a:ext uri="{FF2B5EF4-FFF2-40B4-BE49-F238E27FC236}">
                <a16:creationId xmlns:a16="http://schemas.microsoft.com/office/drawing/2014/main" id="{BC91E8A9-D83C-AB37-0C69-582AC3B63B7B}"/>
              </a:ext>
            </a:extLst>
          </p:cNvPr>
          <p:cNvSpPr/>
          <p:nvPr/>
        </p:nvSpPr>
        <p:spPr>
          <a:xfrm>
            <a:off x="2164702" y="1613042"/>
            <a:ext cx="6401955" cy="2638660"/>
          </a:xfrm>
          <a:custGeom>
            <a:avLst/>
            <a:gdLst>
              <a:gd name="connsiteX0" fmla="*/ 0 w 819247"/>
              <a:gd name="connsiteY0" fmla="*/ 78131 h 781306"/>
              <a:gd name="connsiteX1" fmla="*/ 78131 w 819247"/>
              <a:gd name="connsiteY1" fmla="*/ 0 h 781306"/>
              <a:gd name="connsiteX2" fmla="*/ 741116 w 819247"/>
              <a:gd name="connsiteY2" fmla="*/ 0 h 781306"/>
              <a:gd name="connsiteX3" fmla="*/ 819247 w 819247"/>
              <a:gd name="connsiteY3" fmla="*/ 78131 h 781306"/>
              <a:gd name="connsiteX4" fmla="*/ 819247 w 819247"/>
              <a:gd name="connsiteY4" fmla="*/ 703175 h 781306"/>
              <a:gd name="connsiteX5" fmla="*/ 741116 w 819247"/>
              <a:gd name="connsiteY5" fmla="*/ 781306 h 781306"/>
              <a:gd name="connsiteX6" fmla="*/ 78131 w 819247"/>
              <a:gd name="connsiteY6" fmla="*/ 781306 h 781306"/>
              <a:gd name="connsiteX7" fmla="*/ 0 w 819247"/>
              <a:gd name="connsiteY7" fmla="*/ 703175 h 781306"/>
              <a:gd name="connsiteX8" fmla="*/ 0 w 819247"/>
              <a:gd name="connsiteY8" fmla="*/ 78131 h 781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9247" h="781306">
                <a:moveTo>
                  <a:pt x="0" y="78131"/>
                </a:moveTo>
                <a:cubicBezTo>
                  <a:pt x="0" y="34980"/>
                  <a:pt x="34980" y="0"/>
                  <a:pt x="78131" y="0"/>
                </a:cubicBezTo>
                <a:lnTo>
                  <a:pt x="741116" y="0"/>
                </a:lnTo>
                <a:cubicBezTo>
                  <a:pt x="784267" y="0"/>
                  <a:pt x="819247" y="34980"/>
                  <a:pt x="819247" y="78131"/>
                </a:cubicBezTo>
                <a:lnTo>
                  <a:pt x="819247" y="703175"/>
                </a:lnTo>
                <a:cubicBezTo>
                  <a:pt x="819247" y="746326"/>
                  <a:pt x="784267" y="781306"/>
                  <a:pt x="741116" y="781306"/>
                </a:cubicBezTo>
                <a:lnTo>
                  <a:pt x="78131" y="781306"/>
                </a:lnTo>
                <a:cubicBezTo>
                  <a:pt x="34980" y="781306"/>
                  <a:pt x="0" y="746326"/>
                  <a:pt x="0" y="703175"/>
                </a:cubicBezTo>
                <a:lnTo>
                  <a:pt x="0" y="78131"/>
                </a:lnTo>
                <a:close/>
              </a:path>
            </a:pathLst>
          </a:custGeom>
          <a:noFill/>
          <a:ln w="38100" cap="sq">
            <a:solidFill>
              <a:srgbClr val="D7DC46"/>
            </a:solidFill>
            <a:prstDash val="sysDot"/>
            <a:beve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48596" tIns="48596" rIns="48596" bIns="48596" numCol="1" spcCol="1270" anchor="ctr" anchorCtr="0">
            <a:noAutofit/>
          </a:bodyPr>
          <a:lstStyle/>
          <a:p>
            <a:pPr defTabSz="366713">
              <a:lnSpc>
                <a:spcPct val="90000"/>
              </a:lnSpc>
            </a:pPr>
            <a:endParaRPr lang="en-GB" sz="900" b="1" noProof="0" dirty="0">
              <a:solidFill>
                <a:schemeClr val="accent1"/>
              </a:solidFill>
              <a:latin typeface="Calibri" panose="020F0502020204030204" pitchFamily="34" charset="0"/>
            </a:endParaRPr>
          </a:p>
          <a:p>
            <a:pPr defTabSz="366713">
              <a:lnSpc>
                <a:spcPct val="90000"/>
              </a:lnSpc>
            </a:pPr>
            <a:endParaRPr lang="en-GB" sz="900" b="1" dirty="0">
              <a:solidFill>
                <a:schemeClr val="accent1"/>
              </a:solidFill>
              <a:latin typeface="Calibri" panose="020F0502020204030204" pitchFamily="34" charset="0"/>
            </a:endParaRPr>
          </a:p>
          <a:p>
            <a:pPr defTabSz="366713">
              <a:lnSpc>
                <a:spcPct val="90000"/>
              </a:lnSpc>
            </a:pPr>
            <a:endParaRPr lang="en-GB" sz="900" b="1" noProof="0" dirty="0">
              <a:solidFill>
                <a:schemeClr val="accent1"/>
              </a:solidFill>
              <a:latin typeface="Calibri" panose="020F0502020204030204" pitchFamily="34" charset="0"/>
            </a:endParaRPr>
          </a:p>
          <a:p>
            <a:pPr defTabSz="366713">
              <a:lnSpc>
                <a:spcPct val="90000"/>
              </a:lnSpc>
            </a:pPr>
            <a:endParaRPr lang="en-GB" sz="900" b="1" dirty="0">
              <a:solidFill>
                <a:schemeClr val="accent1"/>
              </a:solidFill>
              <a:latin typeface="Calibri" panose="020F0502020204030204" pitchFamily="34" charset="0"/>
            </a:endParaRPr>
          </a:p>
          <a:p>
            <a:pPr defTabSz="366713">
              <a:lnSpc>
                <a:spcPct val="90000"/>
              </a:lnSpc>
            </a:pPr>
            <a:endParaRPr lang="en-GB" sz="900" b="1" noProof="0" dirty="0">
              <a:solidFill>
                <a:schemeClr val="accent1"/>
              </a:solidFill>
              <a:latin typeface="Calibri" panose="020F0502020204030204" pitchFamily="34" charset="0"/>
            </a:endParaRPr>
          </a:p>
          <a:p>
            <a:pPr defTabSz="366713">
              <a:lnSpc>
                <a:spcPct val="90000"/>
              </a:lnSpc>
            </a:pPr>
            <a:endParaRPr lang="en-GB" sz="900" b="1" dirty="0">
              <a:solidFill>
                <a:schemeClr val="accent1"/>
              </a:solidFill>
              <a:latin typeface="Calibri" panose="020F0502020204030204" pitchFamily="34" charset="0"/>
            </a:endParaRPr>
          </a:p>
          <a:p>
            <a:pPr defTabSz="366713">
              <a:lnSpc>
                <a:spcPct val="90000"/>
              </a:lnSpc>
            </a:pPr>
            <a:endParaRPr lang="en-GB" sz="900" b="1" noProof="0" dirty="0">
              <a:solidFill>
                <a:schemeClr val="accent1"/>
              </a:solidFill>
              <a:latin typeface="Calibri" panose="020F0502020204030204" pitchFamily="34" charset="0"/>
            </a:endParaRPr>
          </a:p>
          <a:p>
            <a:pPr defTabSz="366713">
              <a:lnSpc>
                <a:spcPct val="90000"/>
              </a:lnSpc>
            </a:pPr>
            <a:endParaRPr lang="en-GB" sz="900" b="1" dirty="0">
              <a:solidFill>
                <a:schemeClr val="accent1"/>
              </a:solidFill>
              <a:latin typeface="Calibri" panose="020F0502020204030204" pitchFamily="34" charset="0"/>
            </a:endParaRPr>
          </a:p>
          <a:p>
            <a:pPr defTabSz="366713">
              <a:lnSpc>
                <a:spcPct val="90000"/>
              </a:lnSpc>
            </a:pPr>
            <a:endParaRPr lang="en-GB" sz="900" b="1" noProof="0" dirty="0">
              <a:solidFill>
                <a:schemeClr val="accent1"/>
              </a:solidFill>
              <a:latin typeface="Calibri" panose="020F0502020204030204" pitchFamily="34" charset="0"/>
            </a:endParaRPr>
          </a:p>
        </p:txBody>
      </p:sp>
      <p:sp>
        <p:nvSpPr>
          <p:cNvPr id="5" name="Textfeld 4">
            <a:extLst>
              <a:ext uri="{FF2B5EF4-FFF2-40B4-BE49-F238E27FC236}">
                <a16:creationId xmlns:a16="http://schemas.microsoft.com/office/drawing/2014/main" id="{B87D4105-FA3A-279B-F062-60AD581EAE80}"/>
              </a:ext>
            </a:extLst>
          </p:cNvPr>
          <p:cNvSpPr txBox="1"/>
          <p:nvPr/>
        </p:nvSpPr>
        <p:spPr>
          <a:xfrm>
            <a:off x="2157660" y="3846149"/>
            <a:ext cx="6002905" cy="286232"/>
          </a:xfrm>
          <a:prstGeom prst="rect">
            <a:avLst/>
          </a:prstGeom>
          <a:noFill/>
        </p:spPr>
        <p:txBody>
          <a:bodyPr wrap="square" rtlCol="0">
            <a:spAutoFit/>
          </a:bodyPr>
          <a:lstStyle/>
          <a:p>
            <a:pPr algn="ctr" defTabSz="366713">
              <a:lnSpc>
                <a:spcPct val="90000"/>
              </a:lnSpc>
            </a:pPr>
            <a:r>
              <a:rPr lang="en-GB" sz="1400" b="1" dirty="0">
                <a:solidFill>
                  <a:schemeClr val="accent1"/>
                </a:solidFill>
                <a:latin typeface="Calibri" panose="020F0502020204030204" pitchFamily="34" charset="0"/>
              </a:rPr>
              <a:t>Use Case 1: Real-Time Data Transmission</a:t>
            </a:r>
          </a:p>
        </p:txBody>
      </p:sp>
    </p:spTree>
    <p:extLst>
      <p:ext uri="{BB962C8B-B14F-4D97-AF65-F5344CB8AC3E}">
        <p14:creationId xmlns:p14="http://schemas.microsoft.com/office/powerpoint/2010/main" val="10548352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5"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D34500-007A-E1BE-38EC-3567B0D97B1A}"/>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6B84291F-E081-5A00-7FD4-2B8FB61D8A25}"/>
              </a:ext>
            </a:extLst>
          </p:cNvPr>
          <p:cNvSpPr>
            <a:spLocks noGrp="1"/>
          </p:cNvSpPr>
          <p:nvPr>
            <p:ph type="title"/>
          </p:nvPr>
        </p:nvSpPr>
        <p:spPr>
          <a:xfrm>
            <a:off x="520699" y="432000"/>
            <a:ext cx="7302501" cy="591937"/>
          </a:xfrm>
        </p:spPr>
        <p:txBody>
          <a:bodyPr/>
          <a:lstStyle/>
          <a:p>
            <a:r>
              <a:rPr lang="en-US" dirty="0"/>
              <a:t>Use Case 1 – Real-Time Data Sharing</a:t>
            </a:r>
            <a:endParaRPr lang="de-AT" dirty="0"/>
          </a:p>
        </p:txBody>
      </p:sp>
      <p:sp>
        <p:nvSpPr>
          <p:cNvPr id="16" name="Textfeld 15">
            <a:extLst>
              <a:ext uri="{FF2B5EF4-FFF2-40B4-BE49-F238E27FC236}">
                <a16:creationId xmlns:a16="http://schemas.microsoft.com/office/drawing/2014/main" id="{368C7588-54FE-0B80-87AC-5CBFB339557C}"/>
              </a:ext>
            </a:extLst>
          </p:cNvPr>
          <p:cNvSpPr txBox="1"/>
          <p:nvPr/>
        </p:nvSpPr>
        <p:spPr>
          <a:xfrm>
            <a:off x="5759451" y="1217533"/>
            <a:ext cx="3037774" cy="1815882"/>
          </a:xfrm>
          <a:prstGeom prst="rect">
            <a:avLst/>
          </a:prstGeom>
          <a:noFill/>
        </p:spPr>
        <p:txBody>
          <a:bodyPr wrap="square" lIns="91440" tIns="45720" rIns="91440" bIns="45720" anchor="t">
            <a:spAutoFit/>
          </a:bodyPr>
          <a:lstStyle/>
          <a:p>
            <a:pPr>
              <a:spcBef>
                <a:spcPts val="1875"/>
              </a:spcBef>
            </a:pPr>
            <a:r>
              <a:rPr lang="en-US" sz="1600" b="1" dirty="0">
                <a:highlight>
                  <a:srgbClr val="D7DC46"/>
                </a:highlight>
              </a:rPr>
              <a:t>Real-Time Data Transmission:</a:t>
            </a:r>
          </a:p>
          <a:p>
            <a:pPr marL="0" lvl="1"/>
            <a:r>
              <a:rPr lang="en-US" sz="1600" dirty="0"/>
              <a:t>Transport data is shared in real-time with recyclers to update records continuously and accurately. Deliveries can be adjusted to production needs.  </a:t>
            </a:r>
          </a:p>
          <a:p>
            <a:endParaRPr lang="de-AT" sz="1600" dirty="0"/>
          </a:p>
        </p:txBody>
      </p:sp>
      <p:sp>
        <p:nvSpPr>
          <p:cNvPr id="18" name="Textfeld 17">
            <a:extLst>
              <a:ext uri="{FF2B5EF4-FFF2-40B4-BE49-F238E27FC236}">
                <a16:creationId xmlns:a16="http://schemas.microsoft.com/office/drawing/2014/main" id="{D22586B6-B995-59D9-A7E6-30D217B332DC}"/>
              </a:ext>
            </a:extLst>
          </p:cNvPr>
          <p:cNvSpPr txBox="1"/>
          <p:nvPr/>
        </p:nvSpPr>
        <p:spPr>
          <a:xfrm>
            <a:off x="1597992" y="1302108"/>
            <a:ext cx="2897204" cy="1631216"/>
          </a:xfrm>
          <a:prstGeom prst="rect">
            <a:avLst/>
          </a:prstGeom>
          <a:noFill/>
        </p:spPr>
        <p:txBody>
          <a:bodyPr wrap="square">
            <a:spAutoFit/>
          </a:bodyPr>
          <a:lstStyle/>
          <a:p>
            <a:pPr>
              <a:spcBef>
                <a:spcPts val="1875"/>
              </a:spcBef>
            </a:pPr>
            <a:r>
              <a:rPr lang="en-US" sz="1600" b="1" dirty="0">
                <a:highlight>
                  <a:srgbClr val="D7DC46"/>
                </a:highlight>
              </a:rPr>
              <a:t>Multi-Directional Communication: </a:t>
            </a:r>
            <a:r>
              <a:rPr lang="en-US" sz="1600" dirty="0"/>
              <a:t>The platform supports seamless data exchange among collectors, recyclers, and municipalities for collaboration.  </a:t>
            </a:r>
            <a:endParaRPr lang="de-AT" sz="1600" dirty="0"/>
          </a:p>
        </p:txBody>
      </p:sp>
      <p:sp>
        <p:nvSpPr>
          <p:cNvPr id="22" name="Textfeld 21">
            <a:extLst>
              <a:ext uri="{FF2B5EF4-FFF2-40B4-BE49-F238E27FC236}">
                <a16:creationId xmlns:a16="http://schemas.microsoft.com/office/drawing/2014/main" id="{50FCB7E9-D408-E05F-1BA2-1943FADA4A7F}"/>
              </a:ext>
            </a:extLst>
          </p:cNvPr>
          <p:cNvSpPr txBox="1"/>
          <p:nvPr/>
        </p:nvSpPr>
        <p:spPr>
          <a:xfrm>
            <a:off x="5759451" y="3094447"/>
            <a:ext cx="3133340" cy="1323439"/>
          </a:xfrm>
          <a:prstGeom prst="rect">
            <a:avLst/>
          </a:prstGeom>
          <a:noFill/>
        </p:spPr>
        <p:txBody>
          <a:bodyPr wrap="square">
            <a:spAutoFit/>
          </a:bodyPr>
          <a:lstStyle/>
          <a:p>
            <a:pPr>
              <a:spcBef>
                <a:spcPts val="1875"/>
              </a:spcBef>
            </a:pPr>
            <a:r>
              <a:rPr lang="en-US" sz="1600" b="1" dirty="0">
                <a:highlight>
                  <a:srgbClr val="D7DC46"/>
                </a:highlight>
              </a:rPr>
              <a:t>Rail Cargo: </a:t>
            </a:r>
            <a:r>
              <a:rPr lang="en-US" sz="1600" dirty="0" err="1"/>
              <a:t>DiGiDO</a:t>
            </a:r>
            <a:r>
              <a:rPr lang="en-US" sz="1600" dirty="0"/>
              <a:t> converts Rail Cargo transport data into compatible formats instantly, enabling seamless data flow; leads to error reduction and automation.</a:t>
            </a:r>
          </a:p>
        </p:txBody>
      </p:sp>
      <p:sp>
        <p:nvSpPr>
          <p:cNvPr id="24" name="Textfeld 23">
            <a:extLst>
              <a:ext uri="{FF2B5EF4-FFF2-40B4-BE49-F238E27FC236}">
                <a16:creationId xmlns:a16="http://schemas.microsoft.com/office/drawing/2014/main" id="{7D3AFDC1-FDC3-BF9C-CBB2-5FA5349761D2}"/>
              </a:ext>
            </a:extLst>
          </p:cNvPr>
          <p:cNvSpPr txBox="1"/>
          <p:nvPr/>
        </p:nvSpPr>
        <p:spPr>
          <a:xfrm>
            <a:off x="1563687" y="3094447"/>
            <a:ext cx="2830513" cy="1323439"/>
          </a:xfrm>
          <a:prstGeom prst="rect">
            <a:avLst/>
          </a:prstGeom>
          <a:noFill/>
        </p:spPr>
        <p:txBody>
          <a:bodyPr wrap="square">
            <a:spAutoFit/>
          </a:bodyPr>
          <a:lstStyle/>
          <a:p>
            <a:pPr>
              <a:spcBef>
                <a:spcPts val="1875"/>
              </a:spcBef>
            </a:pPr>
            <a:r>
              <a:rPr lang="en-US" sz="1600" b="1" dirty="0">
                <a:highlight>
                  <a:srgbClr val="D7DC46"/>
                </a:highlight>
              </a:rPr>
              <a:t>Enhanced Transparency and Accountability: </a:t>
            </a:r>
            <a:r>
              <a:rPr lang="en-US" sz="1600" dirty="0"/>
              <a:t>Real-time sharing improves transparency, enabling timely decisions and stronger accountability. </a:t>
            </a:r>
          </a:p>
        </p:txBody>
      </p:sp>
      <p:grpSp>
        <p:nvGrpSpPr>
          <p:cNvPr id="13" name="Grafik 393">
            <a:extLst>
              <a:ext uri="{FF2B5EF4-FFF2-40B4-BE49-F238E27FC236}">
                <a16:creationId xmlns:a16="http://schemas.microsoft.com/office/drawing/2014/main" id="{CEAAF49E-D1AC-C5C8-E2FD-E55F2105A51F}"/>
              </a:ext>
            </a:extLst>
          </p:cNvPr>
          <p:cNvGrpSpPr/>
          <p:nvPr/>
        </p:nvGrpSpPr>
        <p:grpSpPr>
          <a:xfrm>
            <a:off x="520700" y="3064193"/>
            <a:ext cx="767852" cy="767852"/>
            <a:chOff x="7368633" y="3066283"/>
            <a:chExt cx="540000" cy="540000"/>
          </a:xfrm>
          <a:solidFill>
            <a:srgbClr val="009252"/>
          </a:solidFill>
        </p:grpSpPr>
        <p:sp>
          <p:nvSpPr>
            <p:cNvPr id="15" name="Freihandform: Form 14">
              <a:extLst>
                <a:ext uri="{FF2B5EF4-FFF2-40B4-BE49-F238E27FC236}">
                  <a16:creationId xmlns:a16="http://schemas.microsoft.com/office/drawing/2014/main" id="{A58C327E-EB8C-98C9-C896-EF551D968862}"/>
                </a:ext>
              </a:extLst>
            </p:cNvPr>
            <p:cNvSpPr/>
            <p:nvPr/>
          </p:nvSpPr>
          <p:spPr>
            <a:xfrm>
              <a:off x="7405383" y="3257095"/>
              <a:ext cx="467319" cy="261413"/>
            </a:xfrm>
            <a:custGeom>
              <a:avLst/>
              <a:gdLst>
                <a:gd name="connsiteX0" fmla="*/ 233688 w 467319"/>
                <a:gd name="connsiteY0" fmla="*/ 261413 h 261413"/>
                <a:gd name="connsiteX1" fmla="*/ 68349 w 467319"/>
                <a:gd name="connsiteY1" fmla="*/ 213710 h 261413"/>
                <a:gd name="connsiteX2" fmla="*/ 0 w 467319"/>
                <a:gd name="connsiteY2" fmla="*/ 116816 h 261413"/>
                <a:gd name="connsiteX3" fmla="*/ 248 w 467319"/>
                <a:gd name="connsiteY3" fmla="*/ 114717 h 261413"/>
                <a:gd name="connsiteX4" fmla="*/ 233688 w 467319"/>
                <a:gd name="connsiteY4" fmla="*/ 0 h 261413"/>
                <a:gd name="connsiteX5" fmla="*/ 466995 w 467319"/>
                <a:gd name="connsiteY5" fmla="*/ 114278 h 261413"/>
                <a:gd name="connsiteX6" fmla="*/ 466995 w 467319"/>
                <a:gd name="connsiteY6" fmla="*/ 114488 h 261413"/>
                <a:gd name="connsiteX7" fmla="*/ 467319 w 467319"/>
                <a:gd name="connsiteY7" fmla="*/ 116873 h 261413"/>
                <a:gd name="connsiteX8" fmla="*/ 398989 w 467319"/>
                <a:gd name="connsiteY8" fmla="*/ 213767 h 261413"/>
                <a:gd name="connsiteX9" fmla="*/ 233688 w 467319"/>
                <a:gd name="connsiteY9" fmla="*/ 261413 h 261413"/>
                <a:gd name="connsiteX10" fmla="*/ 156066 w 467319"/>
                <a:gd name="connsiteY10" fmla="*/ 25722 h 261413"/>
                <a:gd name="connsiteX11" fmla="*/ 18165 w 467319"/>
                <a:gd name="connsiteY11" fmla="*/ 117617 h 261413"/>
                <a:gd name="connsiteX12" fmla="*/ 18165 w 467319"/>
                <a:gd name="connsiteY12" fmla="*/ 117846 h 261413"/>
                <a:gd name="connsiteX13" fmla="*/ 18165 w 467319"/>
                <a:gd name="connsiteY13" fmla="*/ 118075 h 261413"/>
                <a:gd name="connsiteX14" fmla="*/ 79512 w 467319"/>
                <a:gd name="connsiteY14" fmla="*/ 199380 h 261413"/>
                <a:gd name="connsiteX15" fmla="*/ 233746 w 467319"/>
                <a:gd name="connsiteY15" fmla="*/ 243267 h 261413"/>
                <a:gd name="connsiteX16" fmla="*/ 387846 w 467319"/>
                <a:gd name="connsiteY16" fmla="*/ 199380 h 261413"/>
                <a:gd name="connsiteX17" fmla="*/ 449326 w 467319"/>
                <a:gd name="connsiteY17" fmla="*/ 118285 h 261413"/>
                <a:gd name="connsiteX18" fmla="*/ 449326 w 467319"/>
                <a:gd name="connsiteY18" fmla="*/ 117999 h 261413"/>
                <a:gd name="connsiteX19" fmla="*/ 449230 w 467319"/>
                <a:gd name="connsiteY19" fmla="*/ 117731 h 261413"/>
                <a:gd name="connsiteX20" fmla="*/ 310185 w 467319"/>
                <a:gd name="connsiteY20" fmla="*/ 24558 h 261413"/>
                <a:gd name="connsiteX21" fmla="*/ 304194 w 467319"/>
                <a:gd name="connsiteY21" fmla="*/ 23470 h 261413"/>
                <a:gd name="connsiteX22" fmla="*/ 308849 w 467319"/>
                <a:gd name="connsiteY22" fmla="*/ 27401 h 261413"/>
                <a:gd name="connsiteX23" fmla="*/ 323330 w 467319"/>
                <a:gd name="connsiteY23" fmla="*/ 192021 h 261413"/>
                <a:gd name="connsiteX24" fmla="*/ 158708 w 467319"/>
                <a:gd name="connsiteY24" fmla="*/ 206501 h 261413"/>
                <a:gd name="connsiteX25" fmla="*/ 144229 w 467319"/>
                <a:gd name="connsiteY25" fmla="*/ 41881 h 261413"/>
                <a:gd name="connsiteX26" fmla="*/ 157497 w 467319"/>
                <a:gd name="connsiteY26" fmla="*/ 28431 h 261413"/>
                <a:gd name="connsiteX27" fmla="*/ 162153 w 467319"/>
                <a:gd name="connsiteY27" fmla="*/ 24386 h 261413"/>
                <a:gd name="connsiteX28" fmla="*/ 233688 w 467319"/>
                <a:gd name="connsiteY28" fmla="*/ 18089 h 261413"/>
                <a:gd name="connsiteX29" fmla="*/ 135000 w 467319"/>
                <a:gd name="connsiteY29" fmla="*/ 116816 h 261413"/>
                <a:gd name="connsiteX30" fmla="*/ 233727 w 467319"/>
                <a:gd name="connsiteY30" fmla="*/ 215504 h 261413"/>
                <a:gd name="connsiteX31" fmla="*/ 332415 w 467319"/>
                <a:gd name="connsiteY31" fmla="*/ 116796 h 261413"/>
                <a:gd name="connsiteX32" fmla="*/ 233688 w 467319"/>
                <a:gd name="connsiteY32" fmla="*/ 18108 h 261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7319" h="261413">
                  <a:moveTo>
                    <a:pt x="233688" y="261413"/>
                  </a:moveTo>
                  <a:cubicBezTo>
                    <a:pt x="173563" y="261413"/>
                    <a:pt x="114850" y="244488"/>
                    <a:pt x="68349" y="213710"/>
                  </a:cubicBezTo>
                  <a:cubicBezTo>
                    <a:pt x="25550" y="185413"/>
                    <a:pt x="0" y="149196"/>
                    <a:pt x="0" y="116816"/>
                  </a:cubicBezTo>
                  <a:lnTo>
                    <a:pt x="248" y="114717"/>
                  </a:lnTo>
                  <a:cubicBezTo>
                    <a:pt x="17631" y="39479"/>
                    <a:pt x="130859" y="0"/>
                    <a:pt x="233688" y="0"/>
                  </a:cubicBezTo>
                  <a:cubicBezTo>
                    <a:pt x="358804" y="0"/>
                    <a:pt x="446006" y="42742"/>
                    <a:pt x="466995" y="114278"/>
                  </a:cubicBezTo>
                  <a:lnTo>
                    <a:pt x="466995" y="114488"/>
                  </a:lnTo>
                  <a:lnTo>
                    <a:pt x="467319" y="116873"/>
                  </a:lnTo>
                  <a:cubicBezTo>
                    <a:pt x="467319" y="149311"/>
                    <a:pt x="441731" y="185565"/>
                    <a:pt x="398989" y="213767"/>
                  </a:cubicBezTo>
                  <a:cubicBezTo>
                    <a:pt x="352507" y="244450"/>
                    <a:pt x="293852" y="261413"/>
                    <a:pt x="233688" y="261413"/>
                  </a:cubicBezTo>
                  <a:close/>
                  <a:moveTo>
                    <a:pt x="156066" y="25722"/>
                  </a:moveTo>
                  <a:cubicBezTo>
                    <a:pt x="81553" y="40834"/>
                    <a:pt x="28641" y="76039"/>
                    <a:pt x="18165" y="117617"/>
                  </a:cubicBezTo>
                  <a:lnTo>
                    <a:pt x="18165" y="117846"/>
                  </a:lnTo>
                  <a:lnTo>
                    <a:pt x="18165" y="118075"/>
                  </a:lnTo>
                  <a:cubicBezTo>
                    <a:pt x="18910" y="143835"/>
                    <a:pt x="42418" y="174975"/>
                    <a:pt x="79512" y="199380"/>
                  </a:cubicBezTo>
                  <a:cubicBezTo>
                    <a:pt x="122578" y="227697"/>
                    <a:pt x="177360" y="243267"/>
                    <a:pt x="233746" y="243267"/>
                  </a:cubicBezTo>
                  <a:cubicBezTo>
                    <a:pt x="290131" y="243267"/>
                    <a:pt x="344780" y="227697"/>
                    <a:pt x="387846" y="199380"/>
                  </a:cubicBezTo>
                  <a:cubicBezTo>
                    <a:pt x="424845" y="175090"/>
                    <a:pt x="448410" y="144045"/>
                    <a:pt x="449326" y="118285"/>
                  </a:cubicBezTo>
                  <a:lnTo>
                    <a:pt x="449326" y="117999"/>
                  </a:lnTo>
                  <a:lnTo>
                    <a:pt x="449230" y="117731"/>
                  </a:lnTo>
                  <a:cubicBezTo>
                    <a:pt x="434919" y="71936"/>
                    <a:pt x="384240" y="38010"/>
                    <a:pt x="310185" y="24558"/>
                  </a:cubicBezTo>
                  <a:lnTo>
                    <a:pt x="304194" y="23470"/>
                  </a:lnTo>
                  <a:lnTo>
                    <a:pt x="308849" y="27401"/>
                  </a:lnTo>
                  <a:cubicBezTo>
                    <a:pt x="358306" y="68860"/>
                    <a:pt x="364790" y="142564"/>
                    <a:pt x="323330" y="192021"/>
                  </a:cubicBezTo>
                  <a:cubicBezTo>
                    <a:pt x="281869" y="241479"/>
                    <a:pt x="208167" y="247961"/>
                    <a:pt x="158708" y="206501"/>
                  </a:cubicBezTo>
                  <a:cubicBezTo>
                    <a:pt x="109252" y="165042"/>
                    <a:pt x="102769" y="91338"/>
                    <a:pt x="144229" y="41881"/>
                  </a:cubicBezTo>
                  <a:cubicBezTo>
                    <a:pt x="148281" y="37046"/>
                    <a:pt x="152718" y="32549"/>
                    <a:pt x="157497" y="28431"/>
                  </a:cubicBezTo>
                  <a:lnTo>
                    <a:pt x="162153" y="24386"/>
                  </a:lnTo>
                  <a:close/>
                  <a:moveTo>
                    <a:pt x="233688" y="18089"/>
                  </a:moveTo>
                  <a:cubicBezTo>
                    <a:pt x="179173" y="18100"/>
                    <a:pt x="134990" y="62300"/>
                    <a:pt x="135000" y="116816"/>
                  </a:cubicBezTo>
                  <a:cubicBezTo>
                    <a:pt x="135011" y="171331"/>
                    <a:pt x="179211" y="215515"/>
                    <a:pt x="233727" y="215504"/>
                  </a:cubicBezTo>
                  <a:cubicBezTo>
                    <a:pt x="288234" y="215492"/>
                    <a:pt x="332415" y="171304"/>
                    <a:pt x="332415" y="116796"/>
                  </a:cubicBezTo>
                  <a:cubicBezTo>
                    <a:pt x="332340" y="62308"/>
                    <a:pt x="288177" y="18162"/>
                    <a:pt x="233688" y="18108"/>
                  </a:cubicBezTo>
                  <a:close/>
                </a:path>
              </a:pathLst>
            </a:custGeom>
            <a:grpFill/>
            <a:ln w="1885" cap="flat">
              <a:noFill/>
              <a:prstDash val="solid"/>
              <a:miter/>
            </a:ln>
          </p:spPr>
          <p:txBody>
            <a:bodyPr rtlCol="0" anchor="ctr"/>
            <a:lstStyle/>
            <a:p>
              <a:endParaRPr lang="de-AT"/>
            </a:p>
          </p:txBody>
        </p:sp>
        <p:sp>
          <p:nvSpPr>
            <p:cNvPr id="17" name="Freihandform: Form 16">
              <a:extLst>
                <a:ext uri="{FF2B5EF4-FFF2-40B4-BE49-F238E27FC236}">
                  <a16:creationId xmlns:a16="http://schemas.microsoft.com/office/drawing/2014/main" id="{129C77E6-A05C-8B92-EA9F-3CD086E756DD}"/>
                </a:ext>
              </a:extLst>
            </p:cNvPr>
            <p:cNvSpPr/>
            <p:nvPr/>
          </p:nvSpPr>
          <p:spPr>
            <a:xfrm>
              <a:off x="7575588" y="3310427"/>
              <a:ext cx="126966" cy="126966"/>
            </a:xfrm>
            <a:custGeom>
              <a:avLst/>
              <a:gdLst>
                <a:gd name="connsiteX0" fmla="*/ 63483 w 126966"/>
                <a:gd name="connsiteY0" fmla="*/ 126967 h 126966"/>
                <a:gd name="connsiteX1" fmla="*/ 0 w 126966"/>
                <a:gd name="connsiteY1" fmla="*/ 63483 h 126966"/>
                <a:gd name="connsiteX2" fmla="*/ 63483 w 126966"/>
                <a:gd name="connsiteY2" fmla="*/ 0 h 126966"/>
                <a:gd name="connsiteX3" fmla="*/ 126967 w 126966"/>
                <a:gd name="connsiteY3" fmla="*/ 63483 h 126966"/>
                <a:gd name="connsiteX4" fmla="*/ 63483 w 126966"/>
                <a:gd name="connsiteY4" fmla="*/ 126967 h 126966"/>
                <a:gd name="connsiteX5" fmla="*/ 63483 w 126966"/>
                <a:gd name="connsiteY5" fmla="*/ 18204 h 126966"/>
                <a:gd name="connsiteX6" fmla="*/ 18108 w 126966"/>
                <a:gd name="connsiteY6" fmla="*/ 63579 h 126966"/>
                <a:gd name="connsiteX7" fmla="*/ 63483 w 126966"/>
                <a:gd name="connsiteY7" fmla="*/ 108954 h 126966"/>
                <a:gd name="connsiteX8" fmla="*/ 108859 w 126966"/>
                <a:gd name="connsiteY8" fmla="*/ 63579 h 126966"/>
                <a:gd name="connsiteX9" fmla="*/ 108859 w 126966"/>
                <a:gd name="connsiteY9" fmla="*/ 63560 h 126966"/>
                <a:gd name="connsiteX10" fmla="*/ 63483 w 126966"/>
                <a:gd name="connsiteY10" fmla="*/ 18127 h 12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6966" h="126966">
                  <a:moveTo>
                    <a:pt x="63483" y="126967"/>
                  </a:moveTo>
                  <a:cubicBezTo>
                    <a:pt x="28422" y="126967"/>
                    <a:pt x="0" y="98545"/>
                    <a:pt x="0" y="63483"/>
                  </a:cubicBezTo>
                  <a:cubicBezTo>
                    <a:pt x="0" y="28422"/>
                    <a:pt x="28422" y="0"/>
                    <a:pt x="63483" y="0"/>
                  </a:cubicBezTo>
                  <a:cubicBezTo>
                    <a:pt x="98545" y="0"/>
                    <a:pt x="126967" y="28422"/>
                    <a:pt x="126967" y="63483"/>
                  </a:cubicBezTo>
                  <a:cubicBezTo>
                    <a:pt x="126925" y="98526"/>
                    <a:pt x="98526" y="126925"/>
                    <a:pt x="63483" y="126967"/>
                  </a:cubicBezTo>
                  <a:close/>
                  <a:moveTo>
                    <a:pt x="63483" y="18204"/>
                  </a:moveTo>
                  <a:cubicBezTo>
                    <a:pt x="38424" y="18204"/>
                    <a:pt x="18108" y="38519"/>
                    <a:pt x="18108" y="63579"/>
                  </a:cubicBezTo>
                  <a:cubicBezTo>
                    <a:pt x="18108" y="88638"/>
                    <a:pt x="38424" y="108954"/>
                    <a:pt x="63483" y="108954"/>
                  </a:cubicBezTo>
                  <a:cubicBezTo>
                    <a:pt x="88543" y="108954"/>
                    <a:pt x="108859" y="88638"/>
                    <a:pt x="108859" y="63579"/>
                  </a:cubicBezTo>
                  <a:cubicBezTo>
                    <a:pt x="108859" y="63573"/>
                    <a:pt x="108859" y="63565"/>
                    <a:pt x="108859" y="63560"/>
                  </a:cubicBezTo>
                  <a:cubicBezTo>
                    <a:pt x="108870" y="38487"/>
                    <a:pt x="88556" y="18148"/>
                    <a:pt x="63483" y="18127"/>
                  </a:cubicBezTo>
                  <a:close/>
                </a:path>
              </a:pathLst>
            </a:custGeom>
            <a:grpFill/>
            <a:ln w="1885" cap="flat">
              <a:noFill/>
              <a:prstDash val="solid"/>
              <a:miter/>
            </a:ln>
          </p:spPr>
          <p:txBody>
            <a:bodyPr rtlCol="0" anchor="ctr"/>
            <a:lstStyle/>
            <a:p>
              <a:endParaRPr lang="de-AT"/>
            </a:p>
          </p:txBody>
        </p:sp>
        <p:sp>
          <p:nvSpPr>
            <p:cNvPr id="19" name="Freihandform: Form 18">
              <a:extLst>
                <a:ext uri="{FF2B5EF4-FFF2-40B4-BE49-F238E27FC236}">
                  <a16:creationId xmlns:a16="http://schemas.microsoft.com/office/drawing/2014/main" id="{E6592C2C-0942-C221-8647-28490349A34A}"/>
                </a:ext>
              </a:extLst>
            </p:cNvPr>
            <p:cNvSpPr/>
            <p:nvPr/>
          </p:nvSpPr>
          <p:spPr>
            <a:xfrm>
              <a:off x="7368636" y="3207106"/>
              <a:ext cx="77925" cy="78210"/>
            </a:xfrm>
            <a:custGeom>
              <a:avLst/>
              <a:gdLst>
                <a:gd name="connsiteX0" fmla="*/ 67201 w 77925"/>
                <a:gd name="connsiteY0" fmla="*/ 78211 h 78210"/>
                <a:gd name="connsiteX1" fmla="*/ 77926 w 77925"/>
                <a:gd name="connsiteY1" fmla="*/ 67565 h 78210"/>
                <a:gd name="connsiteX2" fmla="*/ 74833 w 77925"/>
                <a:gd name="connsiteY2" fmla="*/ 60007 h 78210"/>
                <a:gd name="connsiteX3" fmla="*/ 18238 w 77925"/>
                <a:gd name="connsiteY3" fmla="*/ 3145 h 78210"/>
                <a:gd name="connsiteX4" fmla="*/ 3145 w 77925"/>
                <a:gd name="connsiteY4" fmla="*/ 3107 h 78210"/>
                <a:gd name="connsiteX5" fmla="*/ 3107 w 77925"/>
                <a:gd name="connsiteY5" fmla="*/ 18200 h 78210"/>
                <a:gd name="connsiteX6" fmla="*/ 59645 w 77925"/>
                <a:gd name="connsiteY6" fmla="*/ 75062 h 78210"/>
                <a:gd name="connsiteX7" fmla="*/ 67201 w 77925"/>
                <a:gd name="connsiteY7" fmla="*/ 78211 h 78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925" h="78210">
                  <a:moveTo>
                    <a:pt x="67201" y="78211"/>
                  </a:moveTo>
                  <a:cubicBezTo>
                    <a:pt x="73102" y="78232"/>
                    <a:pt x="77904" y="73465"/>
                    <a:pt x="77926" y="67565"/>
                  </a:cubicBezTo>
                  <a:cubicBezTo>
                    <a:pt x="77936" y="64736"/>
                    <a:pt x="76824" y="62018"/>
                    <a:pt x="74833" y="60007"/>
                  </a:cubicBezTo>
                  <a:lnTo>
                    <a:pt x="18238" y="3145"/>
                  </a:lnTo>
                  <a:cubicBezTo>
                    <a:pt x="14081" y="-1033"/>
                    <a:pt x="7323" y="-1051"/>
                    <a:pt x="3145" y="3107"/>
                  </a:cubicBezTo>
                  <a:cubicBezTo>
                    <a:pt x="-1033" y="7264"/>
                    <a:pt x="-1050" y="14022"/>
                    <a:pt x="3107" y="18200"/>
                  </a:cubicBezTo>
                  <a:lnTo>
                    <a:pt x="59645" y="75062"/>
                  </a:lnTo>
                  <a:cubicBezTo>
                    <a:pt x="61638" y="77085"/>
                    <a:pt x="64362" y="78218"/>
                    <a:pt x="67201" y="78211"/>
                  </a:cubicBezTo>
                  <a:close/>
                </a:path>
              </a:pathLst>
            </a:custGeom>
            <a:grpFill/>
            <a:ln w="1885" cap="flat">
              <a:noFill/>
              <a:prstDash val="solid"/>
              <a:miter/>
            </a:ln>
          </p:spPr>
          <p:txBody>
            <a:bodyPr rtlCol="0" anchor="ctr"/>
            <a:lstStyle/>
            <a:p>
              <a:endParaRPr lang="de-AT"/>
            </a:p>
          </p:txBody>
        </p:sp>
        <p:sp>
          <p:nvSpPr>
            <p:cNvPr id="20" name="Freihandform: Form 19">
              <a:extLst>
                <a:ext uri="{FF2B5EF4-FFF2-40B4-BE49-F238E27FC236}">
                  <a16:creationId xmlns:a16="http://schemas.microsoft.com/office/drawing/2014/main" id="{E85FACC9-73E9-59DB-8070-338B1E416433}"/>
                </a:ext>
              </a:extLst>
            </p:cNvPr>
            <p:cNvSpPr/>
            <p:nvPr/>
          </p:nvSpPr>
          <p:spPr>
            <a:xfrm>
              <a:off x="7831643" y="3207095"/>
              <a:ext cx="77887" cy="78199"/>
            </a:xfrm>
            <a:custGeom>
              <a:avLst/>
              <a:gdLst>
                <a:gd name="connsiteX0" fmla="*/ 74738 w 77887"/>
                <a:gd name="connsiteY0" fmla="*/ 3136 h 78199"/>
                <a:gd name="connsiteX1" fmla="*/ 59681 w 77887"/>
                <a:gd name="connsiteY1" fmla="*/ 3101 h 78199"/>
                <a:gd name="connsiteX2" fmla="*/ 59645 w 77887"/>
                <a:gd name="connsiteY2" fmla="*/ 3136 h 78199"/>
                <a:gd name="connsiteX3" fmla="*/ 3107 w 77887"/>
                <a:gd name="connsiteY3" fmla="*/ 59999 h 78199"/>
                <a:gd name="connsiteX4" fmla="*/ 3145 w 77887"/>
                <a:gd name="connsiteY4" fmla="*/ 75092 h 78199"/>
                <a:gd name="connsiteX5" fmla="*/ 18239 w 77887"/>
                <a:gd name="connsiteY5" fmla="*/ 75054 h 78199"/>
                <a:gd name="connsiteX6" fmla="*/ 74776 w 77887"/>
                <a:gd name="connsiteY6" fmla="*/ 18192 h 78199"/>
                <a:gd name="connsiteX7" fmla="*/ 74776 w 77887"/>
                <a:gd name="connsiteY7" fmla="*/ 3117 h 78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887" h="78199">
                  <a:moveTo>
                    <a:pt x="74738" y="3136"/>
                  </a:moveTo>
                  <a:cubicBezTo>
                    <a:pt x="70590" y="-1031"/>
                    <a:pt x="63849" y="-1048"/>
                    <a:pt x="59681" y="3101"/>
                  </a:cubicBezTo>
                  <a:cubicBezTo>
                    <a:pt x="59668" y="3113"/>
                    <a:pt x="59656" y="3125"/>
                    <a:pt x="59645" y="3136"/>
                  </a:cubicBezTo>
                  <a:lnTo>
                    <a:pt x="3107" y="59999"/>
                  </a:lnTo>
                  <a:cubicBezTo>
                    <a:pt x="-1051" y="64177"/>
                    <a:pt x="-1033" y="70934"/>
                    <a:pt x="3145" y="75092"/>
                  </a:cubicBezTo>
                  <a:cubicBezTo>
                    <a:pt x="7324" y="79250"/>
                    <a:pt x="14081" y="79233"/>
                    <a:pt x="18239" y="75054"/>
                  </a:cubicBezTo>
                  <a:lnTo>
                    <a:pt x="74776" y="18192"/>
                  </a:lnTo>
                  <a:cubicBezTo>
                    <a:pt x="78925" y="14023"/>
                    <a:pt x="78925" y="7286"/>
                    <a:pt x="74776" y="3117"/>
                  </a:cubicBezTo>
                  <a:close/>
                </a:path>
              </a:pathLst>
            </a:custGeom>
            <a:grpFill/>
            <a:ln w="1885" cap="flat">
              <a:noFill/>
              <a:prstDash val="solid"/>
              <a:miter/>
            </a:ln>
          </p:spPr>
          <p:txBody>
            <a:bodyPr rtlCol="0" anchor="ctr"/>
            <a:lstStyle/>
            <a:p>
              <a:endParaRPr lang="de-AT"/>
            </a:p>
          </p:txBody>
        </p:sp>
        <p:sp>
          <p:nvSpPr>
            <p:cNvPr id="21" name="Freihandform: Form 20">
              <a:extLst>
                <a:ext uri="{FF2B5EF4-FFF2-40B4-BE49-F238E27FC236}">
                  <a16:creationId xmlns:a16="http://schemas.microsoft.com/office/drawing/2014/main" id="{04C36499-2FD7-530E-6F68-138772574839}"/>
                </a:ext>
              </a:extLst>
            </p:cNvPr>
            <p:cNvSpPr/>
            <p:nvPr/>
          </p:nvSpPr>
          <p:spPr>
            <a:xfrm>
              <a:off x="7535078" y="3109973"/>
              <a:ext cx="49047" cy="123537"/>
            </a:xfrm>
            <a:custGeom>
              <a:avLst/>
              <a:gdLst>
                <a:gd name="connsiteX0" fmla="*/ 28069 w 49047"/>
                <a:gd name="connsiteY0" fmla="*/ 115657 h 123537"/>
                <a:gd name="connsiteX1" fmla="*/ 38373 w 49047"/>
                <a:gd name="connsiteY1" fmla="*/ 123537 h 123537"/>
                <a:gd name="connsiteX2" fmla="*/ 41178 w 49047"/>
                <a:gd name="connsiteY2" fmla="*/ 123175 h 123537"/>
                <a:gd name="connsiteX3" fmla="*/ 48677 w 49047"/>
                <a:gd name="connsiteY3" fmla="*/ 110085 h 123537"/>
                <a:gd name="connsiteX4" fmla="*/ 20875 w 49047"/>
                <a:gd name="connsiteY4" fmla="*/ 7466 h 123537"/>
                <a:gd name="connsiteX5" fmla="*/ 7465 w 49047"/>
                <a:gd name="connsiteY5" fmla="*/ 500 h 123537"/>
                <a:gd name="connsiteX6" fmla="*/ 268 w 49047"/>
                <a:gd name="connsiteY6" fmla="*/ 13057 h 123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047" h="123537">
                  <a:moveTo>
                    <a:pt x="28069" y="115657"/>
                  </a:moveTo>
                  <a:cubicBezTo>
                    <a:pt x="29334" y="120307"/>
                    <a:pt x="33555" y="123534"/>
                    <a:pt x="38373" y="123537"/>
                  </a:cubicBezTo>
                  <a:cubicBezTo>
                    <a:pt x="39319" y="123539"/>
                    <a:pt x="40262" y="123417"/>
                    <a:pt x="41178" y="123175"/>
                  </a:cubicBezTo>
                  <a:cubicBezTo>
                    <a:pt x="46856" y="121622"/>
                    <a:pt x="50209" y="115769"/>
                    <a:pt x="48677" y="110085"/>
                  </a:cubicBezTo>
                  <a:lnTo>
                    <a:pt x="20875" y="7466"/>
                  </a:lnTo>
                  <a:cubicBezTo>
                    <a:pt x="19096" y="1839"/>
                    <a:pt x="13092" y="-1279"/>
                    <a:pt x="7465" y="500"/>
                  </a:cubicBezTo>
                  <a:cubicBezTo>
                    <a:pt x="2165" y="2177"/>
                    <a:pt x="-965" y="7636"/>
                    <a:pt x="268" y="13057"/>
                  </a:cubicBezTo>
                  <a:close/>
                </a:path>
              </a:pathLst>
            </a:custGeom>
            <a:grpFill/>
            <a:ln w="1885" cap="flat">
              <a:noFill/>
              <a:prstDash val="solid"/>
              <a:miter/>
            </a:ln>
          </p:spPr>
          <p:txBody>
            <a:bodyPr rtlCol="0" anchor="ctr"/>
            <a:lstStyle/>
            <a:p>
              <a:endParaRPr lang="de-AT"/>
            </a:p>
          </p:txBody>
        </p:sp>
        <p:sp>
          <p:nvSpPr>
            <p:cNvPr id="23" name="Freihandform: Form 22">
              <a:extLst>
                <a:ext uri="{FF2B5EF4-FFF2-40B4-BE49-F238E27FC236}">
                  <a16:creationId xmlns:a16="http://schemas.microsoft.com/office/drawing/2014/main" id="{DBB7B7A1-154B-7101-1BDB-607023E803BF}"/>
                </a:ext>
              </a:extLst>
            </p:cNvPr>
            <p:cNvSpPr/>
            <p:nvPr/>
          </p:nvSpPr>
          <p:spPr>
            <a:xfrm>
              <a:off x="7701018" y="3110814"/>
              <a:ext cx="42133" cy="122696"/>
            </a:xfrm>
            <a:custGeom>
              <a:avLst/>
              <a:gdLst>
                <a:gd name="connsiteX0" fmla="*/ 8521 w 42133"/>
                <a:gd name="connsiteY0" fmla="*/ 122486 h 122696"/>
                <a:gd name="connsiteX1" fmla="*/ 8521 w 42133"/>
                <a:gd name="connsiteY1" fmla="*/ 122486 h 122696"/>
                <a:gd name="connsiteX2" fmla="*/ 10658 w 42133"/>
                <a:gd name="connsiteY2" fmla="*/ 122696 h 122696"/>
                <a:gd name="connsiteX3" fmla="*/ 21095 w 42133"/>
                <a:gd name="connsiteY3" fmla="*/ 114186 h 122696"/>
                <a:gd name="connsiteX4" fmla="*/ 41913 w 42133"/>
                <a:gd name="connsiteY4" fmla="*/ 12826 h 122696"/>
                <a:gd name="connsiteX5" fmla="*/ 33612 w 42133"/>
                <a:gd name="connsiteY5" fmla="*/ 233 h 122696"/>
                <a:gd name="connsiteX6" fmla="*/ 25598 w 42133"/>
                <a:gd name="connsiteY6" fmla="*/ 1759 h 122696"/>
                <a:gd name="connsiteX7" fmla="*/ 21019 w 42133"/>
                <a:gd name="connsiteY7" fmla="*/ 8533 h 122696"/>
                <a:gd name="connsiteX8" fmla="*/ 220 w 42133"/>
                <a:gd name="connsiteY8" fmla="*/ 109893 h 122696"/>
                <a:gd name="connsiteX9" fmla="*/ 8521 w 42133"/>
                <a:gd name="connsiteY9" fmla="*/ 122486 h 122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133" h="122696">
                  <a:moveTo>
                    <a:pt x="8521" y="122486"/>
                  </a:moveTo>
                  <a:lnTo>
                    <a:pt x="8521" y="122486"/>
                  </a:lnTo>
                  <a:cubicBezTo>
                    <a:pt x="9223" y="122634"/>
                    <a:pt x="9940" y="122704"/>
                    <a:pt x="10658" y="122696"/>
                  </a:cubicBezTo>
                  <a:cubicBezTo>
                    <a:pt x="15712" y="122685"/>
                    <a:pt x="20067" y="119134"/>
                    <a:pt x="21095" y="114186"/>
                  </a:cubicBezTo>
                  <a:lnTo>
                    <a:pt x="41913" y="12826"/>
                  </a:lnTo>
                  <a:cubicBezTo>
                    <a:pt x="43098" y="7057"/>
                    <a:pt x="39383" y="1419"/>
                    <a:pt x="33612" y="233"/>
                  </a:cubicBezTo>
                  <a:cubicBezTo>
                    <a:pt x="30844" y="-360"/>
                    <a:pt x="27955" y="190"/>
                    <a:pt x="25598" y="1759"/>
                  </a:cubicBezTo>
                  <a:cubicBezTo>
                    <a:pt x="23230" y="3318"/>
                    <a:pt x="21584" y="5756"/>
                    <a:pt x="21019" y="8533"/>
                  </a:cubicBezTo>
                  <a:lnTo>
                    <a:pt x="220" y="109893"/>
                  </a:lnTo>
                  <a:cubicBezTo>
                    <a:pt x="-965" y="115662"/>
                    <a:pt x="2750" y="121300"/>
                    <a:pt x="8521" y="122486"/>
                  </a:cubicBezTo>
                  <a:close/>
                </a:path>
              </a:pathLst>
            </a:custGeom>
            <a:grpFill/>
            <a:ln w="1885" cap="flat">
              <a:noFill/>
              <a:prstDash val="solid"/>
              <a:miter/>
            </a:ln>
          </p:spPr>
          <p:txBody>
            <a:bodyPr rtlCol="0" anchor="ctr"/>
            <a:lstStyle/>
            <a:p>
              <a:endParaRPr lang="de-AT"/>
            </a:p>
          </p:txBody>
        </p:sp>
      </p:grpSp>
      <p:pic>
        <p:nvPicPr>
          <p:cNvPr id="27" name="Grafik 26" descr="Ein Bild, das Grafiken, Clipart, Grün, Design enthält.&#10;&#10;KI-generierte Inhalte können fehlerhaft sein.">
            <a:extLst>
              <a:ext uri="{FF2B5EF4-FFF2-40B4-BE49-F238E27FC236}">
                <a16:creationId xmlns:a16="http://schemas.microsoft.com/office/drawing/2014/main" id="{BD382F5C-2F33-ED23-8423-AC8BDDC6FB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26605" y="3094447"/>
            <a:ext cx="481297" cy="276144"/>
          </a:xfrm>
          <a:prstGeom prst="rect">
            <a:avLst/>
          </a:prstGeom>
        </p:spPr>
      </p:pic>
      <p:pic>
        <p:nvPicPr>
          <p:cNvPr id="28" name="Grafik 27" descr="Ein Bild, das Grafiken, Clipart, Symbol, Design enthält.&#10;&#10;KI-generierte Inhalte können fehlerhaft sein.">
            <a:extLst>
              <a:ext uri="{FF2B5EF4-FFF2-40B4-BE49-F238E27FC236}">
                <a16:creationId xmlns:a16="http://schemas.microsoft.com/office/drawing/2014/main" id="{D4E69EC2-E62B-5034-5C9C-7FA2481837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47241" y="3084090"/>
            <a:ext cx="486110" cy="286501"/>
          </a:xfrm>
          <a:prstGeom prst="rect">
            <a:avLst/>
          </a:prstGeom>
        </p:spPr>
      </p:pic>
      <p:pic>
        <p:nvPicPr>
          <p:cNvPr id="4" name="Grafik 3" descr="Ein Bild, das Grafiken, Schrift, Grafikdesign, Kreis enthält.&#10;&#10;KI-generierte Inhalte können fehlerhaft sein.">
            <a:extLst>
              <a:ext uri="{FF2B5EF4-FFF2-40B4-BE49-F238E27FC236}">
                <a16:creationId xmlns:a16="http://schemas.microsoft.com/office/drawing/2014/main" id="{47C27805-CACB-BE9F-5DA0-B088A7671CB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520699" y="1373010"/>
            <a:ext cx="767852" cy="767852"/>
          </a:xfrm>
          <a:prstGeom prst="rect">
            <a:avLst/>
          </a:prstGeom>
        </p:spPr>
      </p:pic>
      <p:pic>
        <p:nvPicPr>
          <p:cNvPr id="6" name="Grafik 5" descr="Ein Bild, das Screenshot, Grafiken, Farbigkeit, Reihe enthält.&#10;&#10;KI-generierte Inhalte können fehlerhaft sein.">
            <a:extLst>
              <a:ext uri="{FF2B5EF4-FFF2-40B4-BE49-F238E27FC236}">
                <a16:creationId xmlns:a16="http://schemas.microsoft.com/office/drawing/2014/main" id="{6BE3E6C1-86AA-9CFF-E462-E62ECD5B017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84291" y="1187278"/>
            <a:ext cx="975160" cy="975160"/>
          </a:xfrm>
          <a:prstGeom prst="rect">
            <a:avLst/>
          </a:prstGeom>
        </p:spPr>
      </p:pic>
    </p:spTree>
    <p:extLst>
      <p:ext uri="{BB962C8B-B14F-4D97-AF65-F5344CB8AC3E}">
        <p14:creationId xmlns:p14="http://schemas.microsoft.com/office/powerpoint/2010/main" val="3772719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A129C2-E1B6-697E-F013-B8A628860293}"/>
            </a:ext>
          </a:extLst>
        </p:cNvPr>
        <p:cNvGrpSpPr/>
        <p:nvPr/>
      </p:nvGrpSpPr>
      <p:grpSpPr>
        <a:xfrm>
          <a:off x="0" y="0"/>
          <a:ext cx="0" cy="0"/>
          <a:chOff x="0" y="0"/>
          <a:chExt cx="0" cy="0"/>
        </a:xfrm>
      </p:grpSpPr>
      <p:sp>
        <p:nvSpPr>
          <p:cNvPr id="13" name="Line 65">
            <a:extLst>
              <a:ext uri="{FF2B5EF4-FFF2-40B4-BE49-F238E27FC236}">
                <a16:creationId xmlns:a16="http://schemas.microsoft.com/office/drawing/2014/main" id="{2ED49B73-1818-B564-7EB9-A091E6E1A54C}"/>
              </a:ext>
            </a:extLst>
          </p:cNvPr>
          <p:cNvSpPr>
            <a:spLocks noChangeShapeType="1"/>
          </p:cNvSpPr>
          <p:nvPr/>
        </p:nvSpPr>
        <p:spPr bwMode="auto">
          <a:xfrm>
            <a:off x="4700646" y="2120793"/>
            <a:ext cx="798009" cy="0"/>
          </a:xfrm>
          <a:prstGeom prst="line">
            <a:avLst/>
          </a:prstGeom>
          <a:noFill/>
          <a:ln w="25400">
            <a:solidFill>
              <a:schemeClr val="accent5"/>
            </a:solidFill>
            <a:round/>
            <a:headEnd type="none" w="med" len="med"/>
            <a:tailEnd type="triangle" w="med" len="med"/>
          </a:ln>
        </p:spPr>
        <p:txBody>
          <a:bodyPr wrap="square" lIns="62308" tIns="29908" rIns="62308" bIns="29908">
            <a:noAutofit/>
          </a:bodyPr>
          <a:lstStyle/>
          <a:p>
            <a:endParaRPr lang="en-GB" sz="761" noProof="0" dirty="0">
              <a:ln>
                <a:solidFill>
                  <a:schemeClr val="tx1"/>
                </a:solidFill>
                <a:prstDash val="solid"/>
              </a:ln>
            </a:endParaRPr>
          </a:p>
        </p:txBody>
      </p:sp>
      <p:grpSp>
        <p:nvGrpSpPr>
          <p:cNvPr id="4" name="Gruppieren 3">
            <a:extLst>
              <a:ext uri="{FF2B5EF4-FFF2-40B4-BE49-F238E27FC236}">
                <a16:creationId xmlns:a16="http://schemas.microsoft.com/office/drawing/2014/main" id="{0BE6C16A-5C23-B549-2990-40C276CB3752}"/>
              </a:ext>
            </a:extLst>
          </p:cNvPr>
          <p:cNvGrpSpPr/>
          <p:nvPr/>
        </p:nvGrpSpPr>
        <p:grpSpPr>
          <a:xfrm>
            <a:off x="3864134" y="1762274"/>
            <a:ext cx="365043" cy="370374"/>
            <a:chOff x="3989507" y="3812485"/>
            <a:chExt cx="365043" cy="370374"/>
          </a:xfrm>
        </p:grpSpPr>
        <p:sp>
          <p:nvSpPr>
            <p:cNvPr id="164" name="Rechteck 163">
              <a:extLst>
                <a:ext uri="{FF2B5EF4-FFF2-40B4-BE49-F238E27FC236}">
                  <a16:creationId xmlns:a16="http://schemas.microsoft.com/office/drawing/2014/main" id="{15313E27-FEEA-A06B-7D7F-D8A56FAF9C00}"/>
                </a:ext>
              </a:extLst>
            </p:cNvPr>
            <p:cNvSpPr/>
            <p:nvPr/>
          </p:nvSpPr>
          <p:spPr>
            <a:xfrm>
              <a:off x="3994550" y="3858859"/>
              <a:ext cx="360000" cy="324000"/>
            </a:xfrm>
            <a:prstGeom prst="rect">
              <a:avLst/>
            </a:prstGeom>
            <a:solidFill>
              <a:schemeClr val="bg1"/>
            </a:solidFill>
            <a:ln>
              <a:noFill/>
            </a:ln>
          </p:spPr>
          <p:txBody>
            <a:bodyPr lIns="0" tIns="0" rIns="0" bIns="0" rtlCol="0" anchor="ctr">
              <a:noAutofit/>
            </a:bodyPr>
            <a:lstStyle/>
            <a:p>
              <a:pPr marL="207169" indent="-207169" algn="ctr" defTabSz="247650">
                <a:spcBef>
                  <a:spcPts val="225"/>
                </a:spcBef>
                <a:buFont typeface="Symbol" pitchFamily="18" charset="2"/>
                <a:buChar char="-"/>
              </a:pPr>
              <a:endParaRPr lang="en-GB" sz="1350" kern="0" noProof="0" dirty="0">
                <a:solidFill>
                  <a:srgbClr val="41474C"/>
                </a:solidFill>
                <a:latin typeface="Corbel" pitchFamily="34" charset="0"/>
              </a:endParaRPr>
            </a:p>
          </p:txBody>
        </p:sp>
        <p:grpSp>
          <p:nvGrpSpPr>
            <p:cNvPr id="142" name="Grafik 36">
              <a:extLst>
                <a:ext uri="{FF2B5EF4-FFF2-40B4-BE49-F238E27FC236}">
                  <a16:creationId xmlns:a16="http://schemas.microsoft.com/office/drawing/2014/main" id="{B33097B2-743E-1152-51CD-375015EABD70}"/>
                </a:ext>
              </a:extLst>
            </p:cNvPr>
            <p:cNvGrpSpPr>
              <a:grpSpLocks noChangeAspect="1"/>
            </p:cNvGrpSpPr>
            <p:nvPr/>
          </p:nvGrpSpPr>
          <p:grpSpPr>
            <a:xfrm>
              <a:off x="3989507" y="3812485"/>
              <a:ext cx="360000" cy="360000"/>
              <a:chOff x="5793045" y="3060246"/>
              <a:chExt cx="540000" cy="540000"/>
            </a:xfrm>
            <a:solidFill>
              <a:schemeClr val="accent1"/>
            </a:solidFill>
          </p:grpSpPr>
          <p:grpSp>
            <p:nvGrpSpPr>
              <p:cNvPr id="159" name="Grafik 36">
                <a:extLst>
                  <a:ext uri="{FF2B5EF4-FFF2-40B4-BE49-F238E27FC236}">
                    <a16:creationId xmlns:a16="http://schemas.microsoft.com/office/drawing/2014/main" id="{08FAB9ED-2B04-8146-73F6-9861EAF08742}"/>
                  </a:ext>
                </a:extLst>
              </p:cNvPr>
              <p:cNvGrpSpPr/>
              <p:nvPr/>
            </p:nvGrpSpPr>
            <p:grpSpPr>
              <a:xfrm>
                <a:off x="5793045" y="3060246"/>
                <a:ext cx="495835" cy="539049"/>
                <a:chOff x="5793045" y="3060246"/>
                <a:chExt cx="495835" cy="539049"/>
              </a:xfrm>
              <a:grpFill/>
            </p:grpSpPr>
            <p:grpSp>
              <p:nvGrpSpPr>
                <p:cNvPr id="161" name="Grafik 36">
                  <a:extLst>
                    <a:ext uri="{FF2B5EF4-FFF2-40B4-BE49-F238E27FC236}">
                      <a16:creationId xmlns:a16="http://schemas.microsoft.com/office/drawing/2014/main" id="{54B2C3BD-A985-8E2C-2BC0-147612122EF2}"/>
                    </a:ext>
                  </a:extLst>
                </p:cNvPr>
                <p:cNvGrpSpPr/>
                <p:nvPr/>
              </p:nvGrpSpPr>
              <p:grpSpPr>
                <a:xfrm>
                  <a:off x="5836259" y="3146379"/>
                  <a:ext cx="452621" cy="452915"/>
                  <a:chOff x="5836259" y="3146379"/>
                  <a:chExt cx="452621" cy="452915"/>
                </a:xfrm>
                <a:grpFill/>
              </p:grpSpPr>
              <p:sp>
                <p:nvSpPr>
                  <p:cNvPr id="162" name="Freihandform: Form 161">
                    <a:extLst>
                      <a:ext uri="{FF2B5EF4-FFF2-40B4-BE49-F238E27FC236}">
                        <a16:creationId xmlns:a16="http://schemas.microsoft.com/office/drawing/2014/main" id="{CE15F9C3-0D7A-413C-CED1-B3A894C2278D}"/>
                      </a:ext>
                    </a:extLst>
                  </p:cNvPr>
                  <p:cNvSpPr/>
                  <p:nvPr/>
                </p:nvSpPr>
                <p:spPr>
                  <a:xfrm>
                    <a:off x="5836259" y="3146379"/>
                    <a:ext cx="452621" cy="452915"/>
                  </a:xfrm>
                  <a:custGeom>
                    <a:avLst/>
                    <a:gdLst>
                      <a:gd name="connsiteX0" fmla="*/ 451152 w 452621"/>
                      <a:gd name="connsiteY0" fmla="*/ 398916 h 452915"/>
                      <a:gd name="connsiteX1" fmla="*/ 444117 w 452621"/>
                      <a:gd name="connsiteY1" fmla="*/ 395303 h 452915"/>
                      <a:gd name="connsiteX2" fmla="*/ 76385 w 452621"/>
                      <a:gd name="connsiteY2" fmla="*/ 395303 h 452915"/>
                      <a:gd name="connsiteX3" fmla="*/ 76385 w 452621"/>
                      <a:gd name="connsiteY3" fmla="*/ 121880 h 452915"/>
                      <a:gd name="connsiteX4" fmla="*/ 129054 w 452621"/>
                      <a:gd name="connsiteY4" fmla="*/ 61225 h 452915"/>
                      <a:gd name="connsiteX5" fmla="*/ 67828 w 452621"/>
                      <a:gd name="connsiteY5" fmla="*/ 0 h 452915"/>
                      <a:gd name="connsiteX6" fmla="*/ 6603 w 452621"/>
                      <a:gd name="connsiteY6" fmla="*/ 61225 h 452915"/>
                      <a:gd name="connsiteX7" fmla="*/ 59272 w 452621"/>
                      <a:gd name="connsiteY7" fmla="*/ 121880 h 452915"/>
                      <a:gd name="connsiteX8" fmla="*/ 59272 w 452621"/>
                      <a:gd name="connsiteY8" fmla="*/ 395303 h 452915"/>
                      <a:gd name="connsiteX9" fmla="*/ 8504 w 452621"/>
                      <a:gd name="connsiteY9" fmla="*/ 395303 h 452915"/>
                      <a:gd name="connsiteX10" fmla="*/ 1469 w 452621"/>
                      <a:gd name="connsiteY10" fmla="*/ 398916 h 452915"/>
                      <a:gd name="connsiteX11" fmla="*/ 518 w 452621"/>
                      <a:gd name="connsiteY11" fmla="*/ 406711 h 452915"/>
                      <a:gd name="connsiteX12" fmla="*/ 15159 w 452621"/>
                      <a:gd name="connsiteY12" fmla="*/ 447211 h 452915"/>
                      <a:gd name="connsiteX13" fmla="*/ 23145 w 452621"/>
                      <a:gd name="connsiteY13" fmla="*/ 452916 h 452915"/>
                      <a:gd name="connsiteX14" fmla="*/ 429476 w 452621"/>
                      <a:gd name="connsiteY14" fmla="*/ 452916 h 452915"/>
                      <a:gd name="connsiteX15" fmla="*/ 437462 w 452621"/>
                      <a:gd name="connsiteY15" fmla="*/ 447211 h 452915"/>
                      <a:gd name="connsiteX16" fmla="*/ 452103 w 452621"/>
                      <a:gd name="connsiteY16" fmla="*/ 406711 h 452915"/>
                      <a:gd name="connsiteX17" fmla="*/ 451152 w 452621"/>
                      <a:gd name="connsiteY17" fmla="*/ 398916 h 452915"/>
                      <a:gd name="connsiteX18" fmla="*/ 67828 w 452621"/>
                      <a:gd name="connsiteY18" fmla="*/ 17113 h 452915"/>
                      <a:gd name="connsiteX19" fmla="*/ 111180 w 452621"/>
                      <a:gd name="connsiteY19" fmla="*/ 52669 h 452915"/>
                      <a:gd name="connsiteX20" fmla="*/ 76385 w 452621"/>
                      <a:gd name="connsiteY20" fmla="*/ 52669 h 452915"/>
                      <a:gd name="connsiteX21" fmla="*/ 76385 w 452621"/>
                      <a:gd name="connsiteY21" fmla="*/ 37648 h 452915"/>
                      <a:gd name="connsiteX22" fmla="*/ 67828 w 452621"/>
                      <a:gd name="connsiteY22" fmla="*/ 29092 h 452915"/>
                      <a:gd name="connsiteX23" fmla="*/ 59272 w 452621"/>
                      <a:gd name="connsiteY23" fmla="*/ 37648 h 452915"/>
                      <a:gd name="connsiteX24" fmla="*/ 59272 w 452621"/>
                      <a:gd name="connsiteY24" fmla="*/ 52669 h 452915"/>
                      <a:gd name="connsiteX25" fmla="*/ 24666 w 452621"/>
                      <a:gd name="connsiteY25" fmla="*/ 52669 h 452915"/>
                      <a:gd name="connsiteX26" fmla="*/ 67828 w 452621"/>
                      <a:gd name="connsiteY26" fmla="*/ 17113 h 452915"/>
                      <a:gd name="connsiteX27" fmla="*/ 24666 w 452621"/>
                      <a:gd name="connsiteY27" fmla="*/ 69782 h 452915"/>
                      <a:gd name="connsiteX28" fmla="*/ 111180 w 452621"/>
                      <a:gd name="connsiteY28" fmla="*/ 69782 h 452915"/>
                      <a:gd name="connsiteX29" fmla="*/ 67828 w 452621"/>
                      <a:gd name="connsiteY29" fmla="*/ 105338 h 452915"/>
                      <a:gd name="connsiteX30" fmla="*/ 24666 w 452621"/>
                      <a:gd name="connsiteY30" fmla="*/ 69782 h 452915"/>
                      <a:gd name="connsiteX31" fmla="*/ 423392 w 452621"/>
                      <a:gd name="connsiteY31" fmla="*/ 435803 h 452915"/>
                      <a:gd name="connsiteX32" fmla="*/ 29039 w 452621"/>
                      <a:gd name="connsiteY32" fmla="*/ 435803 h 452915"/>
                      <a:gd name="connsiteX33" fmla="*/ 20673 w 452621"/>
                      <a:gd name="connsiteY33" fmla="*/ 412416 h 452915"/>
                      <a:gd name="connsiteX34" fmla="*/ 431948 w 452621"/>
                      <a:gd name="connsiteY34" fmla="*/ 412416 h 452915"/>
                      <a:gd name="connsiteX35" fmla="*/ 423392 w 452621"/>
                      <a:gd name="connsiteY35" fmla="*/ 435803 h 452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52621" h="452915">
                        <a:moveTo>
                          <a:pt x="451152" y="398916"/>
                        </a:moveTo>
                        <a:cubicBezTo>
                          <a:pt x="449631" y="396634"/>
                          <a:pt x="446969" y="395303"/>
                          <a:pt x="444117" y="395303"/>
                        </a:cubicBezTo>
                        <a:lnTo>
                          <a:pt x="76385" y="395303"/>
                        </a:lnTo>
                        <a:lnTo>
                          <a:pt x="76385" y="121880"/>
                        </a:lnTo>
                        <a:cubicBezTo>
                          <a:pt x="106046" y="117697"/>
                          <a:pt x="129054" y="92028"/>
                          <a:pt x="129054" y="61225"/>
                        </a:cubicBezTo>
                        <a:cubicBezTo>
                          <a:pt x="129054" y="27380"/>
                          <a:pt x="101483" y="0"/>
                          <a:pt x="67828" y="0"/>
                        </a:cubicBezTo>
                        <a:cubicBezTo>
                          <a:pt x="33983" y="0"/>
                          <a:pt x="6603" y="27570"/>
                          <a:pt x="6603" y="61225"/>
                        </a:cubicBezTo>
                        <a:cubicBezTo>
                          <a:pt x="6603" y="92028"/>
                          <a:pt x="29610" y="117697"/>
                          <a:pt x="59272" y="121880"/>
                        </a:cubicBezTo>
                        <a:lnTo>
                          <a:pt x="59272" y="395303"/>
                        </a:lnTo>
                        <a:lnTo>
                          <a:pt x="8504" y="395303"/>
                        </a:lnTo>
                        <a:cubicBezTo>
                          <a:pt x="5652" y="395303"/>
                          <a:pt x="3180" y="396634"/>
                          <a:pt x="1469" y="398916"/>
                        </a:cubicBezTo>
                        <a:cubicBezTo>
                          <a:pt x="-52" y="401197"/>
                          <a:pt x="-432" y="404049"/>
                          <a:pt x="518" y="406711"/>
                        </a:cubicBezTo>
                        <a:lnTo>
                          <a:pt x="15159" y="447211"/>
                        </a:lnTo>
                        <a:cubicBezTo>
                          <a:pt x="16300" y="450634"/>
                          <a:pt x="19532" y="452916"/>
                          <a:pt x="23145" y="452916"/>
                        </a:cubicBezTo>
                        <a:lnTo>
                          <a:pt x="429476" y="452916"/>
                        </a:lnTo>
                        <a:cubicBezTo>
                          <a:pt x="433089" y="452916"/>
                          <a:pt x="436321" y="450634"/>
                          <a:pt x="437462" y="447211"/>
                        </a:cubicBezTo>
                        <a:lnTo>
                          <a:pt x="452103" y="406711"/>
                        </a:lnTo>
                        <a:cubicBezTo>
                          <a:pt x="453054" y="404049"/>
                          <a:pt x="452673" y="401197"/>
                          <a:pt x="451152" y="398916"/>
                        </a:cubicBezTo>
                        <a:close/>
                        <a:moveTo>
                          <a:pt x="67828" y="17113"/>
                        </a:moveTo>
                        <a:cubicBezTo>
                          <a:pt x="89314" y="17113"/>
                          <a:pt x="107187" y="32514"/>
                          <a:pt x="111180" y="52669"/>
                        </a:cubicBezTo>
                        <a:lnTo>
                          <a:pt x="76385" y="52669"/>
                        </a:lnTo>
                        <a:lnTo>
                          <a:pt x="76385" y="37648"/>
                        </a:lnTo>
                        <a:cubicBezTo>
                          <a:pt x="76385" y="32894"/>
                          <a:pt x="72582" y="29092"/>
                          <a:pt x="67828" y="29092"/>
                        </a:cubicBezTo>
                        <a:cubicBezTo>
                          <a:pt x="63075" y="29092"/>
                          <a:pt x="59272" y="32894"/>
                          <a:pt x="59272" y="37648"/>
                        </a:cubicBezTo>
                        <a:lnTo>
                          <a:pt x="59272" y="52669"/>
                        </a:lnTo>
                        <a:lnTo>
                          <a:pt x="24666" y="52669"/>
                        </a:lnTo>
                        <a:cubicBezTo>
                          <a:pt x="28659" y="32324"/>
                          <a:pt x="46532" y="17113"/>
                          <a:pt x="67828" y="17113"/>
                        </a:cubicBezTo>
                        <a:close/>
                        <a:moveTo>
                          <a:pt x="24666" y="69782"/>
                        </a:moveTo>
                        <a:lnTo>
                          <a:pt x="111180" y="69782"/>
                        </a:lnTo>
                        <a:cubicBezTo>
                          <a:pt x="107187" y="90127"/>
                          <a:pt x="89314" y="105338"/>
                          <a:pt x="67828" y="105338"/>
                        </a:cubicBezTo>
                        <a:cubicBezTo>
                          <a:pt x="46532" y="105338"/>
                          <a:pt x="28659" y="90127"/>
                          <a:pt x="24666" y="69782"/>
                        </a:cubicBezTo>
                        <a:close/>
                        <a:moveTo>
                          <a:pt x="423392" y="435803"/>
                        </a:moveTo>
                        <a:lnTo>
                          <a:pt x="29039" y="435803"/>
                        </a:lnTo>
                        <a:lnTo>
                          <a:pt x="20673" y="412416"/>
                        </a:lnTo>
                        <a:lnTo>
                          <a:pt x="431948" y="412416"/>
                        </a:lnTo>
                        <a:lnTo>
                          <a:pt x="423392" y="435803"/>
                        </a:lnTo>
                        <a:close/>
                      </a:path>
                    </a:pathLst>
                  </a:custGeom>
                  <a:grpFill/>
                  <a:ln w="1878" cap="flat">
                    <a:noFill/>
                    <a:prstDash val="solid"/>
                    <a:miter/>
                  </a:ln>
                </p:spPr>
                <p:txBody>
                  <a:bodyPr rtlCol="0" anchor="ctr"/>
                  <a:lstStyle/>
                  <a:p>
                    <a:endParaRPr lang="en-GB" noProof="0" dirty="0"/>
                  </a:p>
                </p:txBody>
              </p:sp>
              <p:sp>
                <p:nvSpPr>
                  <p:cNvPr id="163" name="Freihandform: Form 162">
                    <a:extLst>
                      <a:ext uri="{FF2B5EF4-FFF2-40B4-BE49-F238E27FC236}">
                        <a16:creationId xmlns:a16="http://schemas.microsoft.com/office/drawing/2014/main" id="{6EAF506D-DCB7-7E4A-4328-80DF5C7C175B}"/>
                      </a:ext>
                    </a:extLst>
                  </p:cNvPr>
                  <p:cNvSpPr/>
                  <p:nvPr/>
                </p:nvSpPr>
                <p:spPr>
                  <a:xfrm>
                    <a:off x="5934129" y="3316936"/>
                    <a:ext cx="338830" cy="208774"/>
                  </a:xfrm>
                  <a:custGeom>
                    <a:avLst/>
                    <a:gdLst>
                      <a:gd name="connsiteX0" fmla="*/ 0 w 338830"/>
                      <a:gd name="connsiteY0" fmla="*/ 26239 h 208774"/>
                      <a:gd name="connsiteX1" fmla="*/ 190 w 338830"/>
                      <a:gd name="connsiteY1" fmla="*/ 115415 h 208774"/>
                      <a:gd name="connsiteX2" fmla="*/ 190 w 338830"/>
                      <a:gd name="connsiteY2" fmla="*/ 116746 h 208774"/>
                      <a:gd name="connsiteX3" fmla="*/ 31373 w 338830"/>
                      <a:gd name="connsiteY3" fmla="*/ 208775 h 208774"/>
                      <a:gd name="connsiteX4" fmla="*/ 292627 w 338830"/>
                      <a:gd name="connsiteY4" fmla="*/ 208775 h 208774"/>
                      <a:gd name="connsiteX5" fmla="*/ 303085 w 338830"/>
                      <a:gd name="connsiteY5" fmla="*/ 186338 h 208774"/>
                      <a:gd name="connsiteX6" fmla="*/ 337310 w 338830"/>
                      <a:gd name="connsiteY6" fmla="*/ 113704 h 208774"/>
                      <a:gd name="connsiteX7" fmla="*/ 338831 w 338830"/>
                      <a:gd name="connsiteY7" fmla="*/ 110662 h 208774"/>
                      <a:gd name="connsiteX8" fmla="*/ 303275 w 338830"/>
                      <a:gd name="connsiteY8" fmla="*/ 0 h 208774"/>
                      <a:gd name="connsiteX9" fmla="*/ 0 w 338830"/>
                      <a:gd name="connsiteY9" fmla="*/ 0 h 208774"/>
                      <a:gd name="connsiteX10" fmla="*/ 0 w 338830"/>
                      <a:gd name="connsiteY10" fmla="*/ 26239 h 208774"/>
                      <a:gd name="connsiteX11" fmla="*/ 314873 w 338830"/>
                      <a:gd name="connsiteY11" fmla="*/ 121500 h 208774"/>
                      <a:gd name="connsiteX12" fmla="*/ 308789 w 338830"/>
                      <a:gd name="connsiteY12" fmla="*/ 134430 h 208774"/>
                      <a:gd name="connsiteX13" fmla="*/ 24148 w 338830"/>
                      <a:gd name="connsiteY13" fmla="*/ 134430 h 208774"/>
                      <a:gd name="connsiteX14" fmla="*/ 19775 w 338830"/>
                      <a:gd name="connsiteY14" fmla="*/ 121500 h 208774"/>
                      <a:gd name="connsiteX15" fmla="*/ 314873 w 338830"/>
                      <a:gd name="connsiteY15" fmla="*/ 121500 h 208774"/>
                      <a:gd name="connsiteX16" fmla="*/ 287683 w 338830"/>
                      <a:gd name="connsiteY16" fmla="*/ 179303 h 208774"/>
                      <a:gd name="connsiteX17" fmla="*/ 281789 w 338830"/>
                      <a:gd name="connsiteY17" fmla="*/ 191852 h 208774"/>
                      <a:gd name="connsiteX18" fmla="*/ 43732 w 338830"/>
                      <a:gd name="connsiteY18" fmla="*/ 191852 h 208774"/>
                      <a:gd name="connsiteX19" fmla="*/ 30042 w 338830"/>
                      <a:gd name="connsiteY19" fmla="*/ 151542 h 208774"/>
                      <a:gd name="connsiteX20" fmla="*/ 300803 w 338830"/>
                      <a:gd name="connsiteY20" fmla="*/ 151542 h 208774"/>
                      <a:gd name="connsiteX21" fmla="*/ 287683 w 338830"/>
                      <a:gd name="connsiteY21" fmla="*/ 179303 h 208774"/>
                      <a:gd name="connsiteX22" fmla="*/ 290725 w 338830"/>
                      <a:gd name="connsiteY22" fmla="*/ 17113 h 208774"/>
                      <a:gd name="connsiteX23" fmla="*/ 318676 w 338830"/>
                      <a:gd name="connsiteY23" fmla="*/ 104387 h 208774"/>
                      <a:gd name="connsiteX24" fmla="*/ 251937 w 338830"/>
                      <a:gd name="connsiteY24" fmla="*/ 104387 h 208774"/>
                      <a:gd name="connsiteX25" fmla="*/ 251937 w 338830"/>
                      <a:gd name="connsiteY25" fmla="*/ 17113 h 208774"/>
                      <a:gd name="connsiteX26" fmla="*/ 290725 w 338830"/>
                      <a:gd name="connsiteY26" fmla="*/ 17113 h 208774"/>
                      <a:gd name="connsiteX27" fmla="*/ 234824 w 338830"/>
                      <a:gd name="connsiteY27" fmla="*/ 17113 h 208774"/>
                      <a:gd name="connsiteX28" fmla="*/ 234824 w 338830"/>
                      <a:gd name="connsiteY28" fmla="*/ 104387 h 208774"/>
                      <a:gd name="connsiteX29" fmla="*/ 174359 w 338830"/>
                      <a:gd name="connsiteY29" fmla="*/ 104387 h 208774"/>
                      <a:gd name="connsiteX30" fmla="*/ 174359 w 338830"/>
                      <a:gd name="connsiteY30" fmla="*/ 17113 h 208774"/>
                      <a:gd name="connsiteX31" fmla="*/ 234824 w 338830"/>
                      <a:gd name="connsiteY31" fmla="*/ 17113 h 208774"/>
                      <a:gd name="connsiteX32" fmla="*/ 157246 w 338830"/>
                      <a:gd name="connsiteY32" fmla="*/ 17113 h 208774"/>
                      <a:gd name="connsiteX33" fmla="*/ 157246 w 338830"/>
                      <a:gd name="connsiteY33" fmla="*/ 104387 h 208774"/>
                      <a:gd name="connsiteX34" fmla="*/ 97162 w 338830"/>
                      <a:gd name="connsiteY34" fmla="*/ 104387 h 208774"/>
                      <a:gd name="connsiteX35" fmla="*/ 97162 w 338830"/>
                      <a:gd name="connsiteY35" fmla="*/ 17113 h 208774"/>
                      <a:gd name="connsiteX36" fmla="*/ 157246 w 338830"/>
                      <a:gd name="connsiteY36" fmla="*/ 17113 h 208774"/>
                      <a:gd name="connsiteX37" fmla="*/ 79859 w 338830"/>
                      <a:gd name="connsiteY37" fmla="*/ 17113 h 208774"/>
                      <a:gd name="connsiteX38" fmla="*/ 79859 w 338830"/>
                      <a:gd name="connsiteY38" fmla="*/ 104387 h 208774"/>
                      <a:gd name="connsiteX39" fmla="*/ 17303 w 338830"/>
                      <a:gd name="connsiteY39" fmla="*/ 104387 h 208774"/>
                      <a:gd name="connsiteX40" fmla="*/ 17113 w 338830"/>
                      <a:gd name="connsiteY40" fmla="*/ 26239 h 208774"/>
                      <a:gd name="connsiteX41" fmla="*/ 17113 w 338830"/>
                      <a:gd name="connsiteY41" fmla="*/ 17113 h 208774"/>
                      <a:gd name="connsiteX42" fmla="*/ 79859 w 338830"/>
                      <a:gd name="connsiteY42" fmla="*/ 17113 h 208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38830" h="208774">
                        <a:moveTo>
                          <a:pt x="0" y="26239"/>
                        </a:moveTo>
                        <a:cubicBezTo>
                          <a:pt x="0" y="55901"/>
                          <a:pt x="190" y="85754"/>
                          <a:pt x="190" y="115415"/>
                        </a:cubicBezTo>
                        <a:lnTo>
                          <a:pt x="190" y="116746"/>
                        </a:lnTo>
                        <a:lnTo>
                          <a:pt x="31373" y="208775"/>
                        </a:lnTo>
                        <a:lnTo>
                          <a:pt x="292627" y="208775"/>
                        </a:lnTo>
                        <a:lnTo>
                          <a:pt x="303085" y="186338"/>
                        </a:lnTo>
                        <a:cubicBezTo>
                          <a:pt x="314493" y="162190"/>
                          <a:pt x="325901" y="137852"/>
                          <a:pt x="337310" y="113704"/>
                        </a:cubicBezTo>
                        <a:lnTo>
                          <a:pt x="338831" y="110662"/>
                        </a:lnTo>
                        <a:lnTo>
                          <a:pt x="303275" y="0"/>
                        </a:lnTo>
                        <a:lnTo>
                          <a:pt x="0" y="0"/>
                        </a:lnTo>
                        <a:lnTo>
                          <a:pt x="0" y="26239"/>
                        </a:lnTo>
                        <a:close/>
                        <a:moveTo>
                          <a:pt x="314873" y="121500"/>
                        </a:moveTo>
                        <a:cubicBezTo>
                          <a:pt x="312782" y="125873"/>
                          <a:pt x="310880" y="130056"/>
                          <a:pt x="308789" y="134430"/>
                        </a:cubicBezTo>
                        <a:lnTo>
                          <a:pt x="24148" y="134430"/>
                        </a:lnTo>
                        <a:lnTo>
                          <a:pt x="19775" y="121500"/>
                        </a:lnTo>
                        <a:lnTo>
                          <a:pt x="314873" y="121500"/>
                        </a:lnTo>
                        <a:close/>
                        <a:moveTo>
                          <a:pt x="287683" y="179303"/>
                        </a:moveTo>
                        <a:lnTo>
                          <a:pt x="281789" y="191852"/>
                        </a:lnTo>
                        <a:lnTo>
                          <a:pt x="43732" y="191852"/>
                        </a:lnTo>
                        <a:lnTo>
                          <a:pt x="30042" y="151542"/>
                        </a:lnTo>
                        <a:lnTo>
                          <a:pt x="300803" y="151542"/>
                        </a:lnTo>
                        <a:cubicBezTo>
                          <a:pt x="296430" y="160669"/>
                          <a:pt x="292056" y="169986"/>
                          <a:pt x="287683" y="179303"/>
                        </a:cubicBezTo>
                        <a:close/>
                        <a:moveTo>
                          <a:pt x="290725" y="17113"/>
                        </a:moveTo>
                        <a:lnTo>
                          <a:pt x="318676" y="104387"/>
                        </a:lnTo>
                        <a:lnTo>
                          <a:pt x="251937" y="104387"/>
                        </a:lnTo>
                        <a:lnTo>
                          <a:pt x="251937" y="17113"/>
                        </a:lnTo>
                        <a:lnTo>
                          <a:pt x="290725" y="17113"/>
                        </a:lnTo>
                        <a:close/>
                        <a:moveTo>
                          <a:pt x="234824" y="17113"/>
                        </a:moveTo>
                        <a:lnTo>
                          <a:pt x="234824" y="104387"/>
                        </a:lnTo>
                        <a:lnTo>
                          <a:pt x="174359" y="104387"/>
                        </a:lnTo>
                        <a:lnTo>
                          <a:pt x="174359" y="17113"/>
                        </a:lnTo>
                        <a:lnTo>
                          <a:pt x="234824" y="17113"/>
                        </a:lnTo>
                        <a:close/>
                        <a:moveTo>
                          <a:pt x="157246" y="17113"/>
                        </a:moveTo>
                        <a:lnTo>
                          <a:pt x="157246" y="104387"/>
                        </a:lnTo>
                        <a:lnTo>
                          <a:pt x="97162" y="104387"/>
                        </a:lnTo>
                        <a:lnTo>
                          <a:pt x="97162" y="17113"/>
                        </a:lnTo>
                        <a:lnTo>
                          <a:pt x="157246" y="17113"/>
                        </a:lnTo>
                        <a:close/>
                        <a:moveTo>
                          <a:pt x="79859" y="17113"/>
                        </a:moveTo>
                        <a:lnTo>
                          <a:pt x="79859" y="104387"/>
                        </a:lnTo>
                        <a:lnTo>
                          <a:pt x="17303" y="104387"/>
                        </a:lnTo>
                        <a:cubicBezTo>
                          <a:pt x="17303" y="78338"/>
                          <a:pt x="17113" y="52289"/>
                          <a:pt x="17113" y="26239"/>
                        </a:cubicBezTo>
                        <a:lnTo>
                          <a:pt x="17113" y="17113"/>
                        </a:lnTo>
                        <a:lnTo>
                          <a:pt x="79859" y="17113"/>
                        </a:lnTo>
                        <a:close/>
                      </a:path>
                    </a:pathLst>
                  </a:custGeom>
                  <a:grpFill/>
                  <a:ln w="1878" cap="flat">
                    <a:noFill/>
                    <a:prstDash val="solid"/>
                    <a:miter/>
                  </a:ln>
                </p:spPr>
                <p:txBody>
                  <a:bodyPr rtlCol="0" anchor="ctr"/>
                  <a:lstStyle/>
                  <a:p>
                    <a:endParaRPr lang="en-GB" noProof="0" dirty="0"/>
                  </a:p>
                </p:txBody>
              </p:sp>
            </p:grpSp>
          </p:grpSp>
        </p:grpSp>
      </p:grpSp>
      <p:sp>
        <p:nvSpPr>
          <p:cNvPr id="3" name="Rechteck 2">
            <a:extLst>
              <a:ext uri="{FF2B5EF4-FFF2-40B4-BE49-F238E27FC236}">
                <a16:creationId xmlns:a16="http://schemas.microsoft.com/office/drawing/2014/main" id="{C2E4E2B9-DFB1-A5F5-7A54-0606FECEF6A1}"/>
              </a:ext>
            </a:extLst>
          </p:cNvPr>
          <p:cNvSpPr/>
          <p:nvPr/>
        </p:nvSpPr>
        <p:spPr>
          <a:xfrm>
            <a:off x="2232727" y="1834629"/>
            <a:ext cx="1565687" cy="1677148"/>
          </a:xfrm>
          <a:prstGeom prst="rect">
            <a:avLst/>
          </a:prstGeom>
          <a:solidFill>
            <a:schemeClr val="accent3">
              <a:lumMod val="60000"/>
              <a:lumOff val="40000"/>
            </a:schemeClr>
          </a:solidFill>
          <a:ln>
            <a:solidFill>
              <a:schemeClr val="bg1"/>
            </a:solidFill>
          </a:ln>
        </p:spPr>
        <p:txBody>
          <a:bodyPr lIns="0" tIns="0" rIns="0" bIns="0" rtlCol="0" anchor="ctr">
            <a:noAutofit/>
          </a:bodyPr>
          <a:lstStyle/>
          <a:p>
            <a:pPr marL="207169" indent="-207169" algn="ctr" defTabSz="247650">
              <a:spcBef>
                <a:spcPts val="225"/>
              </a:spcBef>
              <a:buFont typeface="Symbol" pitchFamily="18" charset="2"/>
              <a:buChar char="-"/>
            </a:pPr>
            <a:endParaRPr lang="en-GB" sz="1350" kern="0" noProof="0" dirty="0">
              <a:solidFill>
                <a:srgbClr val="41474C"/>
              </a:solidFill>
              <a:latin typeface="Corbel" pitchFamily="34" charset="0"/>
            </a:endParaRPr>
          </a:p>
        </p:txBody>
      </p:sp>
      <p:sp>
        <p:nvSpPr>
          <p:cNvPr id="96" name="Line 65">
            <a:extLst>
              <a:ext uri="{FF2B5EF4-FFF2-40B4-BE49-F238E27FC236}">
                <a16:creationId xmlns:a16="http://schemas.microsoft.com/office/drawing/2014/main" id="{2232B93E-CA66-B67A-B310-43F611628181}"/>
              </a:ext>
            </a:extLst>
          </p:cNvPr>
          <p:cNvSpPr>
            <a:spLocks noChangeShapeType="1"/>
          </p:cNvSpPr>
          <p:nvPr/>
        </p:nvSpPr>
        <p:spPr bwMode="auto">
          <a:xfrm>
            <a:off x="6026020" y="2122213"/>
            <a:ext cx="1557868" cy="0"/>
          </a:xfrm>
          <a:prstGeom prst="line">
            <a:avLst/>
          </a:prstGeom>
          <a:noFill/>
          <a:ln w="25400">
            <a:solidFill>
              <a:schemeClr val="accent5"/>
            </a:solidFill>
            <a:round/>
            <a:headEnd type="none" w="med" len="med"/>
            <a:tailEnd type="none" w="med" len="med"/>
          </a:ln>
        </p:spPr>
        <p:txBody>
          <a:bodyPr wrap="square" lIns="62308" tIns="29908" rIns="62308" bIns="29908">
            <a:noAutofit/>
          </a:bodyPr>
          <a:lstStyle/>
          <a:p>
            <a:endParaRPr lang="en-GB" sz="761" noProof="0" dirty="0">
              <a:ln>
                <a:solidFill>
                  <a:schemeClr val="tx1"/>
                </a:solidFill>
                <a:prstDash val="solid"/>
              </a:ln>
            </a:endParaRPr>
          </a:p>
        </p:txBody>
      </p:sp>
      <p:sp>
        <p:nvSpPr>
          <p:cNvPr id="2" name="Titel 1">
            <a:extLst>
              <a:ext uri="{FF2B5EF4-FFF2-40B4-BE49-F238E27FC236}">
                <a16:creationId xmlns:a16="http://schemas.microsoft.com/office/drawing/2014/main" id="{C972EF04-2A88-7007-2A15-F39A6BBDBF77}"/>
              </a:ext>
            </a:extLst>
          </p:cNvPr>
          <p:cNvSpPr>
            <a:spLocks noGrp="1"/>
          </p:cNvSpPr>
          <p:nvPr>
            <p:ph type="title"/>
          </p:nvPr>
        </p:nvSpPr>
        <p:spPr>
          <a:xfrm>
            <a:off x="520699" y="432001"/>
            <a:ext cx="7880351" cy="386822"/>
          </a:xfrm>
        </p:spPr>
        <p:txBody>
          <a:bodyPr/>
          <a:lstStyle/>
          <a:p>
            <a:r>
              <a:rPr lang="en-GB" noProof="0" dirty="0"/>
              <a:t>Digitalisation in the Glass collection and recycling process</a:t>
            </a:r>
          </a:p>
        </p:txBody>
      </p:sp>
      <p:sp>
        <p:nvSpPr>
          <p:cNvPr id="124" name="Rechteck 123">
            <a:extLst>
              <a:ext uri="{FF2B5EF4-FFF2-40B4-BE49-F238E27FC236}">
                <a16:creationId xmlns:a16="http://schemas.microsoft.com/office/drawing/2014/main" id="{177639E7-BD64-FA97-EEAF-9FA121664BF0}"/>
              </a:ext>
            </a:extLst>
          </p:cNvPr>
          <p:cNvSpPr/>
          <p:nvPr/>
        </p:nvSpPr>
        <p:spPr>
          <a:xfrm>
            <a:off x="5857331" y="1832634"/>
            <a:ext cx="756000" cy="571064"/>
          </a:xfrm>
          <a:prstGeom prst="rect">
            <a:avLst/>
          </a:prstGeom>
          <a:solidFill>
            <a:schemeClr val="accent3">
              <a:lumMod val="60000"/>
              <a:lumOff val="40000"/>
            </a:schemeClr>
          </a:solidFill>
          <a:ln>
            <a:solidFill>
              <a:schemeClr val="bg1"/>
            </a:solidFill>
          </a:ln>
        </p:spPr>
        <p:txBody>
          <a:bodyPr lIns="0" tIns="0" rIns="0" bIns="0" rtlCol="0" anchor="ctr">
            <a:noAutofit/>
          </a:bodyPr>
          <a:lstStyle/>
          <a:p>
            <a:pPr marL="207169" indent="-207169" algn="ctr" defTabSz="247650">
              <a:spcBef>
                <a:spcPts val="225"/>
              </a:spcBef>
              <a:buFont typeface="Symbol" pitchFamily="18" charset="2"/>
              <a:buChar char="-"/>
            </a:pPr>
            <a:endParaRPr lang="en-GB" sz="1350" kern="0" noProof="0" dirty="0">
              <a:solidFill>
                <a:srgbClr val="41474C"/>
              </a:solidFill>
              <a:latin typeface="Corbel" pitchFamily="34" charset="0"/>
            </a:endParaRPr>
          </a:p>
        </p:txBody>
      </p:sp>
      <p:sp>
        <p:nvSpPr>
          <p:cNvPr id="140" name="Rechteck 139">
            <a:extLst>
              <a:ext uri="{FF2B5EF4-FFF2-40B4-BE49-F238E27FC236}">
                <a16:creationId xmlns:a16="http://schemas.microsoft.com/office/drawing/2014/main" id="{3A9EBD51-0D0B-8362-D7B3-224E36FDE24F}"/>
              </a:ext>
            </a:extLst>
          </p:cNvPr>
          <p:cNvSpPr/>
          <p:nvPr/>
        </p:nvSpPr>
        <p:spPr>
          <a:xfrm>
            <a:off x="7715562" y="1814684"/>
            <a:ext cx="756000" cy="1697089"/>
          </a:xfrm>
          <a:prstGeom prst="rect">
            <a:avLst/>
          </a:prstGeom>
          <a:solidFill>
            <a:schemeClr val="accent3">
              <a:lumMod val="60000"/>
              <a:lumOff val="40000"/>
            </a:schemeClr>
          </a:solidFill>
          <a:ln>
            <a:solidFill>
              <a:schemeClr val="bg1"/>
            </a:solidFill>
          </a:ln>
        </p:spPr>
        <p:txBody>
          <a:bodyPr lIns="0" tIns="0" rIns="0" bIns="0" rtlCol="0" anchor="ctr">
            <a:noAutofit/>
          </a:bodyPr>
          <a:lstStyle/>
          <a:p>
            <a:pPr marL="207169" indent="-207169" algn="ctr" defTabSz="247650">
              <a:spcBef>
                <a:spcPts val="225"/>
              </a:spcBef>
              <a:buFont typeface="Symbol" pitchFamily="18" charset="2"/>
              <a:buChar char="-"/>
            </a:pPr>
            <a:endParaRPr lang="en-GB" sz="1350" kern="0" noProof="0" dirty="0">
              <a:solidFill>
                <a:srgbClr val="41474C"/>
              </a:solidFill>
              <a:latin typeface="Corbel" pitchFamily="34" charset="0"/>
            </a:endParaRPr>
          </a:p>
        </p:txBody>
      </p:sp>
      <p:sp>
        <p:nvSpPr>
          <p:cNvPr id="75" name="Line 65">
            <a:extLst>
              <a:ext uri="{FF2B5EF4-FFF2-40B4-BE49-F238E27FC236}">
                <a16:creationId xmlns:a16="http://schemas.microsoft.com/office/drawing/2014/main" id="{AEDB720D-9297-871A-93B3-6AD6BC25F77B}"/>
              </a:ext>
            </a:extLst>
          </p:cNvPr>
          <p:cNvSpPr>
            <a:spLocks noChangeShapeType="1"/>
          </p:cNvSpPr>
          <p:nvPr/>
        </p:nvSpPr>
        <p:spPr bwMode="auto">
          <a:xfrm>
            <a:off x="2700998" y="3209307"/>
            <a:ext cx="1618335" cy="7593"/>
          </a:xfrm>
          <a:prstGeom prst="line">
            <a:avLst/>
          </a:prstGeom>
          <a:noFill/>
          <a:ln w="25400">
            <a:solidFill>
              <a:schemeClr val="accent5"/>
            </a:solidFill>
            <a:round/>
            <a:headEnd type="none" w="med" len="med"/>
            <a:tailEnd type="none" w="med" len="med"/>
          </a:ln>
        </p:spPr>
        <p:txBody>
          <a:bodyPr wrap="square" lIns="62308" tIns="29908" rIns="62308" bIns="29908">
            <a:noAutofit/>
          </a:bodyPr>
          <a:lstStyle/>
          <a:p>
            <a:endParaRPr lang="en-GB" sz="761" noProof="0" dirty="0">
              <a:ln>
                <a:solidFill>
                  <a:schemeClr val="tx1"/>
                </a:solidFill>
                <a:prstDash val="solid"/>
              </a:ln>
            </a:endParaRPr>
          </a:p>
        </p:txBody>
      </p:sp>
      <p:sp>
        <p:nvSpPr>
          <p:cNvPr id="51" name="Line 65">
            <a:extLst>
              <a:ext uri="{FF2B5EF4-FFF2-40B4-BE49-F238E27FC236}">
                <a16:creationId xmlns:a16="http://schemas.microsoft.com/office/drawing/2014/main" id="{7DB9EAD9-5D9C-40B6-984D-80695C8F3EC7}"/>
              </a:ext>
            </a:extLst>
          </p:cNvPr>
          <p:cNvSpPr>
            <a:spLocks noChangeShapeType="1"/>
          </p:cNvSpPr>
          <p:nvPr/>
        </p:nvSpPr>
        <p:spPr bwMode="auto">
          <a:xfrm>
            <a:off x="2700998" y="2345392"/>
            <a:ext cx="2004260" cy="1568"/>
          </a:xfrm>
          <a:prstGeom prst="line">
            <a:avLst/>
          </a:prstGeom>
          <a:noFill/>
          <a:ln w="25400">
            <a:solidFill>
              <a:schemeClr val="accent5"/>
            </a:solidFill>
            <a:round/>
            <a:headEnd type="none" w="med" len="med"/>
            <a:tailEnd type="none" w="med" len="med"/>
          </a:ln>
        </p:spPr>
        <p:txBody>
          <a:bodyPr wrap="square" lIns="62308" tIns="29908" rIns="62308" bIns="29908">
            <a:noAutofit/>
          </a:bodyPr>
          <a:lstStyle/>
          <a:p>
            <a:endParaRPr lang="en-GB" sz="761" noProof="0" dirty="0">
              <a:ln>
                <a:solidFill>
                  <a:schemeClr val="tx1"/>
                </a:solidFill>
                <a:prstDash val="solid"/>
              </a:ln>
            </a:endParaRPr>
          </a:p>
        </p:txBody>
      </p:sp>
      <p:sp>
        <p:nvSpPr>
          <p:cNvPr id="55" name="Chevron 17">
            <a:extLst>
              <a:ext uri="{FF2B5EF4-FFF2-40B4-BE49-F238E27FC236}">
                <a16:creationId xmlns:a16="http://schemas.microsoft.com/office/drawing/2014/main" id="{E51DBE83-75EF-FB48-8A58-8BF13CB54E97}"/>
              </a:ext>
            </a:extLst>
          </p:cNvPr>
          <p:cNvSpPr/>
          <p:nvPr/>
        </p:nvSpPr>
        <p:spPr>
          <a:xfrm>
            <a:off x="1997725" y="1165225"/>
            <a:ext cx="972000" cy="287220"/>
          </a:xfrm>
          <a:prstGeom prst="chevron">
            <a:avLst/>
          </a:prstGeom>
          <a:solidFill>
            <a:schemeClr val="accent1"/>
          </a:solidFill>
          <a:ln>
            <a:solidFill>
              <a:srgbClr val="009252"/>
            </a:solidFill>
          </a:ln>
        </p:spPr>
        <p:txBody>
          <a:bodyPr lIns="0" tIns="0" rIns="0" bIns="0" rtlCol="0" anchor="ctr">
            <a:noAutofit/>
          </a:bodyPr>
          <a:lstStyle/>
          <a:p>
            <a:pPr algn="ctr" defTabSz="247650">
              <a:spcBef>
                <a:spcPts val="225"/>
              </a:spcBef>
            </a:pPr>
            <a:r>
              <a:rPr lang="en-GB" sz="800" kern="0" noProof="0" dirty="0">
                <a:solidFill>
                  <a:schemeClr val="bg1"/>
                </a:solidFill>
                <a:latin typeface="Corbel" pitchFamily="34" charset="0"/>
              </a:rPr>
              <a:t>collection infrastructure</a:t>
            </a:r>
          </a:p>
        </p:txBody>
      </p:sp>
      <p:grpSp>
        <p:nvGrpSpPr>
          <p:cNvPr id="57" name="Gruppieren 56">
            <a:extLst>
              <a:ext uri="{FF2B5EF4-FFF2-40B4-BE49-F238E27FC236}">
                <a16:creationId xmlns:a16="http://schemas.microsoft.com/office/drawing/2014/main" id="{5457C486-D38A-E109-6EAB-B2B8BB50DA92}"/>
              </a:ext>
            </a:extLst>
          </p:cNvPr>
          <p:cNvGrpSpPr/>
          <p:nvPr/>
        </p:nvGrpSpPr>
        <p:grpSpPr>
          <a:xfrm>
            <a:off x="4802644" y="1152033"/>
            <a:ext cx="972000" cy="306621"/>
            <a:chOff x="4715161" y="1709463"/>
            <a:chExt cx="1053141" cy="408828"/>
          </a:xfrm>
          <a:solidFill>
            <a:schemeClr val="accent1"/>
          </a:solidFill>
        </p:grpSpPr>
        <p:sp>
          <p:nvSpPr>
            <p:cNvPr id="58" name="Chevron 95">
              <a:extLst>
                <a:ext uri="{FF2B5EF4-FFF2-40B4-BE49-F238E27FC236}">
                  <a16:creationId xmlns:a16="http://schemas.microsoft.com/office/drawing/2014/main" id="{887BFEE6-968B-1896-2385-60A1A1959957}"/>
                </a:ext>
              </a:extLst>
            </p:cNvPr>
            <p:cNvSpPr/>
            <p:nvPr/>
          </p:nvSpPr>
          <p:spPr>
            <a:xfrm>
              <a:off x="4715161" y="1732767"/>
              <a:ext cx="1053141" cy="382960"/>
            </a:xfrm>
            <a:prstGeom prst="chevron">
              <a:avLst/>
            </a:prstGeom>
            <a:grpFill/>
            <a:ln>
              <a:solidFill>
                <a:srgbClr val="009252"/>
              </a:solidFill>
            </a:ln>
          </p:spPr>
          <p:txBody>
            <a:bodyPr lIns="0" tIns="0" rIns="0" bIns="0" rtlCol="0" anchor="ctr">
              <a:noAutofit/>
            </a:bodyPr>
            <a:lstStyle/>
            <a:p>
              <a:pPr marL="207169" indent="-207169" algn="ctr" defTabSz="247650">
                <a:spcBef>
                  <a:spcPts val="225"/>
                </a:spcBef>
                <a:buFont typeface="Symbol" pitchFamily="18" charset="2"/>
                <a:buChar char="-"/>
              </a:pPr>
              <a:endParaRPr lang="en-GB" sz="1050" kern="0" noProof="0" dirty="0">
                <a:solidFill>
                  <a:schemeClr val="bg1"/>
                </a:solidFill>
                <a:latin typeface="Corbel" pitchFamily="34" charset="0"/>
              </a:endParaRPr>
            </a:p>
          </p:txBody>
        </p:sp>
        <p:sp>
          <p:nvSpPr>
            <p:cNvPr id="59" name="Text Box 16">
              <a:extLst>
                <a:ext uri="{FF2B5EF4-FFF2-40B4-BE49-F238E27FC236}">
                  <a16:creationId xmlns:a16="http://schemas.microsoft.com/office/drawing/2014/main" id="{EF09317C-F5E0-621B-9859-8BBF3012A156}"/>
                </a:ext>
              </a:extLst>
            </p:cNvPr>
            <p:cNvSpPr txBox="1">
              <a:spLocks noChangeArrowheads="1"/>
            </p:cNvSpPr>
            <p:nvPr/>
          </p:nvSpPr>
          <p:spPr bwMode="auto">
            <a:xfrm>
              <a:off x="4716267" y="1709463"/>
              <a:ext cx="1013249" cy="408828"/>
            </a:xfrm>
            <a:prstGeom prst="rect">
              <a:avLst/>
            </a:prstGeom>
            <a:noFill/>
            <a:ln w="12700">
              <a:noFill/>
              <a:miter lim="800000"/>
              <a:headEnd/>
              <a:tailEnd/>
            </a:ln>
          </p:spPr>
          <p:txBody>
            <a:bodyPr lIns="62308" tIns="29908" rIns="62308" bIns="29908" anchor="ctr">
              <a:spAutoFit/>
            </a:bodyPr>
            <a:lstStyle/>
            <a:p>
              <a:pPr algn="ctr">
                <a:spcBef>
                  <a:spcPct val="50000"/>
                </a:spcBef>
              </a:pPr>
              <a:r>
                <a:rPr lang="en-GB" sz="800" noProof="0" dirty="0">
                  <a:solidFill>
                    <a:schemeClr val="bg1"/>
                  </a:solidFill>
                </a:rPr>
                <a:t>transportation</a:t>
              </a:r>
              <a:br>
                <a:rPr lang="en-GB" sz="800" noProof="0" dirty="0">
                  <a:solidFill>
                    <a:schemeClr val="bg1"/>
                  </a:solidFill>
                </a:rPr>
              </a:br>
              <a:r>
                <a:rPr lang="en-GB" sz="800" noProof="0" dirty="0">
                  <a:solidFill>
                    <a:schemeClr val="bg1"/>
                  </a:solidFill>
                </a:rPr>
                <a:t>(optional)</a:t>
              </a:r>
            </a:p>
          </p:txBody>
        </p:sp>
      </p:grpSp>
      <p:grpSp>
        <p:nvGrpSpPr>
          <p:cNvPr id="60" name="Gruppieren 59">
            <a:extLst>
              <a:ext uri="{FF2B5EF4-FFF2-40B4-BE49-F238E27FC236}">
                <a16:creationId xmlns:a16="http://schemas.microsoft.com/office/drawing/2014/main" id="{C80833F2-3E5F-FA32-6A3A-C2356EEBFBCB}"/>
              </a:ext>
            </a:extLst>
          </p:cNvPr>
          <p:cNvGrpSpPr/>
          <p:nvPr/>
        </p:nvGrpSpPr>
        <p:grpSpPr>
          <a:xfrm>
            <a:off x="5737617" y="1149393"/>
            <a:ext cx="972000" cy="306621"/>
            <a:chOff x="5851685" y="1698505"/>
            <a:chExt cx="1053141" cy="408828"/>
          </a:xfrm>
          <a:solidFill>
            <a:schemeClr val="accent1"/>
          </a:solidFill>
        </p:grpSpPr>
        <p:sp>
          <p:nvSpPr>
            <p:cNvPr id="61" name="Chevron 101">
              <a:extLst>
                <a:ext uri="{FF2B5EF4-FFF2-40B4-BE49-F238E27FC236}">
                  <a16:creationId xmlns:a16="http://schemas.microsoft.com/office/drawing/2014/main" id="{4FA8FF96-3D23-C873-2B64-D1FB4F8D44A7}"/>
                </a:ext>
              </a:extLst>
            </p:cNvPr>
            <p:cNvSpPr/>
            <p:nvPr/>
          </p:nvSpPr>
          <p:spPr>
            <a:xfrm>
              <a:off x="5851685" y="1719615"/>
              <a:ext cx="1053141" cy="382960"/>
            </a:xfrm>
            <a:prstGeom prst="chevron">
              <a:avLst/>
            </a:prstGeom>
            <a:grpFill/>
            <a:ln>
              <a:solidFill>
                <a:srgbClr val="009252"/>
              </a:solidFill>
            </a:ln>
          </p:spPr>
          <p:txBody>
            <a:bodyPr lIns="0" tIns="0" rIns="0" bIns="0" rtlCol="0" anchor="ctr">
              <a:noAutofit/>
            </a:bodyPr>
            <a:lstStyle/>
            <a:p>
              <a:pPr marL="207169" indent="-207169" algn="ctr" defTabSz="247650">
                <a:spcBef>
                  <a:spcPts val="225"/>
                </a:spcBef>
                <a:buFont typeface="Symbol" pitchFamily="18" charset="2"/>
                <a:buChar char="-"/>
              </a:pPr>
              <a:endParaRPr lang="en-GB" sz="1050" kern="0" noProof="0" dirty="0">
                <a:solidFill>
                  <a:schemeClr val="bg1"/>
                </a:solidFill>
                <a:latin typeface="Corbel" pitchFamily="34" charset="0"/>
              </a:endParaRPr>
            </a:p>
          </p:txBody>
        </p:sp>
        <p:sp>
          <p:nvSpPr>
            <p:cNvPr id="62" name="Text Box 17">
              <a:extLst>
                <a:ext uri="{FF2B5EF4-FFF2-40B4-BE49-F238E27FC236}">
                  <a16:creationId xmlns:a16="http://schemas.microsoft.com/office/drawing/2014/main" id="{31C8A25B-05A7-34E3-D7A9-52E868372C8E}"/>
                </a:ext>
              </a:extLst>
            </p:cNvPr>
            <p:cNvSpPr txBox="1">
              <a:spLocks noChangeArrowheads="1"/>
            </p:cNvSpPr>
            <p:nvPr/>
          </p:nvSpPr>
          <p:spPr bwMode="auto">
            <a:xfrm>
              <a:off x="5875548" y="1698505"/>
              <a:ext cx="1013249" cy="408828"/>
            </a:xfrm>
            <a:prstGeom prst="rect">
              <a:avLst/>
            </a:prstGeom>
            <a:noFill/>
            <a:ln w="12700">
              <a:noFill/>
              <a:miter lim="800000"/>
              <a:headEnd/>
              <a:tailEnd/>
            </a:ln>
          </p:spPr>
          <p:txBody>
            <a:bodyPr lIns="62308" tIns="29908" rIns="62308" bIns="29908" anchor="ctr">
              <a:spAutoFit/>
            </a:bodyPr>
            <a:lstStyle/>
            <a:p>
              <a:pPr algn="ctr">
                <a:spcBef>
                  <a:spcPct val="50000"/>
                </a:spcBef>
              </a:pPr>
              <a:r>
                <a:rPr lang="en-GB" sz="800" kern="0" dirty="0">
                  <a:solidFill>
                    <a:schemeClr val="bg1"/>
                  </a:solidFill>
                  <a:latin typeface="Corbel" pitchFamily="34" charset="0"/>
                </a:rPr>
                <a:t>storage </a:t>
              </a:r>
              <a:br>
                <a:rPr lang="en-GB" sz="800" kern="0" dirty="0">
                  <a:solidFill>
                    <a:schemeClr val="bg1"/>
                  </a:solidFill>
                  <a:latin typeface="Corbel" pitchFamily="34" charset="0"/>
                </a:rPr>
              </a:br>
              <a:r>
                <a:rPr lang="en-GB" sz="800" kern="0" dirty="0">
                  <a:solidFill>
                    <a:schemeClr val="bg1"/>
                  </a:solidFill>
                  <a:latin typeface="Corbel" pitchFamily="34" charset="0"/>
                </a:rPr>
                <a:t>(optional)</a:t>
              </a:r>
            </a:p>
          </p:txBody>
        </p:sp>
      </p:grpSp>
      <p:grpSp>
        <p:nvGrpSpPr>
          <p:cNvPr id="63" name="Gruppieren 62">
            <a:extLst>
              <a:ext uri="{FF2B5EF4-FFF2-40B4-BE49-F238E27FC236}">
                <a16:creationId xmlns:a16="http://schemas.microsoft.com/office/drawing/2014/main" id="{A05820A6-FEDE-FA22-6A04-6363E7AD0592}"/>
              </a:ext>
            </a:extLst>
          </p:cNvPr>
          <p:cNvGrpSpPr/>
          <p:nvPr/>
        </p:nvGrpSpPr>
        <p:grpSpPr>
          <a:xfrm>
            <a:off x="6672590" y="1165225"/>
            <a:ext cx="972000" cy="287220"/>
            <a:chOff x="6988209" y="1719615"/>
            <a:chExt cx="1053141" cy="382960"/>
          </a:xfrm>
          <a:solidFill>
            <a:schemeClr val="accent1"/>
          </a:solidFill>
        </p:grpSpPr>
        <p:sp>
          <p:nvSpPr>
            <p:cNvPr id="64" name="Chevron 102">
              <a:extLst>
                <a:ext uri="{FF2B5EF4-FFF2-40B4-BE49-F238E27FC236}">
                  <a16:creationId xmlns:a16="http://schemas.microsoft.com/office/drawing/2014/main" id="{3C030D37-26EF-CAFD-1B43-B1FFB23FBAC3}"/>
                </a:ext>
              </a:extLst>
            </p:cNvPr>
            <p:cNvSpPr/>
            <p:nvPr/>
          </p:nvSpPr>
          <p:spPr>
            <a:xfrm>
              <a:off x="6988209" y="1719615"/>
              <a:ext cx="1053141" cy="382960"/>
            </a:xfrm>
            <a:prstGeom prst="chevron">
              <a:avLst/>
            </a:prstGeom>
            <a:grpFill/>
            <a:ln>
              <a:noFill/>
            </a:ln>
          </p:spPr>
          <p:txBody>
            <a:bodyPr lIns="0" tIns="0" rIns="0" bIns="0" rtlCol="0" anchor="ctr">
              <a:noAutofit/>
            </a:bodyPr>
            <a:lstStyle/>
            <a:p>
              <a:pPr marL="207169" indent="-207169" algn="ctr" defTabSz="247650">
                <a:spcBef>
                  <a:spcPts val="225"/>
                </a:spcBef>
                <a:buFont typeface="Symbol" pitchFamily="18" charset="2"/>
                <a:buChar char="-"/>
              </a:pPr>
              <a:endParaRPr lang="en-GB" sz="1050" kern="0" noProof="0" dirty="0">
                <a:solidFill>
                  <a:schemeClr val="bg1"/>
                </a:solidFill>
                <a:latin typeface="Corbel" pitchFamily="34" charset="0"/>
              </a:endParaRPr>
            </a:p>
          </p:txBody>
        </p:sp>
        <p:sp>
          <p:nvSpPr>
            <p:cNvPr id="65" name="Text Box 19">
              <a:extLst>
                <a:ext uri="{FF2B5EF4-FFF2-40B4-BE49-F238E27FC236}">
                  <a16:creationId xmlns:a16="http://schemas.microsoft.com/office/drawing/2014/main" id="{C770B844-64AD-9C5A-6DFD-7D2B9EC1F9C8}"/>
                </a:ext>
              </a:extLst>
            </p:cNvPr>
            <p:cNvSpPr txBox="1">
              <a:spLocks noChangeArrowheads="1"/>
            </p:cNvSpPr>
            <p:nvPr/>
          </p:nvSpPr>
          <p:spPr bwMode="auto">
            <a:xfrm>
              <a:off x="7075881" y="1780576"/>
              <a:ext cx="945699" cy="244681"/>
            </a:xfrm>
            <a:prstGeom prst="rect">
              <a:avLst/>
            </a:prstGeom>
            <a:noFill/>
            <a:ln w="12700">
              <a:noFill/>
              <a:miter lim="800000"/>
              <a:headEnd/>
              <a:tailEnd/>
            </a:ln>
          </p:spPr>
          <p:txBody>
            <a:bodyPr lIns="62308" tIns="29908" rIns="62308" bIns="29908" anchor="ctr">
              <a:spAutoFit/>
            </a:bodyPr>
            <a:lstStyle/>
            <a:p>
              <a:pPr algn="ctr">
                <a:spcBef>
                  <a:spcPct val="50000"/>
                </a:spcBef>
              </a:pPr>
              <a:r>
                <a:rPr lang="en-GB" sz="800" noProof="0" dirty="0">
                  <a:solidFill>
                    <a:schemeClr val="bg1"/>
                  </a:solidFill>
                </a:rPr>
                <a:t>transportation</a:t>
              </a:r>
              <a:endParaRPr lang="en-GB" sz="800" b="1" noProof="0" dirty="0">
                <a:solidFill>
                  <a:schemeClr val="bg1"/>
                </a:solidFill>
              </a:endParaRPr>
            </a:p>
          </p:txBody>
        </p:sp>
      </p:grpSp>
      <p:grpSp>
        <p:nvGrpSpPr>
          <p:cNvPr id="66" name="Gruppieren 65">
            <a:extLst>
              <a:ext uri="{FF2B5EF4-FFF2-40B4-BE49-F238E27FC236}">
                <a16:creationId xmlns:a16="http://schemas.microsoft.com/office/drawing/2014/main" id="{136073B1-645D-D168-4567-1F7BBFD208CD}"/>
              </a:ext>
            </a:extLst>
          </p:cNvPr>
          <p:cNvGrpSpPr/>
          <p:nvPr/>
        </p:nvGrpSpPr>
        <p:grpSpPr>
          <a:xfrm>
            <a:off x="2932697" y="1165450"/>
            <a:ext cx="972000" cy="287220"/>
            <a:chOff x="3578636" y="1719615"/>
            <a:chExt cx="1088205" cy="382960"/>
          </a:xfrm>
          <a:solidFill>
            <a:schemeClr val="accent1"/>
          </a:solidFill>
        </p:grpSpPr>
        <p:sp>
          <p:nvSpPr>
            <p:cNvPr id="67" name="Chevron 94">
              <a:extLst>
                <a:ext uri="{FF2B5EF4-FFF2-40B4-BE49-F238E27FC236}">
                  <a16:creationId xmlns:a16="http://schemas.microsoft.com/office/drawing/2014/main" id="{49539371-4398-7AE0-529C-9E75932E6EAD}"/>
                </a:ext>
              </a:extLst>
            </p:cNvPr>
            <p:cNvSpPr/>
            <p:nvPr/>
          </p:nvSpPr>
          <p:spPr>
            <a:xfrm>
              <a:off x="3578636" y="1719615"/>
              <a:ext cx="1053141" cy="382960"/>
            </a:xfrm>
            <a:prstGeom prst="chevron">
              <a:avLst/>
            </a:prstGeom>
            <a:solidFill>
              <a:schemeClr val="accent1"/>
            </a:solidFill>
            <a:ln>
              <a:solidFill>
                <a:srgbClr val="009252"/>
              </a:solidFill>
            </a:ln>
          </p:spPr>
          <p:txBody>
            <a:bodyPr lIns="0" tIns="0" rIns="0" bIns="0" rtlCol="0" anchor="ctr">
              <a:noAutofit/>
            </a:bodyPr>
            <a:lstStyle/>
            <a:p>
              <a:pPr marL="207169" indent="-207169" algn="ctr" defTabSz="247650">
                <a:spcBef>
                  <a:spcPts val="225"/>
                </a:spcBef>
                <a:buFont typeface="Symbol" pitchFamily="18" charset="2"/>
                <a:buChar char="-"/>
              </a:pPr>
              <a:endParaRPr lang="en-GB" sz="1050" kern="0" noProof="0" dirty="0">
                <a:solidFill>
                  <a:schemeClr val="bg1"/>
                </a:solidFill>
                <a:latin typeface="Corbel" pitchFamily="34" charset="0"/>
              </a:endParaRPr>
            </a:p>
          </p:txBody>
        </p:sp>
        <p:sp>
          <p:nvSpPr>
            <p:cNvPr id="68" name="Text Box 15">
              <a:extLst>
                <a:ext uri="{FF2B5EF4-FFF2-40B4-BE49-F238E27FC236}">
                  <a16:creationId xmlns:a16="http://schemas.microsoft.com/office/drawing/2014/main" id="{C5EBE87E-D2BB-B6B4-F925-D666868F63B7}"/>
                </a:ext>
              </a:extLst>
            </p:cNvPr>
            <p:cNvSpPr txBox="1">
              <a:spLocks noChangeArrowheads="1"/>
            </p:cNvSpPr>
            <p:nvPr/>
          </p:nvSpPr>
          <p:spPr bwMode="auto">
            <a:xfrm>
              <a:off x="3653592" y="1780579"/>
              <a:ext cx="1013249" cy="244681"/>
            </a:xfrm>
            <a:prstGeom prst="rect">
              <a:avLst/>
            </a:prstGeom>
            <a:noFill/>
            <a:ln w="12700">
              <a:noFill/>
              <a:miter lim="800000"/>
              <a:headEnd/>
              <a:tailEnd/>
            </a:ln>
          </p:spPr>
          <p:txBody>
            <a:bodyPr lIns="62308" tIns="29908" rIns="62308" bIns="29908" anchor="ctr">
              <a:spAutoFit/>
            </a:bodyPr>
            <a:lstStyle/>
            <a:p>
              <a:pPr algn="ctr">
                <a:spcBef>
                  <a:spcPct val="50000"/>
                </a:spcBef>
              </a:pPr>
              <a:r>
                <a:rPr lang="en-GB" sz="800" kern="0" dirty="0">
                  <a:solidFill>
                    <a:schemeClr val="bg1"/>
                  </a:solidFill>
                  <a:latin typeface="Corbel" pitchFamily="34" charset="0"/>
                </a:rPr>
                <a:t>collection</a:t>
              </a:r>
            </a:p>
          </p:txBody>
        </p:sp>
      </p:grpSp>
      <p:grpSp>
        <p:nvGrpSpPr>
          <p:cNvPr id="69" name="Gruppieren 68">
            <a:extLst>
              <a:ext uri="{FF2B5EF4-FFF2-40B4-BE49-F238E27FC236}">
                <a16:creationId xmlns:a16="http://schemas.microsoft.com/office/drawing/2014/main" id="{8742BB1A-D173-1FFE-2C16-06E1EE7629E0}"/>
              </a:ext>
            </a:extLst>
          </p:cNvPr>
          <p:cNvGrpSpPr/>
          <p:nvPr/>
        </p:nvGrpSpPr>
        <p:grpSpPr>
          <a:xfrm>
            <a:off x="7607562" y="1176188"/>
            <a:ext cx="972000" cy="287220"/>
            <a:chOff x="8127149" y="1721932"/>
            <a:chExt cx="1053141" cy="382960"/>
          </a:xfrm>
          <a:solidFill>
            <a:schemeClr val="accent1"/>
          </a:solidFill>
        </p:grpSpPr>
        <p:sp>
          <p:nvSpPr>
            <p:cNvPr id="70" name="Chevron 102">
              <a:extLst>
                <a:ext uri="{FF2B5EF4-FFF2-40B4-BE49-F238E27FC236}">
                  <a16:creationId xmlns:a16="http://schemas.microsoft.com/office/drawing/2014/main" id="{8BC3999C-E057-F16D-0399-08D6A9608273}"/>
                </a:ext>
              </a:extLst>
            </p:cNvPr>
            <p:cNvSpPr/>
            <p:nvPr/>
          </p:nvSpPr>
          <p:spPr>
            <a:xfrm>
              <a:off x="8127149" y="1721932"/>
              <a:ext cx="1053141" cy="382960"/>
            </a:xfrm>
            <a:prstGeom prst="chevron">
              <a:avLst/>
            </a:prstGeom>
            <a:grpFill/>
            <a:ln>
              <a:noFill/>
            </a:ln>
          </p:spPr>
          <p:txBody>
            <a:bodyPr lIns="0" tIns="0" rIns="0" bIns="0" rtlCol="0" anchor="ctr">
              <a:noAutofit/>
            </a:bodyPr>
            <a:lstStyle/>
            <a:p>
              <a:pPr algn="ctr" defTabSz="247650">
                <a:spcBef>
                  <a:spcPts val="225"/>
                </a:spcBef>
              </a:pPr>
              <a:endParaRPr lang="en-GB" sz="675" noProof="0" dirty="0">
                <a:solidFill>
                  <a:schemeClr val="bg1"/>
                </a:solidFill>
              </a:endParaRPr>
            </a:p>
          </p:txBody>
        </p:sp>
        <p:sp>
          <p:nvSpPr>
            <p:cNvPr id="71" name="Text Box 19">
              <a:extLst>
                <a:ext uri="{FF2B5EF4-FFF2-40B4-BE49-F238E27FC236}">
                  <a16:creationId xmlns:a16="http://schemas.microsoft.com/office/drawing/2014/main" id="{CA7B19AF-B02A-6BDF-5B07-466F450F6BA1}"/>
                </a:ext>
              </a:extLst>
            </p:cNvPr>
            <p:cNvSpPr txBox="1">
              <a:spLocks noChangeArrowheads="1"/>
            </p:cNvSpPr>
            <p:nvPr/>
          </p:nvSpPr>
          <p:spPr bwMode="auto">
            <a:xfrm>
              <a:off x="8220609" y="1788756"/>
              <a:ext cx="945699" cy="244681"/>
            </a:xfrm>
            <a:prstGeom prst="rect">
              <a:avLst/>
            </a:prstGeom>
            <a:noFill/>
            <a:ln w="12700">
              <a:noFill/>
              <a:miter lim="800000"/>
              <a:headEnd/>
              <a:tailEnd/>
            </a:ln>
          </p:spPr>
          <p:txBody>
            <a:bodyPr lIns="62308" tIns="29908" rIns="62308" bIns="29908" anchor="ctr">
              <a:spAutoFit/>
            </a:bodyPr>
            <a:lstStyle/>
            <a:p>
              <a:pPr algn="ctr">
                <a:spcBef>
                  <a:spcPct val="50000"/>
                </a:spcBef>
              </a:pPr>
              <a:r>
                <a:rPr lang="en-GB" sz="800" kern="0" dirty="0">
                  <a:solidFill>
                    <a:schemeClr val="bg1"/>
                  </a:solidFill>
                  <a:latin typeface="Corbel" pitchFamily="34" charset="0"/>
                </a:rPr>
                <a:t>recycling</a:t>
              </a:r>
            </a:p>
          </p:txBody>
        </p:sp>
      </p:grpSp>
      <p:sp>
        <p:nvSpPr>
          <p:cNvPr id="7" name="Rechteck 6">
            <a:extLst>
              <a:ext uri="{FF2B5EF4-FFF2-40B4-BE49-F238E27FC236}">
                <a16:creationId xmlns:a16="http://schemas.microsoft.com/office/drawing/2014/main" id="{F40800BB-E671-B197-C596-26346582A396}"/>
              </a:ext>
            </a:extLst>
          </p:cNvPr>
          <p:cNvSpPr/>
          <p:nvPr/>
        </p:nvSpPr>
        <p:spPr>
          <a:xfrm>
            <a:off x="3246121" y="2125322"/>
            <a:ext cx="459000" cy="459000"/>
          </a:xfrm>
          <a:prstGeom prst="rect">
            <a:avLst/>
          </a:prstGeom>
          <a:noFill/>
          <a:ln>
            <a:noFill/>
          </a:ln>
        </p:spPr>
        <p:txBody>
          <a:bodyPr lIns="0" tIns="0" rIns="0" bIns="0" rtlCol="0" anchor="ctr">
            <a:noAutofit/>
          </a:bodyPr>
          <a:lstStyle/>
          <a:p>
            <a:pPr marL="207169" indent="-207169" algn="ctr" defTabSz="247650">
              <a:spcBef>
                <a:spcPts val="225"/>
              </a:spcBef>
              <a:buFont typeface="Symbol" pitchFamily="18" charset="2"/>
              <a:buChar char="-"/>
            </a:pPr>
            <a:endParaRPr lang="en-GB" sz="1350" kern="0" noProof="0" dirty="0">
              <a:solidFill>
                <a:srgbClr val="41474C"/>
              </a:solidFill>
              <a:latin typeface="Corbel" pitchFamily="34" charset="0"/>
            </a:endParaRPr>
          </a:p>
        </p:txBody>
      </p:sp>
      <p:sp>
        <p:nvSpPr>
          <p:cNvPr id="76" name="Rechteck 75">
            <a:extLst>
              <a:ext uri="{FF2B5EF4-FFF2-40B4-BE49-F238E27FC236}">
                <a16:creationId xmlns:a16="http://schemas.microsoft.com/office/drawing/2014/main" id="{1D98D04E-7873-B7F4-7F85-A386349347E5}"/>
              </a:ext>
            </a:extLst>
          </p:cNvPr>
          <p:cNvSpPr/>
          <p:nvPr/>
        </p:nvSpPr>
        <p:spPr>
          <a:xfrm>
            <a:off x="3290400" y="3030305"/>
            <a:ext cx="432000" cy="304056"/>
          </a:xfrm>
          <a:prstGeom prst="rect">
            <a:avLst/>
          </a:prstGeom>
          <a:solidFill>
            <a:schemeClr val="accent3">
              <a:lumMod val="60000"/>
              <a:lumOff val="40000"/>
            </a:schemeClr>
          </a:solidFill>
          <a:ln>
            <a:noFill/>
          </a:ln>
        </p:spPr>
        <p:txBody>
          <a:bodyPr lIns="0" tIns="0" rIns="0" bIns="0" rtlCol="0" anchor="ctr">
            <a:noAutofit/>
          </a:bodyPr>
          <a:lstStyle/>
          <a:p>
            <a:pPr marL="207169" indent="-207169" algn="ctr" defTabSz="247650">
              <a:spcBef>
                <a:spcPts val="225"/>
              </a:spcBef>
              <a:buFont typeface="Symbol" pitchFamily="18" charset="2"/>
              <a:buChar char="-"/>
            </a:pPr>
            <a:endParaRPr lang="en-GB" sz="1350" kern="0" noProof="0" dirty="0">
              <a:solidFill>
                <a:srgbClr val="41474C"/>
              </a:solidFill>
              <a:latin typeface="Corbel" pitchFamily="34" charset="0"/>
            </a:endParaRPr>
          </a:p>
        </p:txBody>
      </p:sp>
      <p:sp>
        <p:nvSpPr>
          <p:cNvPr id="78" name="Line 64">
            <a:extLst>
              <a:ext uri="{FF2B5EF4-FFF2-40B4-BE49-F238E27FC236}">
                <a16:creationId xmlns:a16="http://schemas.microsoft.com/office/drawing/2014/main" id="{B78F5DF8-0007-3906-5050-AE8BD337E494}"/>
              </a:ext>
            </a:extLst>
          </p:cNvPr>
          <p:cNvSpPr>
            <a:spLocks noChangeShapeType="1"/>
          </p:cNvSpPr>
          <p:nvPr/>
        </p:nvSpPr>
        <p:spPr bwMode="auto">
          <a:xfrm>
            <a:off x="4325250" y="2433393"/>
            <a:ext cx="0" cy="796500"/>
          </a:xfrm>
          <a:prstGeom prst="line">
            <a:avLst/>
          </a:prstGeom>
          <a:noFill/>
          <a:ln w="25400">
            <a:solidFill>
              <a:schemeClr val="accent5"/>
            </a:solidFill>
            <a:round/>
            <a:headEnd type="triangle" w="med" len="med"/>
            <a:tailEnd type="none" w="med" len="med"/>
          </a:ln>
        </p:spPr>
        <p:txBody>
          <a:bodyPr wrap="none" lIns="62308" tIns="29908" rIns="62308" bIns="29908">
            <a:spAutoFit/>
          </a:bodyPr>
          <a:lstStyle/>
          <a:p>
            <a:endParaRPr lang="en-GB" sz="761" noProof="0" dirty="0"/>
          </a:p>
        </p:txBody>
      </p:sp>
      <p:sp>
        <p:nvSpPr>
          <p:cNvPr id="101" name="Line 65">
            <a:extLst>
              <a:ext uri="{FF2B5EF4-FFF2-40B4-BE49-F238E27FC236}">
                <a16:creationId xmlns:a16="http://schemas.microsoft.com/office/drawing/2014/main" id="{270DF2D7-D90D-DD40-13AD-012613A22194}"/>
              </a:ext>
            </a:extLst>
          </p:cNvPr>
          <p:cNvSpPr>
            <a:spLocks noChangeShapeType="1"/>
          </p:cNvSpPr>
          <p:nvPr/>
        </p:nvSpPr>
        <p:spPr bwMode="auto">
          <a:xfrm>
            <a:off x="7567004" y="2122213"/>
            <a:ext cx="270000" cy="0"/>
          </a:xfrm>
          <a:prstGeom prst="line">
            <a:avLst/>
          </a:prstGeom>
          <a:noFill/>
          <a:ln w="25400">
            <a:solidFill>
              <a:schemeClr val="accent5"/>
            </a:solidFill>
            <a:round/>
            <a:headEnd type="none" w="med" len="med"/>
            <a:tailEnd type="triangle" w="med" len="med"/>
          </a:ln>
        </p:spPr>
        <p:txBody>
          <a:bodyPr wrap="square" lIns="62308" tIns="29908" rIns="62308" bIns="29908">
            <a:noAutofit/>
          </a:bodyPr>
          <a:lstStyle/>
          <a:p>
            <a:endParaRPr lang="en-GB" sz="761" noProof="0" dirty="0">
              <a:ln>
                <a:solidFill>
                  <a:schemeClr val="tx1"/>
                </a:solidFill>
                <a:prstDash val="solid"/>
              </a:ln>
            </a:endParaRPr>
          </a:p>
        </p:txBody>
      </p:sp>
      <p:sp>
        <p:nvSpPr>
          <p:cNvPr id="104" name="TextBox 8">
            <a:extLst>
              <a:ext uri="{FF2B5EF4-FFF2-40B4-BE49-F238E27FC236}">
                <a16:creationId xmlns:a16="http://schemas.microsoft.com/office/drawing/2014/main" id="{CBAF5839-38FF-5A89-10AF-B54D49EBEEB9}"/>
              </a:ext>
            </a:extLst>
          </p:cNvPr>
          <p:cNvSpPr txBox="1"/>
          <p:nvPr/>
        </p:nvSpPr>
        <p:spPr>
          <a:xfrm rot="16200000">
            <a:off x="167375" y="2644869"/>
            <a:ext cx="1094460" cy="164732"/>
          </a:xfrm>
          <a:prstGeom prst="rect">
            <a:avLst/>
          </a:prstGeom>
          <a:noFill/>
        </p:spPr>
        <p:txBody>
          <a:bodyPr wrap="square" lIns="0" tIns="0" rIns="0" bIns="0" rtlCol="0">
            <a:noAutofit/>
          </a:bodyPr>
          <a:lstStyle/>
          <a:p>
            <a:pPr algn="ctr" defTabSz="247650">
              <a:spcBef>
                <a:spcPts val="225"/>
              </a:spcBef>
            </a:pPr>
            <a:r>
              <a:rPr lang="en-GB" sz="788" b="1" kern="0" noProof="0" dirty="0">
                <a:solidFill>
                  <a:schemeClr val="accent1"/>
                </a:solidFill>
                <a:latin typeface="Corbel" pitchFamily="34" charset="0"/>
              </a:rPr>
              <a:t>Household packaging</a:t>
            </a:r>
          </a:p>
          <a:p>
            <a:pPr algn="ctr" defTabSz="247650">
              <a:spcBef>
                <a:spcPts val="225"/>
              </a:spcBef>
            </a:pPr>
            <a:endParaRPr lang="en-GB" sz="788" b="1" kern="0" noProof="0" dirty="0">
              <a:solidFill>
                <a:schemeClr val="accent1"/>
              </a:solidFill>
              <a:latin typeface="Corbel" pitchFamily="34" charset="0"/>
            </a:endParaRPr>
          </a:p>
        </p:txBody>
      </p:sp>
      <p:sp>
        <p:nvSpPr>
          <p:cNvPr id="110" name="Text Box 70">
            <a:extLst>
              <a:ext uri="{FF2B5EF4-FFF2-40B4-BE49-F238E27FC236}">
                <a16:creationId xmlns:a16="http://schemas.microsoft.com/office/drawing/2014/main" id="{A4E4A169-A89D-CE59-4F7E-BF1DF0ADB4E9}"/>
              </a:ext>
            </a:extLst>
          </p:cNvPr>
          <p:cNvSpPr txBox="1">
            <a:spLocks noChangeArrowheads="1"/>
          </p:cNvSpPr>
          <p:nvPr/>
        </p:nvSpPr>
        <p:spPr bwMode="auto">
          <a:xfrm>
            <a:off x="1416114" y="2112400"/>
            <a:ext cx="1114568" cy="372024"/>
          </a:xfrm>
          <a:prstGeom prst="rect">
            <a:avLst/>
          </a:prstGeom>
          <a:noFill/>
          <a:ln w="12700">
            <a:noFill/>
            <a:miter lim="800000"/>
            <a:headEnd/>
            <a:tailEnd/>
          </a:ln>
        </p:spPr>
        <p:txBody>
          <a:bodyPr lIns="62308" tIns="29908" rIns="62308" bIns="29908">
            <a:spAutoFit/>
          </a:bodyPr>
          <a:lstStyle/>
          <a:p>
            <a:pPr defTabSz="685800" fontAlgn="base">
              <a:spcBef>
                <a:spcPct val="50000"/>
              </a:spcBef>
              <a:spcAft>
                <a:spcPct val="0"/>
              </a:spcAft>
              <a:buClr>
                <a:srgbClr val="41474C"/>
              </a:buClr>
            </a:pPr>
            <a:r>
              <a:rPr kumimoji="1" lang="en-GB" sz="675" noProof="0" dirty="0">
                <a:solidFill>
                  <a:srgbClr val="41474C"/>
                </a:solidFill>
                <a:latin typeface="Calibri" panose="020F0502020204030204" pitchFamily="34" charset="0"/>
                <a:cs typeface="Arial" charset="0"/>
              </a:rPr>
              <a:t>Bin collection from </a:t>
            </a:r>
            <a:br>
              <a:rPr kumimoji="1" lang="en-GB" sz="675" noProof="0" dirty="0">
                <a:solidFill>
                  <a:srgbClr val="41474C"/>
                </a:solidFill>
                <a:latin typeface="Calibri" panose="020F0502020204030204" pitchFamily="34" charset="0"/>
                <a:cs typeface="Arial" charset="0"/>
              </a:rPr>
            </a:br>
            <a:r>
              <a:rPr kumimoji="1" lang="en-GB" sz="675" noProof="0" dirty="0">
                <a:solidFill>
                  <a:srgbClr val="41474C"/>
                </a:solidFill>
                <a:latin typeface="Calibri" panose="020F0502020204030204" pitchFamily="34" charset="0"/>
                <a:cs typeface="Arial" charset="0"/>
              </a:rPr>
              <a:t>public collection </a:t>
            </a:r>
            <a:br>
              <a:rPr kumimoji="1" lang="en-GB" sz="675" noProof="0" dirty="0">
                <a:solidFill>
                  <a:srgbClr val="41474C"/>
                </a:solidFill>
                <a:latin typeface="Calibri" panose="020F0502020204030204" pitchFamily="34" charset="0"/>
                <a:cs typeface="Arial" charset="0"/>
              </a:rPr>
            </a:br>
            <a:r>
              <a:rPr kumimoji="1" lang="en-GB" sz="675" noProof="0" dirty="0">
                <a:solidFill>
                  <a:srgbClr val="41474C"/>
                </a:solidFill>
                <a:latin typeface="Calibri" panose="020F0502020204030204" pitchFamily="34" charset="0"/>
                <a:cs typeface="Arial" charset="0"/>
              </a:rPr>
              <a:t>points</a:t>
            </a:r>
          </a:p>
        </p:txBody>
      </p:sp>
      <p:sp>
        <p:nvSpPr>
          <p:cNvPr id="111" name="Text Box 74">
            <a:extLst>
              <a:ext uri="{FF2B5EF4-FFF2-40B4-BE49-F238E27FC236}">
                <a16:creationId xmlns:a16="http://schemas.microsoft.com/office/drawing/2014/main" id="{C615C86D-5C3D-7D59-C65C-26BD2361A7E9}"/>
              </a:ext>
            </a:extLst>
          </p:cNvPr>
          <p:cNvSpPr txBox="1">
            <a:spLocks noChangeArrowheads="1"/>
          </p:cNvSpPr>
          <p:nvPr/>
        </p:nvSpPr>
        <p:spPr bwMode="auto">
          <a:xfrm>
            <a:off x="1416114" y="2631195"/>
            <a:ext cx="1063913" cy="372024"/>
          </a:xfrm>
          <a:prstGeom prst="rect">
            <a:avLst/>
          </a:prstGeom>
          <a:noFill/>
          <a:ln w="12700">
            <a:noFill/>
            <a:miter lim="800000"/>
            <a:headEnd/>
            <a:tailEnd/>
          </a:ln>
        </p:spPr>
        <p:txBody>
          <a:bodyPr lIns="62308" tIns="29908" rIns="62308" bIns="29908">
            <a:spAutoFit/>
          </a:bodyPr>
          <a:lstStyle/>
          <a:p>
            <a:pPr defTabSz="685800" fontAlgn="base">
              <a:spcBef>
                <a:spcPct val="50000"/>
              </a:spcBef>
              <a:spcAft>
                <a:spcPct val="0"/>
              </a:spcAft>
              <a:buClr>
                <a:srgbClr val="41474C"/>
              </a:buClr>
            </a:pPr>
            <a:r>
              <a:rPr kumimoji="1" lang="en-GB" sz="675" noProof="0" dirty="0">
                <a:solidFill>
                  <a:srgbClr val="41474C"/>
                </a:solidFill>
                <a:latin typeface="Calibri" panose="020F0502020204030204" pitchFamily="34" charset="0"/>
                <a:cs typeface="Arial" charset="0"/>
              </a:rPr>
              <a:t>Bin collection </a:t>
            </a:r>
            <a:br>
              <a:rPr kumimoji="1" lang="en-GB" sz="675" noProof="0" dirty="0">
                <a:solidFill>
                  <a:srgbClr val="41474C"/>
                </a:solidFill>
                <a:latin typeface="Calibri" panose="020F0502020204030204" pitchFamily="34" charset="0"/>
                <a:cs typeface="Arial" charset="0"/>
              </a:rPr>
            </a:br>
            <a:r>
              <a:rPr kumimoji="1" lang="en-GB" sz="675" noProof="0" dirty="0">
                <a:solidFill>
                  <a:srgbClr val="41474C"/>
                </a:solidFill>
                <a:latin typeface="Calibri" panose="020F0502020204030204" pitchFamily="34" charset="0"/>
                <a:cs typeface="Arial" charset="0"/>
              </a:rPr>
              <a:t>from small </a:t>
            </a:r>
            <a:br>
              <a:rPr kumimoji="1" lang="en-GB" sz="675" noProof="0" dirty="0">
                <a:solidFill>
                  <a:srgbClr val="41474C"/>
                </a:solidFill>
                <a:latin typeface="Calibri" panose="020F0502020204030204" pitchFamily="34" charset="0"/>
                <a:cs typeface="Arial" charset="0"/>
              </a:rPr>
            </a:br>
            <a:r>
              <a:rPr kumimoji="1" lang="en-GB" sz="675" noProof="0" dirty="0">
                <a:solidFill>
                  <a:srgbClr val="41474C"/>
                </a:solidFill>
                <a:latin typeface="Calibri" panose="020F0502020204030204" pitchFamily="34" charset="0"/>
                <a:cs typeface="Arial" charset="0"/>
              </a:rPr>
              <a:t>businesses</a:t>
            </a:r>
          </a:p>
        </p:txBody>
      </p:sp>
      <p:grpSp>
        <p:nvGrpSpPr>
          <p:cNvPr id="113" name="Gruppieren 112">
            <a:extLst>
              <a:ext uri="{FF2B5EF4-FFF2-40B4-BE49-F238E27FC236}">
                <a16:creationId xmlns:a16="http://schemas.microsoft.com/office/drawing/2014/main" id="{1ADCE472-2D05-53F5-DC64-0AFB45BA6625}"/>
              </a:ext>
            </a:extLst>
          </p:cNvPr>
          <p:cNvGrpSpPr/>
          <p:nvPr/>
        </p:nvGrpSpPr>
        <p:grpSpPr>
          <a:xfrm>
            <a:off x="4246009" y="1675954"/>
            <a:ext cx="1186589" cy="745106"/>
            <a:chOff x="4861572" y="2223413"/>
            <a:chExt cx="1784713" cy="1120693"/>
          </a:xfrm>
        </p:grpSpPr>
        <p:sp>
          <p:nvSpPr>
            <p:cNvPr id="114" name="Line 36">
              <a:extLst>
                <a:ext uri="{FF2B5EF4-FFF2-40B4-BE49-F238E27FC236}">
                  <a16:creationId xmlns:a16="http://schemas.microsoft.com/office/drawing/2014/main" id="{E8F86CAF-844E-AF74-6BD8-EE332FAF9794}"/>
                </a:ext>
              </a:extLst>
            </p:cNvPr>
            <p:cNvSpPr>
              <a:spLocks noChangeShapeType="1"/>
            </p:cNvSpPr>
            <p:nvPr/>
          </p:nvSpPr>
          <p:spPr bwMode="auto">
            <a:xfrm rot="16200000" flipV="1">
              <a:off x="4674694" y="2842319"/>
              <a:ext cx="609150" cy="0"/>
            </a:xfrm>
            <a:prstGeom prst="line">
              <a:avLst/>
            </a:prstGeom>
            <a:noFill/>
            <a:ln w="22225">
              <a:solidFill>
                <a:schemeClr val="accent5"/>
              </a:solidFill>
              <a:round/>
              <a:headEnd type="none" w="med" len="med"/>
              <a:tailEnd type="none" w="med" len="med"/>
            </a:ln>
          </p:spPr>
          <p:txBody>
            <a:bodyPr lIns="62308" tIns="29908" rIns="62308" bIns="29908">
              <a:spAutoFit/>
            </a:bodyPr>
            <a:lstStyle/>
            <a:p>
              <a:endParaRPr lang="en-GB" sz="675" noProof="0" dirty="0"/>
            </a:p>
          </p:txBody>
        </p:sp>
        <p:sp>
          <p:nvSpPr>
            <p:cNvPr id="115" name="Text Box 50">
              <a:extLst>
                <a:ext uri="{FF2B5EF4-FFF2-40B4-BE49-F238E27FC236}">
                  <a16:creationId xmlns:a16="http://schemas.microsoft.com/office/drawing/2014/main" id="{84D22A1E-0619-19CF-EAA2-FC1AF5470788}"/>
                </a:ext>
              </a:extLst>
            </p:cNvPr>
            <p:cNvSpPr txBox="1">
              <a:spLocks noChangeArrowheads="1"/>
            </p:cNvSpPr>
            <p:nvPr/>
          </p:nvSpPr>
          <p:spPr bwMode="auto">
            <a:xfrm>
              <a:off x="5368356" y="2223413"/>
              <a:ext cx="1277929" cy="559551"/>
            </a:xfrm>
            <a:prstGeom prst="rect">
              <a:avLst/>
            </a:prstGeom>
            <a:noFill/>
            <a:ln w="12700">
              <a:noFill/>
              <a:miter lim="800000"/>
              <a:headEnd/>
              <a:tailEnd/>
            </a:ln>
          </p:spPr>
          <p:txBody>
            <a:bodyPr wrap="square" lIns="62308" tIns="29908" rIns="62308" bIns="29908">
              <a:spAutoFit/>
            </a:bodyPr>
            <a:lstStyle/>
            <a:p>
              <a:pPr algn="ctr" defTabSz="685800" fontAlgn="base">
                <a:spcBef>
                  <a:spcPct val="50000"/>
                </a:spcBef>
                <a:spcAft>
                  <a:spcPct val="0"/>
                </a:spcAft>
                <a:buClr>
                  <a:srgbClr val="41474C"/>
                </a:buClr>
              </a:pPr>
              <a:r>
                <a:rPr kumimoji="1" lang="en-GB" sz="675" i="1" noProof="0" dirty="0">
                  <a:solidFill>
                    <a:srgbClr val="009252"/>
                  </a:solidFill>
                  <a:latin typeface="Calibri" panose="020F0502020204030204" pitchFamily="34" charset="0"/>
                  <a:cs typeface="Arial" charset="0"/>
                </a:rPr>
                <a:t>Collected material </a:t>
              </a:r>
              <a:br>
                <a:rPr kumimoji="1" lang="en-GB" sz="675" i="1" noProof="0" dirty="0">
                  <a:solidFill>
                    <a:srgbClr val="009252"/>
                  </a:solidFill>
                  <a:latin typeface="Calibri" panose="020F0502020204030204" pitchFamily="34" charset="0"/>
                  <a:cs typeface="Arial" charset="0"/>
                </a:rPr>
              </a:br>
              <a:r>
                <a:rPr kumimoji="1" lang="en-GB" sz="675" i="1" noProof="0" dirty="0">
                  <a:solidFill>
                    <a:srgbClr val="009252"/>
                  </a:solidFill>
                  <a:latin typeface="Calibri" panose="020F0502020204030204" pitchFamily="34" charset="0"/>
                  <a:cs typeface="Arial" charset="0"/>
                </a:rPr>
                <a:t>to co-using household systems</a:t>
              </a:r>
            </a:p>
          </p:txBody>
        </p:sp>
        <p:sp>
          <p:nvSpPr>
            <p:cNvPr id="116" name="Line 36">
              <a:extLst>
                <a:ext uri="{FF2B5EF4-FFF2-40B4-BE49-F238E27FC236}">
                  <a16:creationId xmlns:a16="http://schemas.microsoft.com/office/drawing/2014/main" id="{5DC9BD83-BD1C-AC8F-8DEE-C883F20910FE}"/>
                </a:ext>
              </a:extLst>
            </p:cNvPr>
            <p:cNvSpPr>
              <a:spLocks noChangeShapeType="1"/>
            </p:cNvSpPr>
            <p:nvPr/>
          </p:nvSpPr>
          <p:spPr bwMode="auto">
            <a:xfrm flipV="1">
              <a:off x="4979280" y="2549850"/>
              <a:ext cx="446709" cy="0"/>
            </a:xfrm>
            <a:prstGeom prst="line">
              <a:avLst/>
            </a:prstGeom>
            <a:noFill/>
            <a:ln w="22225">
              <a:solidFill>
                <a:schemeClr val="accent5"/>
              </a:solidFill>
              <a:round/>
              <a:headEnd/>
              <a:tailEnd type="triangle" w="med" len="med"/>
            </a:ln>
          </p:spPr>
          <p:txBody>
            <a:bodyPr lIns="62308" tIns="29908" rIns="62308" bIns="29908">
              <a:spAutoFit/>
            </a:bodyPr>
            <a:lstStyle/>
            <a:p>
              <a:endParaRPr lang="en-GB" sz="675" noProof="0" dirty="0"/>
            </a:p>
          </p:txBody>
        </p:sp>
        <p:sp>
          <p:nvSpPr>
            <p:cNvPr id="117" name="Ellipse 116">
              <a:extLst>
                <a:ext uri="{FF2B5EF4-FFF2-40B4-BE49-F238E27FC236}">
                  <a16:creationId xmlns:a16="http://schemas.microsoft.com/office/drawing/2014/main" id="{FE260726-B836-F648-0AFE-2EC4884AFCE2}"/>
                </a:ext>
              </a:extLst>
            </p:cNvPr>
            <p:cNvSpPr/>
            <p:nvPr/>
          </p:nvSpPr>
          <p:spPr>
            <a:xfrm>
              <a:off x="4861572" y="3111427"/>
              <a:ext cx="230909" cy="232679"/>
            </a:xfrm>
            <a:prstGeom prst="ellipse">
              <a:avLst/>
            </a:prstGeom>
            <a:solidFill>
              <a:srgbClr val="009252"/>
            </a:solidFill>
            <a:ln>
              <a:solidFill>
                <a:schemeClr val="bg1"/>
              </a:solidFill>
            </a:ln>
          </p:spPr>
          <p:txBody>
            <a:bodyPr lIns="0" tIns="0" rIns="0" bIns="0" rtlCol="0" anchor="ctr">
              <a:noAutofit/>
            </a:bodyPr>
            <a:lstStyle/>
            <a:p>
              <a:pPr algn="ctr" defTabSz="247650">
                <a:spcBef>
                  <a:spcPts val="225"/>
                </a:spcBef>
              </a:pPr>
              <a:r>
                <a:rPr lang="en-GB" sz="600" kern="0" noProof="0" dirty="0">
                  <a:solidFill>
                    <a:schemeClr val="bg1"/>
                  </a:solidFill>
                  <a:latin typeface="Corbel" pitchFamily="34" charset="0"/>
                </a:rPr>
                <a:t>%</a:t>
              </a:r>
              <a:endParaRPr lang="en-GB" sz="825" kern="0" noProof="0" dirty="0">
                <a:solidFill>
                  <a:schemeClr val="bg1"/>
                </a:solidFill>
                <a:latin typeface="Corbel" pitchFamily="34" charset="0"/>
              </a:endParaRPr>
            </a:p>
          </p:txBody>
        </p:sp>
      </p:grpSp>
      <p:pic>
        <p:nvPicPr>
          <p:cNvPr id="31" name="Grafik 30">
            <a:extLst>
              <a:ext uri="{FF2B5EF4-FFF2-40B4-BE49-F238E27FC236}">
                <a16:creationId xmlns:a16="http://schemas.microsoft.com/office/drawing/2014/main" id="{85F62C56-BCC5-4336-5C8F-B6D94D915385}"/>
              </a:ext>
            </a:extLst>
          </p:cNvPr>
          <p:cNvPicPr>
            <a:picLocks noChangeAspect="1"/>
          </p:cNvPicPr>
          <p:nvPr/>
        </p:nvPicPr>
        <p:blipFill>
          <a:blip r:embed="rId2"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002769" y="3074546"/>
            <a:ext cx="270000" cy="270000"/>
          </a:xfrm>
          <a:prstGeom prst="rect">
            <a:avLst/>
          </a:prstGeom>
        </p:spPr>
      </p:pic>
      <p:grpSp>
        <p:nvGrpSpPr>
          <p:cNvPr id="129" name="Gruppieren 128">
            <a:extLst>
              <a:ext uri="{FF2B5EF4-FFF2-40B4-BE49-F238E27FC236}">
                <a16:creationId xmlns:a16="http://schemas.microsoft.com/office/drawing/2014/main" id="{25F156B3-3DBB-F206-B9CD-25DA7EC15C62}"/>
              </a:ext>
            </a:extLst>
          </p:cNvPr>
          <p:cNvGrpSpPr/>
          <p:nvPr/>
        </p:nvGrpSpPr>
        <p:grpSpPr>
          <a:xfrm>
            <a:off x="3867671" y="1168665"/>
            <a:ext cx="972000" cy="287220"/>
            <a:chOff x="3578636" y="1719615"/>
            <a:chExt cx="1088205" cy="382960"/>
          </a:xfrm>
          <a:solidFill>
            <a:schemeClr val="accent1"/>
          </a:solidFill>
        </p:grpSpPr>
        <p:sp>
          <p:nvSpPr>
            <p:cNvPr id="130" name="Chevron 94">
              <a:extLst>
                <a:ext uri="{FF2B5EF4-FFF2-40B4-BE49-F238E27FC236}">
                  <a16:creationId xmlns:a16="http://schemas.microsoft.com/office/drawing/2014/main" id="{464C6DE3-5166-EC40-5132-A5A1EFDDB224}"/>
                </a:ext>
              </a:extLst>
            </p:cNvPr>
            <p:cNvSpPr/>
            <p:nvPr/>
          </p:nvSpPr>
          <p:spPr>
            <a:xfrm>
              <a:off x="3578636" y="1719615"/>
              <a:ext cx="1053141" cy="382960"/>
            </a:xfrm>
            <a:prstGeom prst="chevron">
              <a:avLst/>
            </a:prstGeom>
            <a:solidFill>
              <a:schemeClr val="accent1"/>
            </a:solidFill>
            <a:ln>
              <a:solidFill>
                <a:srgbClr val="009252"/>
              </a:solidFill>
            </a:ln>
          </p:spPr>
          <p:txBody>
            <a:bodyPr lIns="0" tIns="0" rIns="0" bIns="0" rtlCol="0" anchor="ctr">
              <a:noAutofit/>
            </a:bodyPr>
            <a:lstStyle/>
            <a:p>
              <a:pPr marL="207169" indent="-207169" algn="ctr" defTabSz="247650">
                <a:spcBef>
                  <a:spcPts val="225"/>
                </a:spcBef>
                <a:buFont typeface="Symbol" pitchFamily="18" charset="2"/>
                <a:buChar char="-"/>
              </a:pPr>
              <a:endParaRPr lang="en-GB" sz="1050" kern="0" noProof="0" dirty="0">
                <a:solidFill>
                  <a:schemeClr val="bg1"/>
                </a:solidFill>
                <a:latin typeface="Corbel" pitchFamily="34" charset="0"/>
              </a:endParaRPr>
            </a:p>
          </p:txBody>
        </p:sp>
        <p:sp>
          <p:nvSpPr>
            <p:cNvPr id="131" name="Text Box 15">
              <a:extLst>
                <a:ext uri="{FF2B5EF4-FFF2-40B4-BE49-F238E27FC236}">
                  <a16:creationId xmlns:a16="http://schemas.microsoft.com/office/drawing/2014/main" id="{CA0EFCFD-AFE7-8FC6-942D-BBBC58543875}"/>
                </a:ext>
              </a:extLst>
            </p:cNvPr>
            <p:cNvSpPr txBox="1">
              <a:spLocks noChangeArrowheads="1"/>
            </p:cNvSpPr>
            <p:nvPr/>
          </p:nvSpPr>
          <p:spPr bwMode="auto">
            <a:xfrm>
              <a:off x="3653592" y="1780577"/>
              <a:ext cx="1013249" cy="244681"/>
            </a:xfrm>
            <a:prstGeom prst="rect">
              <a:avLst/>
            </a:prstGeom>
            <a:noFill/>
            <a:ln w="12700">
              <a:noFill/>
              <a:miter lim="800000"/>
              <a:headEnd/>
              <a:tailEnd/>
            </a:ln>
          </p:spPr>
          <p:txBody>
            <a:bodyPr lIns="62308" tIns="29908" rIns="62308" bIns="29908" anchor="ctr">
              <a:spAutoFit/>
            </a:bodyPr>
            <a:lstStyle/>
            <a:p>
              <a:pPr algn="ctr">
                <a:spcBef>
                  <a:spcPct val="50000"/>
                </a:spcBef>
              </a:pPr>
              <a:r>
                <a:rPr lang="en-GB" sz="800" kern="0" dirty="0">
                  <a:solidFill>
                    <a:schemeClr val="bg1"/>
                  </a:solidFill>
                  <a:latin typeface="Corbel" pitchFamily="34" charset="0"/>
                </a:rPr>
                <a:t>transfer</a:t>
              </a:r>
            </a:p>
          </p:txBody>
        </p:sp>
      </p:grpSp>
      <p:grpSp>
        <p:nvGrpSpPr>
          <p:cNvPr id="145" name="Grafik 30">
            <a:extLst>
              <a:ext uri="{FF2B5EF4-FFF2-40B4-BE49-F238E27FC236}">
                <a16:creationId xmlns:a16="http://schemas.microsoft.com/office/drawing/2014/main" id="{11800821-9DFF-A0D5-827C-812EA9D8D8BE}"/>
              </a:ext>
            </a:extLst>
          </p:cNvPr>
          <p:cNvGrpSpPr/>
          <p:nvPr/>
        </p:nvGrpSpPr>
        <p:grpSpPr>
          <a:xfrm>
            <a:off x="3321130" y="3086113"/>
            <a:ext cx="367234" cy="223936"/>
            <a:chOff x="3744051" y="3270351"/>
            <a:chExt cx="539124" cy="328753"/>
          </a:xfrm>
          <a:solidFill>
            <a:schemeClr val="accent1"/>
          </a:solidFill>
        </p:grpSpPr>
        <p:grpSp>
          <p:nvGrpSpPr>
            <p:cNvPr id="146" name="Grafik 30">
              <a:extLst>
                <a:ext uri="{FF2B5EF4-FFF2-40B4-BE49-F238E27FC236}">
                  <a16:creationId xmlns:a16="http://schemas.microsoft.com/office/drawing/2014/main" id="{1BFF8BDE-F1CB-60B8-4370-3A4FDB68C1E8}"/>
                </a:ext>
              </a:extLst>
            </p:cNvPr>
            <p:cNvGrpSpPr/>
            <p:nvPr/>
          </p:nvGrpSpPr>
          <p:grpSpPr>
            <a:xfrm>
              <a:off x="3744051" y="3270351"/>
              <a:ext cx="539124" cy="328753"/>
              <a:chOff x="3744051" y="3270351"/>
              <a:chExt cx="539124" cy="328753"/>
            </a:xfrm>
            <a:grpFill/>
          </p:grpSpPr>
          <p:grpSp>
            <p:nvGrpSpPr>
              <p:cNvPr id="147" name="Grafik 30">
                <a:extLst>
                  <a:ext uri="{FF2B5EF4-FFF2-40B4-BE49-F238E27FC236}">
                    <a16:creationId xmlns:a16="http://schemas.microsoft.com/office/drawing/2014/main" id="{E8C03C84-9965-9BE6-B7D2-F4BB0D5CD926}"/>
                  </a:ext>
                </a:extLst>
              </p:cNvPr>
              <p:cNvGrpSpPr/>
              <p:nvPr/>
            </p:nvGrpSpPr>
            <p:grpSpPr>
              <a:xfrm>
                <a:off x="3744051" y="3270351"/>
                <a:ext cx="539124" cy="328753"/>
                <a:chOff x="3744051" y="3270351"/>
                <a:chExt cx="539124" cy="328753"/>
              </a:xfrm>
              <a:grpFill/>
            </p:grpSpPr>
            <p:sp>
              <p:nvSpPr>
                <p:cNvPr id="148" name="Freihandform: Form 147">
                  <a:extLst>
                    <a:ext uri="{FF2B5EF4-FFF2-40B4-BE49-F238E27FC236}">
                      <a16:creationId xmlns:a16="http://schemas.microsoft.com/office/drawing/2014/main" id="{2BB0AEAB-1C6B-E0B5-ADC6-01A06F7FAA88}"/>
                    </a:ext>
                  </a:extLst>
                </p:cNvPr>
                <p:cNvSpPr/>
                <p:nvPr/>
              </p:nvSpPr>
              <p:spPr>
                <a:xfrm>
                  <a:off x="4152929" y="3513541"/>
                  <a:ext cx="54380" cy="54380"/>
                </a:xfrm>
                <a:custGeom>
                  <a:avLst/>
                  <a:gdLst>
                    <a:gd name="connsiteX0" fmla="*/ 27190 w 54380"/>
                    <a:gd name="connsiteY0" fmla="*/ 0 h 54380"/>
                    <a:gd name="connsiteX1" fmla="*/ 0 w 54380"/>
                    <a:gd name="connsiteY1" fmla="*/ 27190 h 54380"/>
                    <a:gd name="connsiteX2" fmla="*/ 27190 w 54380"/>
                    <a:gd name="connsiteY2" fmla="*/ 54380 h 54380"/>
                    <a:gd name="connsiteX3" fmla="*/ 54380 w 54380"/>
                    <a:gd name="connsiteY3" fmla="*/ 27190 h 54380"/>
                    <a:gd name="connsiteX4" fmla="*/ 27190 w 54380"/>
                    <a:gd name="connsiteY4" fmla="*/ 0 h 54380"/>
                    <a:gd name="connsiteX5" fmla="*/ 27190 w 54380"/>
                    <a:gd name="connsiteY5" fmla="*/ 37268 h 54380"/>
                    <a:gd name="connsiteX6" fmla="*/ 17113 w 54380"/>
                    <a:gd name="connsiteY6" fmla="*/ 27190 h 54380"/>
                    <a:gd name="connsiteX7" fmla="*/ 27190 w 54380"/>
                    <a:gd name="connsiteY7" fmla="*/ 17113 h 54380"/>
                    <a:gd name="connsiteX8" fmla="*/ 37268 w 54380"/>
                    <a:gd name="connsiteY8" fmla="*/ 27190 h 54380"/>
                    <a:gd name="connsiteX9" fmla="*/ 27190 w 54380"/>
                    <a:gd name="connsiteY9" fmla="*/ 37268 h 54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380" h="54380">
                      <a:moveTo>
                        <a:pt x="27190" y="0"/>
                      </a:moveTo>
                      <a:cubicBezTo>
                        <a:pt x="12169" y="0"/>
                        <a:pt x="0" y="12169"/>
                        <a:pt x="0" y="27190"/>
                      </a:cubicBezTo>
                      <a:cubicBezTo>
                        <a:pt x="0" y="42211"/>
                        <a:pt x="12169" y="54380"/>
                        <a:pt x="27190" y="54380"/>
                      </a:cubicBezTo>
                      <a:cubicBezTo>
                        <a:pt x="42211" y="54380"/>
                        <a:pt x="54380" y="42211"/>
                        <a:pt x="54380" y="27190"/>
                      </a:cubicBezTo>
                      <a:cubicBezTo>
                        <a:pt x="54380" y="12169"/>
                        <a:pt x="42211" y="0"/>
                        <a:pt x="27190" y="0"/>
                      </a:cubicBezTo>
                      <a:close/>
                      <a:moveTo>
                        <a:pt x="27190" y="37268"/>
                      </a:moveTo>
                      <a:cubicBezTo>
                        <a:pt x="21676" y="37268"/>
                        <a:pt x="17113" y="32704"/>
                        <a:pt x="17113" y="27190"/>
                      </a:cubicBezTo>
                      <a:cubicBezTo>
                        <a:pt x="17113" y="21676"/>
                        <a:pt x="21676" y="17113"/>
                        <a:pt x="27190" y="17113"/>
                      </a:cubicBezTo>
                      <a:cubicBezTo>
                        <a:pt x="32704" y="17113"/>
                        <a:pt x="37268" y="21676"/>
                        <a:pt x="37268" y="27190"/>
                      </a:cubicBezTo>
                      <a:cubicBezTo>
                        <a:pt x="37268" y="32704"/>
                        <a:pt x="32704" y="37268"/>
                        <a:pt x="27190" y="37268"/>
                      </a:cubicBezTo>
                      <a:close/>
                    </a:path>
                  </a:pathLst>
                </a:custGeom>
                <a:grpFill/>
                <a:ln w="1878" cap="flat">
                  <a:noFill/>
                  <a:prstDash val="solid"/>
                  <a:miter/>
                </a:ln>
              </p:spPr>
              <p:txBody>
                <a:bodyPr rtlCol="0" anchor="ctr"/>
                <a:lstStyle/>
                <a:p>
                  <a:endParaRPr lang="en-GB" noProof="0" dirty="0"/>
                </a:p>
              </p:txBody>
            </p:sp>
            <p:sp>
              <p:nvSpPr>
                <p:cNvPr id="149" name="Freihandform: Form 148">
                  <a:extLst>
                    <a:ext uri="{FF2B5EF4-FFF2-40B4-BE49-F238E27FC236}">
                      <a16:creationId xmlns:a16="http://schemas.microsoft.com/office/drawing/2014/main" id="{36BFDA4A-75FC-A85C-338A-9FECF92E3A77}"/>
                    </a:ext>
                  </a:extLst>
                </p:cNvPr>
                <p:cNvSpPr/>
                <p:nvPr/>
              </p:nvSpPr>
              <p:spPr>
                <a:xfrm>
                  <a:off x="3850225" y="3513541"/>
                  <a:ext cx="54380" cy="54380"/>
                </a:xfrm>
                <a:custGeom>
                  <a:avLst/>
                  <a:gdLst>
                    <a:gd name="connsiteX0" fmla="*/ 27190 w 54380"/>
                    <a:gd name="connsiteY0" fmla="*/ 0 h 54380"/>
                    <a:gd name="connsiteX1" fmla="*/ 0 w 54380"/>
                    <a:gd name="connsiteY1" fmla="*/ 27190 h 54380"/>
                    <a:gd name="connsiteX2" fmla="*/ 27190 w 54380"/>
                    <a:gd name="connsiteY2" fmla="*/ 54380 h 54380"/>
                    <a:gd name="connsiteX3" fmla="*/ 54380 w 54380"/>
                    <a:gd name="connsiteY3" fmla="*/ 27190 h 54380"/>
                    <a:gd name="connsiteX4" fmla="*/ 27190 w 54380"/>
                    <a:gd name="connsiteY4" fmla="*/ 0 h 54380"/>
                    <a:gd name="connsiteX5" fmla="*/ 27190 w 54380"/>
                    <a:gd name="connsiteY5" fmla="*/ 37268 h 54380"/>
                    <a:gd name="connsiteX6" fmla="*/ 17113 w 54380"/>
                    <a:gd name="connsiteY6" fmla="*/ 27190 h 54380"/>
                    <a:gd name="connsiteX7" fmla="*/ 27190 w 54380"/>
                    <a:gd name="connsiteY7" fmla="*/ 17113 h 54380"/>
                    <a:gd name="connsiteX8" fmla="*/ 37268 w 54380"/>
                    <a:gd name="connsiteY8" fmla="*/ 27190 h 54380"/>
                    <a:gd name="connsiteX9" fmla="*/ 27190 w 54380"/>
                    <a:gd name="connsiteY9" fmla="*/ 37268 h 54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380" h="54380">
                      <a:moveTo>
                        <a:pt x="27190" y="0"/>
                      </a:moveTo>
                      <a:cubicBezTo>
                        <a:pt x="12169" y="0"/>
                        <a:pt x="0" y="12169"/>
                        <a:pt x="0" y="27190"/>
                      </a:cubicBezTo>
                      <a:cubicBezTo>
                        <a:pt x="0" y="42211"/>
                        <a:pt x="12169" y="54380"/>
                        <a:pt x="27190" y="54380"/>
                      </a:cubicBezTo>
                      <a:cubicBezTo>
                        <a:pt x="42211" y="54380"/>
                        <a:pt x="54380" y="42211"/>
                        <a:pt x="54380" y="27190"/>
                      </a:cubicBezTo>
                      <a:cubicBezTo>
                        <a:pt x="54380" y="12169"/>
                        <a:pt x="42211" y="0"/>
                        <a:pt x="27190" y="0"/>
                      </a:cubicBezTo>
                      <a:close/>
                      <a:moveTo>
                        <a:pt x="27190" y="37268"/>
                      </a:moveTo>
                      <a:cubicBezTo>
                        <a:pt x="21676" y="37268"/>
                        <a:pt x="17113" y="32704"/>
                        <a:pt x="17113" y="27190"/>
                      </a:cubicBezTo>
                      <a:cubicBezTo>
                        <a:pt x="17113" y="21676"/>
                        <a:pt x="21676" y="17113"/>
                        <a:pt x="27190" y="17113"/>
                      </a:cubicBezTo>
                      <a:cubicBezTo>
                        <a:pt x="32704" y="17113"/>
                        <a:pt x="37268" y="21676"/>
                        <a:pt x="37268" y="27190"/>
                      </a:cubicBezTo>
                      <a:cubicBezTo>
                        <a:pt x="37268" y="32704"/>
                        <a:pt x="32704" y="37268"/>
                        <a:pt x="27190" y="37268"/>
                      </a:cubicBezTo>
                      <a:close/>
                    </a:path>
                  </a:pathLst>
                </a:custGeom>
                <a:grpFill/>
                <a:ln w="1878" cap="flat">
                  <a:noFill/>
                  <a:prstDash val="solid"/>
                  <a:miter/>
                </a:ln>
              </p:spPr>
              <p:txBody>
                <a:bodyPr rtlCol="0" anchor="ctr"/>
                <a:lstStyle/>
                <a:p>
                  <a:endParaRPr lang="en-GB" noProof="0" dirty="0"/>
                </a:p>
              </p:txBody>
            </p:sp>
            <p:sp>
              <p:nvSpPr>
                <p:cNvPr id="150" name="Freihandform: Form 149">
                  <a:extLst>
                    <a:ext uri="{FF2B5EF4-FFF2-40B4-BE49-F238E27FC236}">
                      <a16:creationId xmlns:a16="http://schemas.microsoft.com/office/drawing/2014/main" id="{43A8F323-1C47-5B21-1D00-0142E3A573BF}"/>
                    </a:ext>
                  </a:extLst>
                </p:cNvPr>
                <p:cNvSpPr/>
                <p:nvPr/>
              </p:nvSpPr>
              <p:spPr>
                <a:xfrm>
                  <a:off x="3770366" y="3324541"/>
                  <a:ext cx="512809" cy="274563"/>
                </a:xfrm>
                <a:custGeom>
                  <a:avLst/>
                  <a:gdLst>
                    <a:gd name="connsiteX0" fmla="*/ 506535 w 512809"/>
                    <a:gd name="connsiteY0" fmla="*/ 176070 h 274563"/>
                    <a:gd name="connsiteX1" fmla="*/ 506725 w 512809"/>
                    <a:gd name="connsiteY1" fmla="*/ 175500 h 274563"/>
                    <a:gd name="connsiteX2" fmla="*/ 506725 w 512809"/>
                    <a:gd name="connsiteY2" fmla="*/ 104577 h 274563"/>
                    <a:gd name="connsiteX3" fmla="*/ 505585 w 512809"/>
                    <a:gd name="connsiteY3" fmla="*/ 100394 h 274563"/>
                    <a:gd name="connsiteX4" fmla="*/ 456718 w 512809"/>
                    <a:gd name="connsiteY4" fmla="*/ 11979 h 274563"/>
                    <a:gd name="connsiteX5" fmla="*/ 454056 w 512809"/>
                    <a:gd name="connsiteY5" fmla="*/ 8937 h 274563"/>
                    <a:gd name="connsiteX6" fmla="*/ 442458 w 512809"/>
                    <a:gd name="connsiteY6" fmla="*/ 1331 h 274563"/>
                    <a:gd name="connsiteX7" fmla="*/ 437704 w 512809"/>
                    <a:gd name="connsiteY7" fmla="*/ 0 h 274563"/>
                    <a:gd name="connsiteX8" fmla="*/ 437704 w 512809"/>
                    <a:gd name="connsiteY8" fmla="*/ 0 h 274563"/>
                    <a:gd name="connsiteX9" fmla="*/ 370204 w 512809"/>
                    <a:gd name="connsiteY9" fmla="*/ 0 h 274563"/>
                    <a:gd name="connsiteX10" fmla="*/ 361648 w 512809"/>
                    <a:gd name="connsiteY10" fmla="*/ 8366 h 274563"/>
                    <a:gd name="connsiteX11" fmla="*/ 360697 w 512809"/>
                    <a:gd name="connsiteY11" fmla="*/ 170746 h 274563"/>
                    <a:gd name="connsiteX12" fmla="*/ 144317 w 512809"/>
                    <a:gd name="connsiteY12" fmla="*/ 170746 h 274563"/>
                    <a:gd name="connsiteX13" fmla="*/ 107049 w 512809"/>
                    <a:gd name="connsiteY13" fmla="*/ 157246 h 274563"/>
                    <a:gd name="connsiteX14" fmla="*/ 69782 w 512809"/>
                    <a:gd name="connsiteY14" fmla="*/ 170746 h 274563"/>
                    <a:gd name="connsiteX15" fmla="*/ 12930 w 512809"/>
                    <a:gd name="connsiteY15" fmla="*/ 170746 h 274563"/>
                    <a:gd name="connsiteX16" fmla="*/ 0 w 512809"/>
                    <a:gd name="connsiteY16" fmla="*/ 185958 h 274563"/>
                    <a:gd name="connsiteX17" fmla="*/ 0 w 512809"/>
                    <a:gd name="connsiteY17" fmla="*/ 209155 h 274563"/>
                    <a:gd name="connsiteX18" fmla="*/ 12930 w 512809"/>
                    <a:gd name="connsiteY18" fmla="*/ 224366 h 274563"/>
                    <a:gd name="connsiteX19" fmla="*/ 49056 w 512809"/>
                    <a:gd name="connsiteY19" fmla="*/ 224366 h 274563"/>
                    <a:gd name="connsiteX20" fmla="*/ 107049 w 512809"/>
                    <a:gd name="connsiteY20" fmla="*/ 274563 h 274563"/>
                    <a:gd name="connsiteX21" fmla="*/ 165042 w 512809"/>
                    <a:gd name="connsiteY21" fmla="*/ 224366 h 274563"/>
                    <a:gd name="connsiteX22" fmla="*/ 351951 w 512809"/>
                    <a:gd name="connsiteY22" fmla="*/ 224366 h 274563"/>
                    <a:gd name="connsiteX23" fmla="*/ 409944 w 512809"/>
                    <a:gd name="connsiteY23" fmla="*/ 274563 h 274563"/>
                    <a:gd name="connsiteX24" fmla="*/ 467937 w 512809"/>
                    <a:gd name="connsiteY24" fmla="*/ 223986 h 274563"/>
                    <a:gd name="connsiteX25" fmla="*/ 470599 w 512809"/>
                    <a:gd name="connsiteY25" fmla="*/ 224556 h 274563"/>
                    <a:gd name="connsiteX26" fmla="*/ 505965 w 512809"/>
                    <a:gd name="connsiteY26" fmla="*/ 224556 h 274563"/>
                    <a:gd name="connsiteX27" fmla="*/ 512810 w 512809"/>
                    <a:gd name="connsiteY27" fmla="*/ 217711 h 274563"/>
                    <a:gd name="connsiteX28" fmla="*/ 512810 w 512809"/>
                    <a:gd name="connsiteY28" fmla="*/ 182725 h 274563"/>
                    <a:gd name="connsiteX29" fmla="*/ 506535 w 512809"/>
                    <a:gd name="connsiteY29" fmla="*/ 176070 h 274563"/>
                    <a:gd name="connsiteX30" fmla="*/ 49056 w 512809"/>
                    <a:gd name="connsiteY30" fmla="*/ 207634 h 274563"/>
                    <a:gd name="connsiteX31" fmla="*/ 16923 w 512809"/>
                    <a:gd name="connsiteY31" fmla="*/ 207634 h 274563"/>
                    <a:gd name="connsiteX32" fmla="*/ 16923 w 512809"/>
                    <a:gd name="connsiteY32" fmla="*/ 187859 h 274563"/>
                    <a:gd name="connsiteX33" fmla="*/ 55711 w 512809"/>
                    <a:gd name="connsiteY33" fmla="*/ 187859 h 274563"/>
                    <a:gd name="connsiteX34" fmla="*/ 49056 w 512809"/>
                    <a:gd name="connsiteY34" fmla="*/ 207634 h 274563"/>
                    <a:gd name="connsiteX35" fmla="*/ 107049 w 512809"/>
                    <a:gd name="connsiteY35" fmla="*/ 257641 h 274563"/>
                    <a:gd name="connsiteX36" fmla="*/ 65408 w 512809"/>
                    <a:gd name="connsiteY36" fmla="*/ 216000 h 274563"/>
                    <a:gd name="connsiteX37" fmla="*/ 107049 w 512809"/>
                    <a:gd name="connsiteY37" fmla="*/ 174359 h 274563"/>
                    <a:gd name="connsiteX38" fmla="*/ 148690 w 512809"/>
                    <a:gd name="connsiteY38" fmla="*/ 216000 h 274563"/>
                    <a:gd name="connsiteX39" fmla="*/ 107049 w 512809"/>
                    <a:gd name="connsiteY39" fmla="*/ 257641 h 274563"/>
                    <a:gd name="connsiteX40" fmla="*/ 351761 w 512809"/>
                    <a:gd name="connsiteY40" fmla="*/ 207634 h 274563"/>
                    <a:gd name="connsiteX41" fmla="*/ 164852 w 512809"/>
                    <a:gd name="connsiteY41" fmla="*/ 207634 h 274563"/>
                    <a:gd name="connsiteX42" fmla="*/ 158197 w 512809"/>
                    <a:gd name="connsiteY42" fmla="*/ 187859 h 274563"/>
                    <a:gd name="connsiteX43" fmla="*/ 358225 w 512809"/>
                    <a:gd name="connsiteY43" fmla="*/ 187859 h 274563"/>
                    <a:gd name="connsiteX44" fmla="*/ 351761 w 512809"/>
                    <a:gd name="connsiteY44" fmla="*/ 207634 h 274563"/>
                    <a:gd name="connsiteX45" fmla="*/ 378570 w 512809"/>
                    <a:gd name="connsiteY45" fmla="*/ 17113 h 274563"/>
                    <a:gd name="connsiteX46" fmla="*/ 435232 w 512809"/>
                    <a:gd name="connsiteY46" fmla="*/ 17113 h 274563"/>
                    <a:gd name="connsiteX47" fmla="*/ 442838 w 512809"/>
                    <a:gd name="connsiteY47" fmla="*/ 22246 h 274563"/>
                    <a:gd name="connsiteX48" fmla="*/ 449113 w 512809"/>
                    <a:gd name="connsiteY48" fmla="*/ 33465 h 274563"/>
                    <a:gd name="connsiteX49" fmla="*/ 378380 w 512809"/>
                    <a:gd name="connsiteY49" fmla="*/ 33465 h 274563"/>
                    <a:gd name="connsiteX50" fmla="*/ 378570 w 512809"/>
                    <a:gd name="connsiteY50" fmla="*/ 17113 h 274563"/>
                    <a:gd name="connsiteX51" fmla="*/ 378190 w 512809"/>
                    <a:gd name="connsiteY51" fmla="*/ 50197 h 274563"/>
                    <a:gd name="connsiteX52" fmla="*/ 458430 w 512809"/>
                    <a:gd name="connsiteY52" fmla="*/ 50197 h 274563"/>
                    <a:gd name="connsiteX53" fmla="*/ 489613 w 512809"/>
                    <a:gd name="connsiteY53" fmla="*/ 106859 h 274563"/>
                    <a:gd name="connsiteX54" fmla="*/ 489613 w 512809"/>
                    <a:gd name="connsiteY54" fmla="*/ 123021 h 274563"/>
                    <a:gd name="connsiteX55" fmla="*/ 471169 w 512809"/>
                    <a:gd name="connsiteY55" fmla="*/ 123021 h 274563"/>
                    <a:gd name="connsiteX56" fmla="*/ 465845 w 512809"/>
                    <a:gd name="connsiteY56" fmla="*/ 120739 h 274563"/>
                    <a:gd name="connsiteX57" fmla="*/ 450254 w 512809"/>
                    <a:gd name="connsiteY57" fmla="*/ 104577 h 274563"/>
                    <a:gd name="connsiteX58" fmla="*/ 432761 w 512809"/>
                    <a:gd name="connsiteY58" fmla="*/ 97162 h 274563"/>
                    <a:gd name="connsiteX59" fmla="*/ 377810 w 512809"/>
                    <a:gd name="connsiteY59" fmla="*/ 97162 h 274563"/>
                    <a:gd name="connsiteX60" fmla="*/ 378190 w 512809"/>
                    <a:gd name="connsiteY60" fmla="*/ 50197 h 274563"/>
                    <a:gd name="connsiteX61" fmla="*/ 409754 w 512809"/>
                    <a:gd name="connsiteY61" fmla="*/ 257641 h 274563"/>
                    <a:gd name="connsiteX62" fmla="*/ 368113 w 512809"/>
                    <a:gd name="connsiteY62" fmla="*/ 216000 h 274563"/>
                    <a:gd name="connsiteX63" fmla="*/ 409754 w 512809"/>
                    <a:gd name="connsiteY63" fmla="*/ 174359 h 274563"/>
                    <a:gd name="connsiteX64" fmla="*/ 451394 w 512809"/>
                    <a:gd name="connsiteY64" fmla="*/ 216000 h 274563"/>
                    <a:gd name="connsiteX65" fmla="*/ 409754 w 512809"/>
                    <a:gd name="connsiteY65" fmla="*/ 257641 h 274563"/>
                    <a:gd name="connsiteX66" fmla="*/ 463563 w 512809"/>
                    <a:gd name="connsiteY66" fmla="*/ 182725 h 274563"/>
                    <a:gd name="connsiteX67" fmla="*/ 463563 w 512809"/>
                    <a:gd name="connsiteY67" fmla="*/ 192803 h 274563"/>
                    <a:gd name="connsiteX68" fmla="*/ 409754 w 512809"/>
                    <a:gd name="connsiteY68" fmla="*/ 157437 h 274563"/>
                    <a:gd name="connsiteX69" fmla="*/ 377620 w 512809"/>
                    <a:gd name="connsiteY69" fmla="*/ 167134 h 274563"/>
                    <a:gd name="connsiteX70" fmla="*/ 377810 w 512809"/>
                    <a:gd name="connsiteY70" fmla="*/ 114085 h 274563"/>
                    <a:gd name="connsiteX71" fmla="*/ 432761 w 512809"/>
                    <a:gd name="connsiteY71" fmla="*/ 114085 h 274563"/>
                    <a:gd name="connsiteX72" fmla="*/ 438275 w 512809"/>
                    <a:gd name="connsiteY72" fmla="*/ 116366 h 274563"/>
                    <a:gd name="connsiteX73" fmla="*/ 453866 w 512809"/>
                    <a:gd name="connsiteY73" fmla="*/ 132528 h 274563"/>
                    <a:gd name="connsiteX74" fmla="*/ 471359 w 512809"/>
                    <a:gd name="connsiteY74" fmla="*/ 139944 h 274563"/>
                    <a:gd name="connsiteX75" fmla="*/ 489803 w 512809"/>
                    <a:gd name="connsiteY75" fmla="*/ 139944 h 274563"/>
                    <a:gd name="connsiteX76" fmla="*/ 489803 w 512809"/>
                    <a:gd name="connsiteY76" fmla="*/ 175500 h 274563"/>
                    <a:gd name="connsiteX77" fmla="*/ 489803 w 512809"/>
                    <a:gd name="connsiteY77" fmla="*/ 175880 h 274563"/>
                    <a:gd name="connsiteX78" fmla="*/ 470408 w 512809"/>
                    <a:gd name="connsiteY78" fmla="*/ 175880 h 274563"/>
                    <a:gd name="connsiteX79" fmla="*/ 463563 w 512809"/>
                    <a:gd name="connsiteY79" fmla="*/ 182725 h 274563"/>
                    <a:gd name="connsiteX80" fmla="*/ 498930 w 512809"/>
                    <a:gd name="connsiteY80" fmla="*/ 211056 h 274563"/>
                    <a:gd name="connsiteX81" fmla="*/ 477063 w 512809"/>
                    <a:gd name="connsiteY81" fmla="*/ 211056 h 274563"/>
                    <a:gd name="connsiteX82" fmla="*/ 477063 w 512809"/>
                    <a:gd name="connsiteY82" fmla="*/ 189570 h 274563"/>
                    <a:gd name="connsiteX83" fmla="*/ 498930 w 512809"/>
                    <a:gd name="connsiteY83" fmla="*/ 189570 h 274563"/>
                    <a:gd name="connsiteX84" fmla="*/ 498930 w 512809"/>
                    <a:gd name="connsiteY84" fmla="*/ 211056 h 274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512809" h="274563">
                      <a:moveTo>
                        <a:pt x="506535" y="176070"/>
                      </a:moveTo>
                      <a:cubicBezTo>
                        <a:pt x="506535" y="175880"/>
                        <a:pt x="506725" y="175690"/>
                        <a:pt x="506725" y="175500"/>
                      </a:cubicBezTo>
                      <a:lnTo>
                        <a:pt x="506725" y="104577"/>
                      </a:lnTo>
                      <a:cubicBezTo>
                        <a:pt x="506725" y="103056"/>
                        <a:pt x="506345" y="101725"/>
                        <a:pt x="505585" y="100394"/>
                      </a:cubicBezTo>
                      <a:lnTo>
                        <a:pt x="456718" y="11979"/>
                      </a:lnTo>
                      <a:cubicBezTo>
                        <a:pt x="456148" y="10838"/>
                        <a:pt x="455197" y="9697"/>
                        <a:pt x="454056" y="8937"/>
                      </a:cubicBezTo>
                      <a:lnTo>
                        <a:pt x="442458" y="1331"/>
                      </a:lnTo>
                      <a:cubicBezTo>
                        <a:pt x="441127" y="380"/>
                        <a:pt x="439416" y="0"/>
                        <a:pt x="437704" y="0"/>
                      </a:cubicBezTo>
                      <a:lnTo>
                        <a:pt x="437704" y="0"/>
                      </a:lnTo>
                      <a:lnTo>
                        <a:pt x="370204" y="0"/>
                      </a:lnTo>
                      <a:cubicBezTo>
                        <a:pt x="365641" y="0"/>
                        <a:pt x="361838" y="3803"/>
                        <a:pt x="361648" y="8366"/>
                      </a:cubicBezTo>
                      <a:cubicBezTo>
                        <a:pt x="360317" y="123401"/>
                        <a:pt x="360507" y="159148"/>
                        <a:pt x="360697" y="170746"/>
                      </a:cubicBezTo>
                      <a:lnTo>
                        <a:pt x="144317" y="170746"/>
                      </a:lnTo>
                      <a:cubicBezTo>
                        <a:pt x="134239" y="162380"/>
                        <a:pt x="121120" y="157246"/>
                        <a:pt x="107049" y="157246"/>
                      </a:cubicBezTo>
                      <a:cubicBezTo>
                        <a:pt x="92979" y="157246"/>
                        <a:pt x="79859" y="162380"/>
                        <a:pt x="69782" y="170746"/>
                      </a:cubicBezTo>
                      <a:lnTo>
                        <a:pt x="12930" y="170746"/>
                      </a:lnTo>
                      <a:cubicBezTo>
                        <a:pt x="4373" y="170746"/>
                        <a:pt x="0" y="178352"/>
                        <a:pt x="0" y="185958"/>
                      </a:cubicBezTo>
                      <a:lnTo>
                        <a:pt x="0" y="209155"/>
                      </a:lnTo>
                      <a:cubicBezTo>
                        <a:pt x="0" y="220183"/>
                        <a:pt x="7986" y="224366"/>
                        <a:pt x="12930" y="224366"/>
                      </a:cubicBezTo>
                      <a:lnTo>
                        <a:pt x="49056" y="224366"/>
                      </a:lnTo>
                      <a:cubicBezTo>
                        <a:pt x="53239" y="252697"/>
                        <a:pt x="77577" y="274563"/>
                        <a:pt x="107049" y="274563"/>
                      </a:cubicBezTo>
                      <a:cubicBezTo>
                        <a:pt x="136521" y="274563"/>
                        <a:pt x="160859" y="252697"/>
                        <a:pt x="165042" y="224366"/>
                      </a:cubicBezTo>
                      <a:lnTo>
                        <a:pt x="351951" y="224366"/>
                      </a:lnTo>
                      <a:cubicBezTo>
                        <a:pt x="356134" y="252697"/>
                        <a:pt x="380472" y="274563"/>
                        <a:pt x="409944" y="274563"/>
                      </a:cubicBezTo>
                      <a:cubicBezTo>
                        <a:pt x="439606" y="274563"/>
                        <a:pt x="464134" y="252507"/>
                        <a:pt x="467937" y="223986"/>
                      </a:cubicBezTo>
                      <a:cubicBezTo>
                        <a:pt x="468697" y="224366"/>
                        <a:pt x="469648" y="224556"/>
                        <a:pt x="470599" y="224556"/>
                      </a:cubicBezTo>
                      <a:lnTo>
                        <a:pt x="505965" y="224556"/>
                      </a:lnTo>
                      <a:cubicBezTo>
                        <a:pt x="509768" y="224556"/>
                        <a:pt x="512810" y="221514"/>
                        <a:pt x="512810" y="217711"/>
                      </a:cubicBezTo>
                      <a:lnTo>
                        <a:pt x="512810" y="182725"/>
                      </a:lnTo>
                      <a:cubicBezTo>
                        <a:pt x="512620" y="179303"/>
                        <a:pt x="509958" y="176451"/>
                        <a:pt x="506535" y="176070"/>
                      </a:cubicBezTo>
                      <a:close/>
                      <a:moveTo>
                        <a:pt x="49056" y="207634"/>
                      </a:moveTo>
                      <a:lnTo>
                        <a:pt x="16923" y="207634"/>
                      </a:lnTo>
                      <a:lnTo>
                        <a:pt x="16923" y="187859"/>
                      </a:lnTo>
                      <a:lnTo>
                        <a:pt x="55711" y="187859"/>
                      </a:lnTo>
                      <a:cubicBezTo>
                        <a:pt x="52289" y="193754"/>
                        <a:pt x="50197" y="200599"/>
                        <a:pt x="49056" y="207634"/>
                      </a:cubicBezTo>
                      <a:close/>
                      <a:moveTo>
                        <a:pt x="107049" y="257641"/>
                      </a:moveTo>
                      <a:cubicBezTo>
                        <a:pt x="84042" y="257641"/>
                        <a:pt x="65408" y="239007"/>
                        <a:pt x="65408" y="216000"/>
                      </a:cubicBezTo>
                      <a:cubicBezTo>
                        <a:pt x="65408" y="192993"/>
                        <a:pt x="84042" y="174359"/>
                        <a:pt x="107049" y="174359"/>
                      </a:cubicBezTo>
                      <a:cubicBezTo>
                        <a:pt x="130056" y="174359"/>
                        <a:pt x="148690" y="192993"/>
                        <a:pt x="148690" y="216000"/>
                      </a:cubicBezTo>
                      <a:cubicBezTo>
                        <a:pt x="148690" y="239007"/>
                        <a:pt x="130056" y="257641"/>
                        <a:pt x="107049" y="257641"/>
                      </a:cubicBezTo>
                      <a:close/>
                      <a:moveTo>
                        <a:pt x="351761" y="207634"/>
                      </a:moveTo>
                      <a:lnTo>
                        <a:pt x="164852" y="207634"/>
                      </a:lnTo>
                      <a:cubicBezTo>
                        <a:pt x="163901" y="200599"/>
                        <a:pt x="161620" y="193944"/>
                        <a:pt x="158197" y="187859"/>
                      </a:cubicBezTo>
                      <a:lnTo>
                        <a:pt x="358225" y="187859"/>
                      </a:lnTo>
                      <a:cubicBezTo>
                        <a:pt x="354993" y="193754"/>
                        <a:pt x="352901" y="200599"/>
                        <a:pt x="351761" y="207634"/>
                      </a:cubicBezTo>
                      <a:close/>
                      <a:moveTo>
                        <a:pt x="378570" y="17113"/>
                      </a:moveTo>
                      <a:lnTo>
                        <a:pt x="435232" y="17113"/>
                      </a:lnTo>
                      <a:lnTo>
                        <a:pt x="442838" y="22246"/>
                      </a:lnTo>
                      <a:lnTo>
                        <a:pt x="449113" y="33465"/>
                      </a:lnTo>
                      <a:lnTo>
                        <a:pt x="378380" y="33465"/>
                      </a:lnTo>
                      <a:cubicBezTo>
                        <a:pt x="378380" y="27761"/>
                        <a:pt x="378570" y="22246"/>
                        <a:pt x="378570" y="17113"/>
                      </a:cubicBezTo>
                      <a:close/>
                      <a:moveTo>
                        <a:pt x="378190" y="50197"/>
                      </a:moveTo>
                      <a:lnTo>
                        <a:pt x="458430" y="50197"/>
                      </a:lnTo>
                      <a:lnTo>
                        <a:pt x="489613" y="106859"/>
                      </a:lnTo>
                      <a:lnTo>
                        <a:pt x="489613" y="123021"/>
                      </a:lnTo>
                      <a:lnTo>
                        <a:pt x="471169" y="123021"/>
                      </a:lnTo>
                      <a:cubicBezTo>
                        <a:pt x="468317" y="123021"/>
                        <a:pt x="465845" y="120739"/>
                        <a:pt x="465845" y="120739"/>
                      </a:cubicBezTo>
                      <a:lnTo>
                        <a:pt x="450254" y="104577"/>
                      </a:lnTo>
                      <a:cubicBezTo>
                        <a:pt x="443218" y="97352"/>
                        <a:pt x="433711" y="97162"/>
                        <a:pt x="432761" y="97162"/>
                      </a:cubicBezTo>
                      <a:lnTo>
                        <a:pt x="377810" y="97162"/>
                      </a:lnTo>
                      <a:cubicBezTo>
                        <a:pt x="378000" y="81951"/>
                        <a:pt x="378000" y="65979"/>
                        <a:pt x="378190" y="50197"/>
                      </a:cubicBezTo>
                      <a:close/>
                      <a:moveTo>
                        <a:pt x="409754" y="257641"/>
                      </a:moveTo>
                      <a:cubicBezTo>
                        <a:pt x="386747" y="257641"/>
                        <a:pt x="368113" y="239007"/>
                        <a:pt x="368113" y="216000"/>
                      </a:cubicBezTo>
                      <a:cubicBezTo>
                        <a:pt x="368113" y="192993"/>
                        <a:pt x="386747" y="174359"/>
                        <a:pt x="409754" y="174359"/>
                      </a:cubicBezTo>
                      <a:cubicBezTo>
                        <a:pt x="432761" y="174359"/>
                        <a:pt x="451394" y="192993"/>
                        <a:pt x="451394" y="216000"/>
                      </a:cubicBezTo>
                      <a:cubicBezTo>
                        <a:pt x="451394" y="239007"/>
                        <a:pt x="432761" y="257641"/>
                        <a:pt x="409754" y="257641"/>
                      </a:cubicBezTo>
                      <a:close/>
                      <a:moveTo>
                        <a:pt x="463563" y="182725"/>
                      </a:moveTo>
                      <a:lnTo>
                        <a:pt x="463563" y="192803"/>
                      </a:lnTo>
                      <a:cubicBezTo>
                        <a:pt x="454627" y="172077"/>
                        <a:pt x="433901" y="157437"/>
                        <a:pt x="409754" y="157437"/>
                      </a:cubicBezTo>
                      <a:cubicBezTo>
                        <a:pt x="397775" y="157437"/>
                        <a:pt x="386747" y="161049"/>
                        <a:pt x="377620" y="167134"/>
                      </a:cubicBezTo>
                      <a:cubicBezTo>
                        <a:pt x="377620" y="157246"/>
                        <a:pt x="377620" y="137662"/>
                        <a:pt x="377810" y="114085"/>
                      </a:cubicBezTo>
                      <a:lnTo>
                        <a:pt x="432761" y="114085"/>
                      </a:lnTo>
                      <a:cubicBezTo>
                        <a:pt x="432761" y="114085"/>
                        <a:pt x="436183" y="114275"/>
                        <a:pt x="438275" y="116366"/>
                      </a:cubicBezTo>
                      <a:lnTo>
                        <a:pt x="453866" y="132528"/>
                      </a:lnTo>
                      <a:cubicBezTo>
                        <a:pt x="454627" y="133289"/>
                        <a:pt x="461282" y="139944"/>
                        <a:pt x="471359" y="139944"/>
                      </a:cubicBezTo>
                      <a:lnTo>
                        <a:pt x="489803" y="139944"/>
                      </a:lnTo>
                      <a:lnTo>
                        <a:pt x="489803" y="175500"/>
                      </a:lnTo>
                      <a:cubicBezTo>
                        <a:pt x="489803" y="175690"/>
                        <a:pt x="489803" y="175690"/>
                        <a:pt x="489803" y="175880"/>
                      </a:cubicBezTo>
                      <a:lnTo>
                        <a:pt x="470408" y="175880"/>
                      </a:lnTo>
                      <a:cubicBezTo>
                        <a:pt x="466606" y="175880"/>
                        <a:pt x="463563" y="178923"/>
                        <a:pt x="463563" y="182725"/>
                      </a:cubicBezTo>
                      <a:close/>
                      <a:moveTo>
                        <a:pt x="498930" y="211056"/>
                      </a:moveTo>
                      <a:lnTo>
                        <a:pt x="477063" y="211056"/>
                      </a:lnTo>
                      <a:lnTo>
                        <a:pt x="477063" y="189570"/>
                      </a:lnTo>
                      <a:lnTo>
                        <a:pt x="498930" y="189570"/>
                      </a:lnTo>
                      <a:lnTo>
                        <a:pt x="498930" y="211056"/>
                      </a:lnTo>
                      <a:close/>
                    </a:path>
                  </a:pathLst>
                </a:custGeom>
                <a:grpFill/>
                <a:ln w="1878" cap="flat">
                  <a:noFill/>
                  <a:prstDash val="solid"/>
                  <a:miter/>
                </a:ln>
              </p:spPr>
              <p:txBody>
                <a:bodyPr rtlCol="0" anchor="ctr"/>
                <a:lstStyle/>
                <a:p>
                  <a:endParaRPr lang="en-GB" noProof="0" dirty="0"/>
                </a:p>
              </p:txBody>
            </p:sp>
            <p:sp>
              <p:nvSpPr>
                <p:cNvPr id="151" name="Freihandform: Form 150">
                  <a:extLst>
                    <a:ext uri="{FF2B5EF4-FFF2-40B4-BE49-F238E27FC236}">
                      <a16:creationId xmlns:a16="http://schemas.microsoft.com/office/drawing/2014/main" id="{302F4288-DBC6-EAA5-1A43-FF86AAFB2605}"/>
                    </a:ext>
                  </a:extLst>
                </p:cNvPr>
                <p:cNvSpPr>
                  <a:spLocks noChangeAspect="1"/>
                </p:cNvSpPr>
                <p:nvPr/>
              </p:nvSpPr>
              <p:spPr>
                <a:xfrm>
                  <a:off x="3744051" y="3270351"/>
                  <a:ext cx="360000" cy="199448"/>
                </a:xfrm>
                <a:custGeom>
                  <a:avLst/>
                  <a:gdLst>
                    <a:gd name="connsiteX0" fmla="*/ 55027 w 372371"/>
                    <a:gd name="connsiteY0" fmla="*/ 206303 h 206302"/>
                    <a:gd name="connsiteX1" fmla="*/ 331682 w 372371"/>
                    <a:gd name="connsiteY1" fmla="*/ 206303 h 206302"/>
                    <a:gd name="connsiteX2" fmla="*/ 339668 w 372371"/>
                    <a:gd name="connsiteY2" fmla="*/ 200789 h 206302"/>
                    <a:gd name="connsiteX3" fmla="*/ 371421 w 372371"/>
                    <a:gd name="connsiteY3" fmla="*/ 116937 h 206302"/>
                    <a:gd name="connsiteX4" fmla="*/ 371992 w 372371"/>
                    <a:gd name="connsiteY4" fmla="*/ 113894 h 206302"/>
                    <a:gd name="connsiteX5" fmla="*/ 372372 w 372371"/>
                    <a:gd name="connsiteY5" fmla="*/ 8556 h 206302"/>
                    <a:gd name="connsiteX6" fmla="*/ 369900 w 372371"/>
                    <a:gd name="connsiteY6" fmla="*/ 2472 h 206302"/>
                    <a:gd name="connsiteX7" fmla="*/ 363815 w 372371"/>
                    <a:gd name="connsiteY7" fmla="*/ 0 h 206302"/>
                    <a:gd name="connsiteX8" fmla="*/ 44189 w 372371"/>
                    <a:gd name="connsiteY8" fmla="*/ 0 h 206302"/>
                    <a:gd name="connsiteX9" fmla="*/ 36203 w 372371"/>
                    <a:gd name="connsiteY9" fmla="*/ 5704 h 206302"/>
                    <a:gd name="connsiteX10" fmla="*/ 456 w 372371"/>
                    <a:gd name="connsiteY10" fmla="*/ 106099 h 206302"/>
                    <a:gd name="connsiteX11" fmla="*/ 1027 w 372371"/>
                    <a:gd name="connsiteY11" fmla="*/ 112944 h 206302"/>
                    <a:gd name="connsiteX12" fmla="*/ 47801 w 372371"/>
                    <a:gd name="connsiteY12" fmla="*/ 201739 h 206302"/>
                    <a:gd name="connsiteX13" fmla="*/ 55027 w 372371"/>
                    <a:gd name="connsiteY13" fmla="*/ 206303 h 206302"/>
                    <a:gd name="connsiteX14" fmla="*/ 285097 w 372371"/>
                    <a:gd name="connsiteY14" fmla="*/ 17303 h 206302"/>
                    <a:gd name="connsiteX15" fmla="*/ 355449 w 372371"/>
                    <a:gd name="connsiteY15" fmla="*/ 17303 h 206302"/>
                    <a:gd name="connsiteX16" fmla="*/ 355069 w 372371"/>
                    <a:gd name="connsiteY16" fmla="*/ 103437 h 206302"/>
                    <a:gd name="connsiteX17" fmla="*/ 285097 w 372371"/>
                    <a:gd name="connsiteY17" fmla="*/ 103437 h 206302"/>
                    <a:gd name="connsiteX18" fmla="*/ 285097 w 372371"/>
                    <a:gd name="connsiteY18" fmla="*/ 17303 h 206302"/>
                    <a:gd name="connsiteX19" fmla="*/ 198393 w 372371"/>
                    <a:gd name="connsiteY19" fmla="*/ 17303 h 206302"/>
                    <a:gd name="connsiteX20" fmla="*/ 268175 w 372371"/>
                    <a:gd name="connsiteY20" fmla="*/ 17303 h 206302"/>
                    <a:gd name="connsiteX21" fmla="*/ 268175 w 372371"/>
                    <a:gd name="connsiteY21" fmla="*/ 103437 h 206302"/>
                    <a:gd name="connsiteX22" fmla="*/ 198393 w 372371"/>
                    <a:gd name="connsiteY22" fmla="*/ 103437 h 206302"/>
                    <a:gd name="connsiteX23" fmla="*/ 198393 w 372371"/>
                    <a:gd name="connsiteY23" fmla="*/ 17303 h 206302"/>
                    <a:gd name="connsiteX24" fmla="*/ 111308 w 372371"/>
                    <a:gd name="connsiteY24" fmla="*/ 17303 h 206302"/>
                    <a:gd name="connsiteX25" fmla="*/ 181470 w 372371"/>
                    <a:gd name="connsiteY25" fmla="*/ 17303 h 206302"/>
                    <a:gd name="connsiteX26" fmla="*/ 181470 w 372371"/>
                    <a:gd name="connsiteY26" fmla="*/ 103437 h 206302"/>
                    <a:gd name="connsiteX27" fmla="*/ 111308 w 372371"/>
                    <a:gd name="connsiteY27" fmla="*/ 103437 h 206302"/>
                    <a:gd name="connsiteX28" fmla="*/ 111308 w 372371"/>
                    <a:gd name="connsiteY28" fmla="*/ 17303 h 206302"/>
                    <a:gd name="connsiteX29" fmla="*/ 50083 w 372371"/>
                    <a:gd name="connsiteY29" fmla="*/ 17303 h 206302"/>
                    <a:gd name="connsiteX30" fmla="*/ 94196 w 372371"/>
                    <a:gd name="connsiteY30" fmla="*/ 17303 h 206302"/>
                    <a:gd name="connsiteX31" fmla="*/ 94196 w 372371"/>
                    <a:gd name="connsiteY31" fmla="*/ 103437 h 206302"/>
                    <a:gd name="connsiteX32" fmla="*/ 19280 w 372371"/>
                    <a:gd name="connsiteY32" fmla="*/ 103437 h 206302"/>
                    <a:gd name="connsiteX33" fmla="*/ 50083 w 372371"/>
                    <a:gd name="connsiteY33" fmla="*/ 17303 h 206302"/>
                    <a:gd name="connsiteX34" fmla="*/ 23844 w 372371"/>
                    <a:gd name="connsiteY34" fmla="*/ 120359 h 206302"/>
                    <a:gd name="connsiteX35" fmla="*/ 352027 w 372371"/>
                    <a:gd name="connsiteY35" fmla="*/ 120359 h 206302"/>
                    <a:gd name="connsiteX36" fmla="*/ 347083 w 372371"/>
                    <a:gd name="connsiteY36" fmla="*/ 133669 h 206302"/>
                    <a:gd name="connsiteX37" fmla="*/ 30879 w 372371"/>
                    <a:gd name="connsiteY37" fmla="*/ 133669 h 206302"/>
                    <a:gd name="connsiteX38" fmla="*/ 23844 w 372371"/>
                    <a:gd name="connsiteY38" fmla="*/ 120359 h 206302"/>
                    <a:gd name="connsiteX39" fmla="*/ 340618 w 372371"/>
                    <a:gd name="connsiteY39" fmla="*/ 150592 h 206302"/>
                    <a:gd name="connsiteX40" fmla="*/ 325977 w 372371"/>
                    <a:gd name="connsiteY40" fmla="*/ 189380 h 206302"/>
                    <a:gd name="connsiteX41" fmla="*/ 60161 w 372371"/>
                    <a:gd name="connsiteY41" fmla="*/ 189380 h 206302"/>
                    <a:gd name="connsiteX42" fmla="*/ 39815 w 372371"/>
                    <a:gd name="connsiteY42" fmla="*/ 150592 h 206302"/>
                    <a:gd name="connsiteX43" fmla="*/ 340618 w 372371"/>
                    <a:gd name="connsiteY43" fmla="*/ 150592 h 206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72371" h="206302">
                      <a:moveTo>
                        <a:pt x="55027" y="206303"/>
                      </a:moveTo>
                      <a:lnTo>
                        <a:pt x="331682" y="206303"/>
                      </a:lnTo>
                      <a:cubicBezTo>
                        <a:pt x="335294" y="206303"/>
                        <a:pt x="338337" y="204211"/>
                        <a:pt x="339668" y="200789"/>
                      </a:cubicBezTo>
                      <a:lnTo>
                        <a:pt x="371421" y="116937"/>
                      </a:lnTo>
                      <a:cubicBezTo>
                        <a:pt x="371801" y="115986"/>
                        <a:pt x="371992" y="115035"/>
                        <a:pt x="371992" y="113894"/>
                      </a:cubicBezTo>
                      <a:lnTo>
                        <a:pt x="372372" y="8556"/>
                      </a:lnTo>
                      <a:cubicBezTo>
                        <a:pt x="372372" y="6275"/>
                        <a:pt x="371421" y="4183"/>
                        <a:pt x="369900" y="2472"/>
                      </a:cubicBezTo>
                      <a:cubicBezTo>
                        <a:pt x="368379" y="951"/>
                        <a:pt x="366097" y="0"/>
                        <a:pt x="363815" y="0"/>
                      </a:cubicBezTo>
                      <a:lnTo>
                        <a:pt x="44189" y="0"/>
                      </a:lnTo>
                      <a:cubicBezTo>
                        <a:pt x="40576" y="0"/>
                        <a:pt x="37344" y="2282"/>
                        <a:pt x="36203" y="5704"/>
                      </a:cubicBezTo>
                      <a:lnTo>
                        <a:pt x="456" y="106099"/>
                      </a:lnTo>
                      <a:cubicBezTo>
                        <a:pt x="-304" y="108380"/>
                        <a:pt x="-114" y="110852"/>
                        <a:pt x="1027" y="112944"/>
                      </a:cubicBezTo>
                      <a:lnTo>
                        <a:pt x="47801" y="201739"/>
                      </a:lnTo>
                      <a:cubicBezTo>
                        <a:pt x="48942" y="204592"/>
                        <a:pt x="51985" y="206303"/>
                        <a:pt x="55027" y="206303"/>
                      </a:cubicBezTo>
                      <a:close/>
                      <a:moveTo>
                        <a:pt x="285097" y="17303"/>
                      </a:moveTo>
                      <a:lnTo>
                        <a:pt x="355449" y="17303"/>
                      </a:lnTo>
                      <a:lnTo>
                        <a:pt x="355069" y="103437"/>
                      </a:lnTo>
                      <a:lnTo>
                        <a:pt x="285097" y="103437"/>
                      </a:lnTo>
                      <a:lnTo>
                        <a:pt x="285097" y="17303"/>
                      </a:lnTo>
                      <a:close/>
                      <a:moveTo>
                        <a:pt x="198393" y="17303"/>
                      </a:moveTo>
                      <a:lnTo>
                        <a:pt x="268175" y="17303"/>
                      </a:lnTo>
                      <a:lnTo>
                        <a:pt x="268175" y="103437"/>
                      </a:lnTo>
                      <a:lnTo>
                        <a:pt x="198393" y="103437"/>
                      </a:lnTo>
                      <a:lnTo>
                        <a:pt x="198393" y="17303"/>
                      </a:lnTo>
                      <a:close/>
                      <a:moveTo>
                        <a:pt x="111308" y="17303"/>
                      </a:moveTo>
                      <a:lnTo>
                        <a:pt x="181470" y="17303"/>
                      </a:lnTo>
                      <a:lnTo>
                        <a:pt x="181470" y="103437"/>
                      </a:lnTo>
                      <a:lnTo>
                        <a:pt x="111308" y="103437"/>
                      </a:lnTo>
                      <a:lnTo>
                        <a:pt x="111308" y="17303"/>
                      </a:lnTo>
                      <a:close/>
                      <a:moveTo>
                        <a:pt x="50083" y="17303"/>
                      </a:moveTo>
                      <a:lnTo>
                        <a:pt x="94196" y="17303"/>
                      </a:lnTo>
                      <a:lnTo>
                        <a:pt x="94196" y="103437"/>
                      </a:lnTo>
                      <a:lnTo>
                        <a:pt x="19280" y="103437"/>
                      </a:lnTo>
                      <a:lnTo>
                        <a:pt x="50083" y="17303"/>
                      </a:lnTo>
                      <a:close/>
                      <a:moveTo>
                        <a:pt x="23844" y="120359"/>
                      </a:moveTo>
                      <a:lnTo>
                        <a:pt x="352027" y="120359"/>
                      </a:lnTo>
                      <a:lnTo>
                        <a:pt x="347083" y="133669"/>
                      </a:lnTo>
                      <a:lnTo>
                        <a:pt x="30879" y="133669"/>
                      </a:lnTo>
                      <a:lnTo>
                        <a:pt x="23844" y="120359"/>
                      </a:lnTo>
                      <a:close/>
                      <a:moveTo>
                        <a:pt x="340618" y="150592"/>
                      </a:moveTo>
                      <a:lnTo>
                        <a:pt x="325977" y="189380"/>
                      </a:lnTo>
                      <a:lnTo>
                        <a:pt x="60161" y="189380"/>
                      </a:lnTo>
                      <a:lnTo>
                        <a:pt x="39815" y="150592"/>
                      </a:lnTo>
                      <a:lnTo>
                        <a:pt x="340618" y="150592"/>
                      </a:lnTo>
                      <a:close/>
                    </a:path>
                  </a:pathLst>
                </a:custGeom>
                <a:grpFill/>
                <a:ln w="1878" cap="flat">
                  <a:noFill/>
                  <a:prstDash val="solid"/>
                  <a:miter/>
                </a:ln>
              </p:spPr>
              <p:txBody>
                <a:bodyPr rtlCol="0" anchor="ctr"/>
                <a:lstStyle/>
                <a:p>
                  <a:endParaRPr lang="en-GB" noProof="0" dirty="0"/>
                </a:p>
              </p:txBody>
            </p:sp>
          </p:grpSp>
        </p:grpSp>
      </p:grpSp>
      <p:grpSp>
        <p:nvGrpSpPr>
          <p:cNvPr id="201" name="Grafik 9">
            <a:extLst>
              <a:ext uri="{FF2B5EF4-FFF2-40B4-BE49-F238E27FC236}">
                <a16:creationId xmlns:a16="http://schemas.microsoft.com/office/drawing/2014/main" id="{1EA8A3CE-C19A-3463-17A0-4BD3A5B0B4BE}"/>
              </a:ext>
            </a:extLst>
          </p:cNvPr>
          <p:cNvGrpSpPr>
            <a:grpSpLocks noChangeAspect="1"/>
          </p:cNvGrpSpPr>
          <p:nvPr/>
        </p:nvGrpSpPr>
        <p:grpSpPr>
          <a:xfrm>
            <a:off x="993769" y="2165421"/>
            <a:ext cx="288000" cy="260491"/>
            <a:chOff x="4674715" y="3790008"/>
            <a:chExt cx="491706" cy="444739"/>
          </a:xfrm>
          <a:solidFill>
            <a:schemeClr val="accent1"/>
          </a:solidFill>
        </p:grpSpPr>
        <p:grpSp>
          <p:nvGrpSpPr>
            <p:cNvPr id="202" name="Grafik 9">
              <a:extLst>
                <a:ext uri="{FF2B5EF4-FFF2-40B4-BE49-F238E27FC236}">
                  <a16:creationId xmlns:a16="http://schemas.microsoft.com/office/drawing/2014/main" id="{F8478163-F33C-0B60-B0C3-94CEAA287E4B}"/>
                </a:ext>
              </a:extLst>
            </p:cNvPr>
            <p:cNvGrpSpPr/>
            <p:nvPr/>
          </p:nvGrpSpPr>
          <p:grpSpPr>
            <a:xfrm>
              <a:off x="4674715" y="3790008"/>
              <a:ext cx="491706" cy="444739"/>
              <a:chOff x="4674715" y="3790008"/>
              <a:chExt cx="491706" cy="444739"/>
            </a:xfrm>
            <a:grpFill/>
          </p:grpSpPr>
          <p:grpSp>
            <p:nvGrpSpPr>
              <p:cNvPr id="203" name="Grafik 9">
                <a:extLst>
                  <a:ext uri="{FF2B5EF4-FFF2-40B4-BE49-F238E27FC236}">
                    <a16:creationId xmlns:a16="http://schemas.microsoft.com/office/drawing/2014/main" id="{C4D24531-1CF3-8DC5-C93D-7C487CBA89B2}"/>
                  </a:ext>
                </a:extLst>
              </p:cNvPr>
              <p:cNvGrpSpPr/>
              <p:nvPr/>
            </p:nvGrpSpPr>
            <p:grpSpPr>
              <a:xfrm>
                <a:off x="4674715" y="3790008"/>
                <a:ext cx="491706" cy="444739"/>
                <a:chOff x="4674715" y="3790008"/>
                <a:chExt cx="491706" cy="444739"/>
              </a:xfrm>
              <a:grpFill/>
            </p:grpSpPr>
            <p:sp>
              <p:nvSpPr>
                <p:cNvPr id="204" name="Freihandform: Form 203">
                  <a:extLst>
                    <a:ext uri="{FF2B5EF4-FFF2-40B4-BE49-F238E27FC236}">
                      <a16:creationId xmlns:a16="http://schemas.microsoft.com/office/drawing/2014/main" id="{9ED4A604-4DC2-D812-3E6F-2A845E70D231}"/>
                    </a:ext>
                  </a:extLst>
                </p:cNvPr>
                <p:cNvSpPr/>
                <p:nvPr/>
              </p:nvSpPr>
              <p:spPr>
                <a:xfrm>
                  <a:off x="4674715" y="3790008"/>
                  <a:ext cx="491706" cy="444739"/>
                </a:xfrm>
                <a:custGeom>
                  <a:avLst/>
                  <a:gdLst>
                    <a:gd name="connsiteX0" fmla="*/ 483148 w 491704"/>
                    <a:gd name="connsiteY0" fmla="*/ 427627 h 444739"/>
                    <a:gd name="connsiteX1" fmla="*/ 443979 w 491704"/>
                    <a:gd name="connsiteY1" fmla="*/ 427627 h 444739"/>
                    <a:gd name="connsiteX2" fmla="*/ 443979 w 491704"/>
                    <a:gd name="connsiteY2" fmla="*/ 427627 h 444739"/>
                    <a:gd name="connsiteX3" fmla="*/ 443979 w 491704"/>
                    <a:gd name="connsiteY3" fmla="*/ 17113 h 444739"/>
                    <a:gd name="connsiteX4" fmla="*/ 457859 w 491704"/>
                    <a:gd name="connsiteY4" fmla="*/ 17113 h 444739"/>
                    <a:gd name="connsiteX5" fmla="*/ 466416 w 491704"/>
                    <a:gd name="connsiteY5" fmla="*/ 8556 h 444739"/>
                    <a:gd name="connsiteX6" fmla="*/ 457859 w 491704"/>
                    <a:gd name="connsiteY6" fmla="*/ 0 h 444739"/>
                    <a:gd name="connsiteX7" fmla="*/ 32894 w 491704"/>
                    <a:gd name="connsiteY7" fmla="*/ 0 h 444739"/>
                    <a:gd name="connsiteX8" fmla="*/ 24338 w 491704"/>
                    <a:gd name="connsiteY8" fmla="*/ 8556 h 444739"/>
                    <a:gd name="connsiteX9" fmla="*/ 32894 w 491704"/>
                    <a:gd name="connsiteY9" fmla="*/ 17113 h 444739"/>
                    <a:gd name="connsiteX10" fmla="*/ 48676 w 491704"/>
                    <a:gd name="connsiteY10" fmla="*/ 17113 h 444739"/>
                    <a:gd name="connsiteX11" fmla="*/ 48676 w 491704"/>
                    <a:gd name="connsiteY11" fmla="*/ 427627 h 444739"/>
                    <a:gd name="connsiteX12" fmla="*/ 8556 w 491704"/>
                    <a:gd name="connsiteY12" fmla="*/ 427627 h 444739"/>
                    <a:gd name="connsiteX13" fmla="*/ 0 w 491704"/>
                    <a:gd name="connsiteY13" fmla="*/ 436183 h 444739"/>
                    <a:gd name="connsiteX14" fmla="*/ 8556 w 491704"/>
                    <a:gd name="connsiteY14" fmla="*/ 444739 h 444739"/>
                    <a:gd name="connsiteX15" fmla="*/ 483148 w 491704"/>
                    <a:gd name="connsiteY15" fmla="*/ 444739 h 444739"/>
                    <a:gd name="connsiteX16" fmla="*/ 491704 w 491704"/>
                    <a:gd name="connsiteY16" fmla="*/ 436183 h 444739"/>
                    <a:gd name="connsiteX17" fmla="*/ 483148 w 491704"/>
                    <a:gd name="connsiteY17" fmla="*/ 427627 h 444739"/>
                    <a:gd name="connsiteX18" fmla="*/ 237296 w 491704"/>
                    <a:gd name="connsiteY18" fmla="*/ 427627 h 444739"/>
                    <a:gd name="connsiteX19" fmla="*/ 206113 w 491704"/>
                    <a:gd name="connsiteY19" fmla="*/ 427627 h 444739"/>
                    <a:gd name="connsiteX20" fmla="*/ 206113 w 491704"/>
                    <a:gd name="connsiteY20" fmla="*/ 308979 h 444739"/>
                    <a:gd name="connsiteX21" fmla="*/ 237296 w 491704"/>
                    <a:gd name="connsiteY21" fmla="*/ 308979 h 444739"/>
                    <a:gd name="connsiteX22" fmla="*/ 237296 w 491704"/>
                    <a:gd name="connsiteY22" fmla="*/ 427627 h 444739"/>
                    <a:gd name="connsiteX23" fmla="*/ 285592 w 491704"/>
                    <a:gd name="connsiteY23" fmla="*/ 427627 h 444739"/>
                    <a:gd name="connsiteX24" fmla="*/ 254408 w 491704"/>
                    <a:gd name="connsiteY24" fmla="*/ 427627 h 444739"/>
                    <a:gd name="connsiteX25" fmla="*/ 254408 w 491704"/>
                    <a:gd name="connsiteY25" fmla="*/ 308979 h 444739"/>
                    <a:gd name="connsiteX26" fmla="*/ 285592 w 491704"/>
                    <a:gd name="connsiteY26" fmla="*/ 308979 h 444739"/>
                    <a:gd name="connsiteX27" fmla="*/ 285592 w 491704"/>
                    <a:gd name="connsiteY27" fmla="*/ 427627 h 444739"/>
                    <a:gd name="connsiteX28" fmla="*/ 302894 w 491704"/>
                    <a:gd name="connsiteY28" fmla="*/ 427627 h 444739"/>
                    <a:gd name="connsiteX29" fmla="*/ 302894 w 491704"/>
                    <a:gd name="connsiteY29" fmla="*/ 300423 h 444739"/>
                    <a:gd name="connsiteX30" fmla="*/ 294338 w 491704"/>
                    <a:gd name="connsiteY30" fmla="*/ 291866 h 444739"/>
                    <a:gd name="connsiteX31" fmla="*/ 197556 w 491704"/>
                    <a:gd name="connsiteY31" fmla="*/ 291866 h 444739"/>
                    <a:gd name="connsiteX32" fmla="*/ 189000 w 491704"/>
                    <a:gd name="connsiteY32" fmla="*/ 300423 h 444739"/>
                    <a:gd name="connsiteX33" fmla="*/ 189000 w 491704"/>
                    <a:gd name="connsiteY33" fmla="*/ 427627 h 444739"/>
                    <a:gd name="connsiteX34" fmla="*/ 65979 w 491704"/>
                    <a:gd name="connsiteY34" fmla="*/ 427627 h 444739"/>
                    <a:gd name="connsiteX35" fmla="*/ 65979 w 491704"/>
                    <a:gd name="connsiteY35" fmla="*/ 17113 h 444739"/>
                    <a:gd name="connsiteX36" fmla="*/ 426866 w 491704"/>
                    <a:gd name="connsiteY36" fmla="*/ 17113 h 444739"/>
                    <a:gd name="connsiteX37" fmla="*/ 426866 w 491704"/>
                    <a:gd name="connsiteY37" fmla="*/ 427627 h 444739"/>
                    <a:gd name="connsiteX38" fmla="*/ 426866 w 491704"/>
                    <a:gd name="connsiteY38" fmla="*/ 427627 h 444739"/>
                    <a:gd name="connsiteX39" fmla="*/ 302894 w 491704"/>
                    <a:gd name="connsiteY39" fmla="*/ 427627 h 44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91704" h="444739">
                      <a:moveTo>
                        <a:pt x="483148" y="427627"/>
                      </a:moveTo>
                      <a:lnTo>
                        <a:pt x="443979" y="427627"/>
                      </a:lnTo>
                      <a:cubicBezTo>
                        <a:pt x="443979" y="427627"/>
                        <a:pt x="443979" y="427627"/>
                        <a:pt x="443979" y="427627"/>
                      </a:cubicBezTo>
                      <a:lnTo>
                        <a:pt x="443979" y="17113"/>
                      </a:lnTo>
                      <a:lnTo>
                        <a:pt x="457859" y="17113"/>
                      </a:lnTo>
                      <a:cubicBezTo>
                        <a:pt x="462613" y="17113"/>
                        <a:pt x="466416" y="13310"/>
                        <a:pt x="466416" y="8556"/>
                      </a:cubicBezTo>
                      <a:cubicBezTo>
                        <a:pt x="466416" y="3803"/>
                        <a:pt x="462613" y="0"/>
                        <a:pt x="457859" y="0"/>
                      </a:cubicBezTo>
                      <a:lnTo>
                        <a:pt x="32894" y="0"/>
                      </a:lnTo>
                      <a:cubicBezTo>
                        <a:pt x="28141" y="0"/>
                        <a:pt x="24338" y="3803"/>
                        <a:pt x="24338" y="8556"/>
                      </a:cubicBezTo>
                      <a:cubicBezTo>
                        <a:pt x="24338" y="13310"/>
                        <a:pt x="28141" y="17113"/>
                        <a:pt x="32894" y="17113"/>
                      </a:cubicBezTo>
                      <a:lnTo>
                        <a:pt x="48676" y="17113"/>
                      </a:lnTo>
                      <a:lnTo>
                        <a:pt x="48676" y="427627"/>
                      </a:lnTo>
                      <a:lnTo>
                        <a:pt x="8556" y="427627"/>
                      </a:lnTo>
                      <a:cubicBezTo>
                        <a:pt x="3803" y="427627"/>
                        <a:pt x="0" y="431430"/>
                        <a:pt x="0" y="436183"/>
                      </a:cubicBezTo>
                      <a:cubicBezTo>
                        <a:pt x="0" y="440937"/>
                        <a:pt x="3803" y="444739"/>
                        <a:pt x="8556" y="444739"/>
                      </a:cubicBezTo>
                      <a:lnTo>
                        <a:pt x="483148" y="444739"/>
                      </a:lnTo>
                      <a:cubicBezTo>
                        <a:pt x="487901" y="444739"/>
                        <a:pt x="491704" y="440937"/>
                        <a:pt x="491704" y="436183"/>
                      </a:cubicBezTo>
                      <a:cubicBezTo>
                        <a:pt x="491704" y="431430"/>
                        <a:pt x="487901" y="427627"/>
                        <a:pt x="483148" y="427627"/>
                      </a:cubicBezTo>
                      <a:close/>
                      <a:moveTo>
                        <a:pt x="237296" y="427627"/>
                      </a:moveTo>
                      <a:lnTo>
                        <a:pt x="206113" y="427627"/>
                      </a:lnTo>
                      <a:lnTo>
                        <a:pt x="206113" y="308979"/>
                      </a:lnTo>
                      <a:lnTo>
                        <a:pt x="237296" y="308979"/>
                      </a:lnTo>
                      <a:lnTo>
                        <a:pt x="237296" y="427627"/>
                      </a:lnTo>
                      <a:close/>
                      <a:moveTo>
                        <a:pt x="285592" y="427627"/>
                      </a:moveTo>
                      <a:lnTo>
                        <a:pt x="254408" y="427627"/>
                      </a:lnTo>
                      <a:lnTo>
                        <a:pt x="254408" y="308979"/>
                      </a:lnTo>
                      <a:lnTo>
                        <a:pt x="285592" y="308979"/>
                      </a:lnTo>
                      <a:lnTo>
                        <a:pt x="285592" y="427627"/>
                      </a:lnTo>
                      <a:close/>
                      <a:moveTo>
                        <a:pt x="302894" y="427627"/>
                      </a:moveTo>
                      <a:lnTo>
                        <a:pt x="302894" y="300423"/>
                      </a:lnTo>
                      <a:cubicBezTo>
                        <a:pt x="302894" y="295669"/>
                        <a:pt x="299092" y="291866"/>
                        <a:pt x="294338" y="291866"/>
                      </a:cubicBezTo>
                      <a:lnTo>
                        <a:pt x="197556" y="291866"/>
                      </a:lnTo>
                      <a:cubicBezTo>
                        <a:pt x="192803" y="291866"/>
                        <a:pt x="189000" y="295669"/>
                        <a:pt x="189000" y="300423"/>
                      </a:cubicBezTo>
                      <a:lnTo>
                        <a:pt x="189000" y="427627"/>
                      </a:lnTo>
                      <a:lnTo>
                        <a:pt x="65979" y="427627"/>
                      </a:lnTo>
                      <a:lnTo>
                        <a:pt x="65979" y="17113"/>
                      </a:lnTo>
                      <a:lnTo>
                        <a:pt x="426866" y="17113"/>
                      </a:lnTo>
                      <a:lnTo>
                        <a:pt x="426866" y="427627"/>
                      </a:lnTo>
                      <a:cubicBezTo>
                        <a:pt x="426866" y="427627"/>
                        <a:pt x="426866" y="427627"/>
                        <a:pt x="426866" y="427627"/>
                      </a:cubicBezTo>
                      <a:lnTo>
                        <a:pt x="302894" y="427627"/>
                      </a:lnTo>
                      <a:close/>
                    </a:path>
                  </a:pathLst>
                </a:custGeom>
                <a:grpFill/>
                <a:ln w="1878" cap="flat">
                  <a:noFill/>
                  <a:prstDash val="solid"/>
                  <a:miter/>
                </a:ln>
              </p:spPr>
              <p:txBody>
                <a:bodyPr rtlCol="0" anchor="ctr"/>
                <a:lstStyle/>
                <a:p>
                  <a:endParaRPr lang="en-GB" noProof="0" dirty="0"/>
                </a:p>
              </p:txBody>
            </p:sp>
            <p:sp>
              <p:nvSpPr>
                <p:cNvPr id="205" name="Freihandform: Form 204">
                  <a:extLst>
                    <a:ext uri="{FF2B5EF4-FFF2-40B4-BE49-F238E27FC236}">
                      <a16:creationId xmlns:a16="http://schemas.microsoft.com/office/drawing/2014/main" id="{D4533231-6878-8A4A-C4A8-E1010B4B2082}"/>
                    </a:ext>
                  </a:extLst>
                </p:cNvPr>
                <p:cNvSpPr/>
                <p:nvPr/>
              </p:nvSpPr>
              <p:spPr>
                <a:xfrm>
                  <a:off x="4997766" y="4081684"/>
                  <a:ext cx="69598" cy="71683"/>
                </a:xfrm>
                <a:custGeom>
                  <a:avLst/>
                  <a:gdLst>
                    <a:gd name="connsiteX0" fmla="*/ 61035 w 69598"/>
                    <a:gd name="connsiteY0" fmla="*/ 0 h 71683"/>
                    <a:gd name="connsiteX1" fmla="*/ 8556 w 69598"/>
                    <a:gd name="connsiteY1" fmla="*/ 0 h 71683"/>
                    <a:gd name="connsiteX2" fmla="*/ 0 w 69598"/>
                    <a:gd name="connsiteY2" fmla="*/ 8556 h 71683"/>
                    <a:gd name="connsiteX3" fmla="*/ 0 w 69598"/>
                    <a:gd name="connsiteY3" fmla="*/ 63127 h 71683"/>
                    <a:gd name="connsiteX4" fmla="*/ 8556 w 69598"/>
                    <a:gd name="connsiteY4" fmla="*/ 71683 h 71683"/>
                    <a:gd name="connsiteX5" fmla="*/ 61035 w 69598"/>
                    <a:gd name="connsiteY5" fmla="*/ 71683 h 71683"/>
                    <a:gd name="connsiteX6" fmla="*/ 69592 w 69598"/>
                    <a:gd name="connsiteY6" fmla="*/ 63127 h 71683"/>
                    <a:gd name="connsiteX7" fmla="*/ 69592 w 69598"/>
                    <a:gd name="connsiteY7" fmla="*/ 8556 h 71683"/>
                    <a:gd name="connsiteX8" fmla="*/ 61035 w 69598"/>
                    <a:gd name="connsiteY8" fmla="*/ 0 h 71683"/>
                    <a:gd name="connsiteX9" fmla="*/ 52479 w 69598"/>
                    <a:gd name="connsiteY9" fmla="*/ 54570 h 71683"/>
                    <a:gd name="connsiteX10" fmla="*/ 17113 w 69598"/>
                    <a:gd name="connsiteY10" fmla="*/ 54570 h 71683"/>
                    <a:gd name="connsiteX11" fmla="*/ 17113 w 69598"/>
                    <a:gd name="connsiteY11" fmla="*/ 17303 h 71683"/>
                    <a:gd name="connsiteX12" fmla="*/ 52479 w 69598"/>
                    <a:gd name="connsiteY12" fmla="*/ 17303 h 71683"/>
                    <a:gd name="connsiteX13" fmla="*/ 52479 w 69598"/>
                    <a:gd name="connsiteY13" fmla="*/ 54570 h 7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598" h="71683">
                      <a:moveTo>
                        <a:pt x="61035" y="0"/>
                      </a:moveTo>
                      <a:lnTo>
                        <a:pt x="8556" y="0"/>
                      </a:lnTo>
                      <a:cubicBezTo>
                        <a:pt x="3803" y="0"/>
                        <a:pt x="0" y="3803"/>
                        <a:pt x="0" y="8556"/>
                      </a:cubicBezTo>
                      <a:lnTo>
                        <a:pt x="0" y="63127"/>
                      </a:lnTo>
                      <a:cubicBezTo>
                        <a:pt x="0" y="67880"/>
                        <a:pt x="3803" y="71683"/>
                        <a:pt x="8556" y="71683"/>
                      </a:cubicBezTo>
                      <a:lnTo>
                        <a:pt x="61035" y="71683"/>
                      </a:lnTo>
                      <a:cubicBezTo>
                        <a:pt x="65789" y="71683"/>
                        <a:pt x="69592" y="67880"/>
                        <a:pt x="69592" y="63127"/>
                      </a:cubicBezTo>
                      <a:lnTo>
                        <a:pt x="69592" y="8556"/>
                      </a:lnTo>
                      <a:cubicBezTo>
                        <a:pt x="69782" y="3993"/>
                        <a:pt x="65789" y="0"/>
                        <a:pt x="61035" y="0"/>
                      </a:cubicBezTo>
                      <a:close/>
                      <a:moveTo>
                        <a:pt x="52479" y="54570"/>
                      </a:moveTo>
                      <a:lnTo>
                        <a:pt x="17113" y="54570"/>
                      </a:lnTo>
                      <a:lnTo>
                        <a:pt x="17113" y="17303"/>
                      </a:lnTo>
                      <a:lnTo>
                        <a:pt x="52479" y="17303"/>
                      </a:lnTo>
                      <a:lnTo>
                        <a:pt x="52479" y="54570"/>
                      </a:lnTo>
                      <a:close/>
                    </a:path>
                  </a:pathLst>
                </a:custGeom>
                <a:grpFill/>
                <a:ln w="1878" cap="flat">
                  <a:noFill/>
                  <a:prstDash val="solid"/>
                  <a:miter/>
                </a:ln>
              </p:spPr>
              <p:txBody>
                <a:bodyPr rtlCol="0" anchor="ctr"/>
                <a:lstStyle/>
                <a:p>
                  <a:endParaRPr lang="en-GB" noProof="0" dirty="0"/>
                </a:p>
              </p:txBody>
            </p:sp>
            <p:sp>
              <p:nvSpPr>
                <p:cNvPr id="206" name="Freihandform: Form 205">
                  <a:extLst>
                    <a:ext uri="{FF2B5EF4-FFF2-40B4-BE49-F238E27FC236}">
                      <a16:creationId xmlns:a16="http://schemas.microsoft.com/office/drawing/2014/main" id="{D3528504-B604-1095-1D54-D751D7BF6677}"/>
                    </a:ext>
                  </a:extLst>
                </p:cNvPr>
                <p:cNvSpPr/>
                <p:nvPr/>
              </p:nvSpPr>
              <p:spPr>
                <a:xfrm>
                  <a:off x="4771689" y="4081684"/>
                  <a:ext cx="69598" cy="71683"/>
                </a:xfrm>
                <a:custGeom>
                  <a:avLst/>
                  <a:gdLst>
                    <a:gd name="connsiteX0" fmla="*/ 61225 w 69598"/>
                    <a:gd name="connsiteY0" fmla="*/ 0 h 71683"/>
                    <a:gd name="connsiteX1" fmla="*/ 8556 w 69598"/>
                    <a:gd name="connsiteY1" fmla="*/ 0 h 71683"/>
                    <a:gd name="connsiteX2" fmla="*/ 0 w 69598"/>
                    <a:gd name="connsiteY2" fmla="*/ 8556 h 71683"/>
                    <a:gd name="connsiteX3" fmla="*/ 0 w 69598"/>
                    <a:gd name="connsiteY3" fmla="*/ 63127 h 71683"/>
                    <a:gd name="connsiteX4" fmla="*/ 8556 w 69598"/>
                    <a:gd name="connsiteY4" fmla="*/ 71683 h 71683"/>
                    <a:gd name="connsiteX5" fmla="*/ 61035 w 69598"/>
                    <a:gd name="connsiteY5" fmla="*/ 71683 h 71683"/>
                    <a:gd name="connsiteX6" fmla="*/ 69592 w 69598"/>
                    <a:gd name="connsiteY6" fmla="*/ 63127 h 71683"/>
                    <a:gd name="connsiteX7" fmla="*/ 69592 w 69598"/>
                    <a:gd name="connsiteY7" fmla="*/ 8556 h 71683"/>
                    <a:gd name="connsiteX8" fmla="*/ 61225 w 69598"/>
                    <a:gd name="connsiteY8" fmla="*/ 0 h 71683"/>
                    <a:gd name="connsiteX9" fmla="*/ 52479 w 69598"/>
                    <a:gd name="connsiteY9" fmla="*/ 54570 h 71683"/>
                    <a:gd name="connsiteX10" fmla="*/ 17303 w 69598"/>
                    <a:gd name="connsiteY10" fmla="*/ 54570 h 71683"/>
                    <a:gd name="connsiteX11" fmla="*/ 17303 w 69598"/>
                    <a:gd name="connsiteY11" fmla="*/ 17303 h 71683"/>
                    <a:gd name="connsiteX12" fmla="*/ 52479 w 69598"/>
                    <a:gd name="connsiteY12" fmla="*/ 17303 h 71683"/>
                    <a:gd name="connsiteX13" fmla="*/ 52479 w 69598"/>
                    <a:gd name="connsiteY13" fmla="*/ 54570 h 7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598" h="71683">
                      <a:moveTo>
                        <a:pt x="61225" y="0"/>
                      </a:moveTo>
                      <a:lnTo>
                        <a:pt x="8556" y="0"/>
                      </a:lnTo>
                      <a:cubicBezTo>
                        <a:pt x="3803" y="0"/>
                        <a:pt x="0" y="3803"/>
                        <a:pt x="0" y="8556"/>
                      </a:cubicBezTo>
                      <a:lnTo>
                        <a:pt x="0" y="63127"/>
                      </a:lnTo>
                      <a:cubicBezTo>
                        <a:pt x="0" y="67880"/>
                        <a:pt x="3803" y="71683"/>
                        <a:pt x="8556" y="71683"/>
                      </a:cubicBezTo>
                      <a:lnTo>
                        <a:pt x="61035" y="71683"/>
                      </a:lnTo>
                      <a:cubicBezTo>
                        <a:pt x="65789" y="71683"/>
                        <a:pt x="69592" y="67880"/>
                        <a:pt x="69592" y="63127"/>
                      </a:cubicBezTo>
                      <a:lnTo>
                        <a:pt x="69592" y="8556"/>
                      </a:lnTo>
                      <a:cubicBezTo>
                        <a:pt x="69782" y="3993"/>
                        <a:pt x="65979" y="0"/>
                        <a:pt x="61225" y="0"/>
                      </a:cubicBezTo>
                      <a:close/>
                      <a:moveTo>
                        <a:pt x="52479" y="54570"/>
                      </a:moveTo>
                      <a:lnTo>
                        <a:pt x="17303" y="54570"/>
                      </a:lnTo>
                      <a:lnTo>
                        <a:pt x="17303" y="17303"/>
                      </a:lnTo>
                      <a:lnTo>
                        <a:pt x="52479" y="17303"/>
                      </a:lnTo>
                      <a:lnTo>
                        <a:pt x="52479" y="54570"/>
                      </a:lnTo>
                      <a:close/>
                    </a:path>
                  </a:pathLst>
                </a:custGeom>
                <a:grpFill/>
                <a:ln w="1878" cap="flat">
                  <a:noFill/>
                  <a:prstDash val="solid"/>
                  <a:miter/>
                </a:ln>
              </p:spPr>
              <p:txBody>
                <a:bodyPr rtlCol="0" anchor="ctr"/>
                <a:lstStyle/>
                <a:p>
                  <a:endParaRPr lang="en-GB" noProof="0" dirty="0"/>
                </a:p>
              </p:txBody>
            </p:sp>
            <p:sp>
              <p:nvSpPr>
                <p:cNvPr id="207" name="Freihandform: Form 206">
                  <a:extLst>
                    <a:ext uri="{FF2B5EF4-FFF2-40B4-BE49-F238E27FC236}">
                      <a16:creationId xmlns:a16="http://schemas.microsoft.com/office/drawing/2014/main" id="{11138CCE-C4E1-7D44-0417-26A37900D5F1}"/>
                    </a:ext>
                  </a:extLst>
                </p:cNvPr>
                <p:cNvSpPr/>
                <p:nvPr/>
              </p:nvSpPr>
              <p:spPr>
                <a:xfrm>
                  <a:off x="4771689" y="3966269"/>
                  <a:ext cx="122640" cy="71683"/>
                </a:xfrm>
                <a:custGeom>
                  <a:avLst/>
                  <a:gdLst>
                    <a:gd name="connsiteX0" fmla="*/ 8556 w 122640"/>
                    <a:gd name="connsiteY0" fmla="*/ 71683 h 71683"/>
                    <a:gd name="connsiteX1" fmla="*/ 114085 w 122640"/>
                    <a:gd name="connsiteY1" fmla="*/ 71683 h 71683"/>
                    <a:gd name="connsiteX2" fmla="*/ 122641 w 122640"/>
                    <a:gd name="connsiteY2" fmla="*/ 63127 h 71683"/>
                    <a:gd name="connsiteX3" fmla="*/ 122641 w 122640"/>
                    <a:gd name="connsiteY3" fmla="*/ 8556 h 71683"/>
                    <a:gd name="connsiteX4" fmla="*/ 114085 w 122640"/>
                    <a:gd name="connsiteY4" fmla="*/ 0 h 71683"/>
                    <a:gd name="connsiteX5" fmla="*/ 8556 w 122640"/>
                    <a:gd name="connsiteY5" fmla="*/ 0 h 71683"/>
                    <a:gd name="connsiteX6" fmla="*/ 0 w 122640"/>
                    <a:gd name="connsiteY6" fmla="*/ 8556 h 71683"/>
                    <a:gd name="connsiteX7" fmla="*/ 0 w 122640"/>
                    <a:gd name="connsiteY7" fmla="*/ 63127 h 71683"/>
                    <a:gd name="connsiteX8" fmla="*/ 8556 w 122640"/>
                    <a:gd name="connsiteY8" fmla="*/ 71683 h 71683"/>
                    <a:gd name="connsiteX9" fmla="*/ 105528 w 122640"/>
                    <a:gd name="connsiteY9" fmla="*/ 54570 h 71683"/>
                    <a:gd name="connsiteX10" fmla="*/ 69972 w 122640"/>
                    <a:gd name="connsiteY10" fmla="*/ 54570 h 71683"/>
                    <a:gd name="connsiteX11" fmla="*/ 69972 w 122640"/>
                    <a:gd name="connsiteY11" fmla="*/ 17303 h 71683"/>
                    <a:gd name="connsiteX12" fmla="*/ 105528 w 122640"/>
                    <a:gd name="connsiteY12" fmla="*/ 17303 h 71683"/>
                    <a:gd name="connsiteX13" fmla="*/ 105528 w 122640"/>
                    <a:gd name="connsiteY13" fmla="*/ 54570 h 71683"/>
                    <a:gd name="connsiteX14" fmla="*/ 17303 w 122640"/>
                    <a:gd name="connsiteY14" fmla="*/ 17113 h 71683"/>
                    <a:gd name="connsiteX15" fmla="*/ 52859 w 122640"/>
                    <a:gd name="connsiteY15" fmla="*/ 17113 h 71683"/>
                    <a:gd name="connsiteX16" fmla="*/ 52859 w 122640"/>
                    <a:gd name="connsiteY16" fmla="*/ 54380 h 71683"/>
                    <a:gd name="connsiteX17" fmla="*/ 17303 w 122640"/>
                    <a:gd name="connsiteY17" fmla="*/ 54380 h 71683"/>
                    <a:gd name="connsiteX18" fmla="*/ 17303 w 122640"/>
                    <a:gd name="connsiteY18" fmla="*/ 17113 h 7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2640" h="71683">
                      <a:moveTo>
                        <a:pt x="8556" y="71683"/>
                      </a:moveTo>
                      <a:lnTo>
                        <a:pt x="114085" y="71683"/>
                      </a:lnTo>
                      <a:cubicBezTo>
                        <a:pt x="118838" y="71683"/>
                        <a:pt x="122641" y="67880"/>
                        <a:pt x="122641" y="63127"/>
                      </a:cubicBezTo>
                      <a:lnTo>
                        <a:pt x="122641" y="8556"/>
                      </a:lnTo>
                      <a:cubicBezTo>
                        <a:pt x="122641" y="3803"/>
                        <a:pt x="118838" y="0"/>
                        <a:pt x="114085" y="0"/>
                      </a:cubicBezTo>
                      <a:lnTo>
                        <a:pt x="8556" y="0"/>
                      </a:lnTo>
                      <a:cubicBezTo>
                        <a:pt x="3803" y="0"/>
                        <a:pt x="0" y="3803"/>
                        <a:pt x="0" y="8556"/>
                      </a:cubicBezTo>
                      <a:lnTo>
                        <a:pt x="0" y="63127"/>
                      </a:lnTo>
                      <a:cubicBezTo>
                        <a:pt x="0" y="67880"/>
                        <a:pt x="3803" y="71683"/>
                        <a:pt x="8556" y="71683"/>
                      </a:cubicBezTo>
                      <a:close/>
                      <a:moveTo>
                        <a:pt x="105528" y="54570"/>
                      </a:moveTo>
                      <a:lnTo>
                        <a:pt x="69972" y="54570"/>
                      </a:lnTo>
                      <a:lnTo>
                        <a:pt x="69972" y="17303"/>
                      </a:lnTo>
                      <a:lnTo>
                        <a:pt x="105528" y="17303"/>
                      </a:lnTo>
                      <a:lnTo>
                        <a:pt x="105528" y="54570"/>
                      </a:lnTo>
                      <a:close/>
                      <a:moveTo>
                        <a:pt x="17303" y="17113"/>
                      </a:moveTo>
                      <a:lnTo>
                        <a:pt x="52859" y="17113"/>
                      </a:lnTo>
                      <a:lnTo>
                        <a:pt x="52859" y="54380"/>
                      </a:lnTo>
                      <a:lnTo>
                        <a:pt x="17303" y="54380"/>
                      </a:lnTo>
                      <a:lnTo>
                        <a:pt x="17303" y="17113"/>
                      </a:lnTo>
                      <a:close/>
                    </a:path>
                  </a:pathLst>
                </a:custGeom>
                <a:grpFill/>
                <a:ln w="1878" cap="flat">
                  <a:noFill/>
                  <a:prstDash val="solid"/>
                  <a:miter/>
                </a:ln>
              </p:spPr>
              <p:txBody>
                <a:bodyPr rtlCol="0" anchor="ctr"/>
                <a:lstStyle/>
                <a:p>
                  <a:endParaRPr lang="en-GB" noProof="0" dirty="0"/>
                </a:p>
              </p:txBody>
            </p:sp>
            <p:sp>
              <p:nvSpPr>
                <p:cNvPr id="208" name="Freihandform: Form 207">
                  <a:extLst>
                    <a:ext uri="{FF2B5EF4-FFF2-40B4-BE49-F238E27FC236}">
                      <a16:creationId xmlns:a16="http://schemas.microsoft.com/office/drawing/2014/main" id="{3A605F5A-2616-3628-47C7-08A9EDB08F76}"/>
                    </a:ext>
                  </a:extLst>
                </p:cNvPr>
                <p:cNvSpPr/>
                <p:nvPr/>
              </p:nvSpPr>
              <p:spPr>
                <a:xfrm>
                  <a:off x="4944901" y="3966269"/>
                  <a:ext cx="122647" cy="71683"/>
                </a:xfrm>
                <a:custGeom>
                  <a:avLst/>
                  <a:gdLst>
                    <a:gd name="connsiteX0" fmla="*/ 8563 w 122647"/>
                    <a:gd name="connsiteY0" fmla="*/ 71683 h 71683"/>
                    <a:gd name="connsiteX1" fmla="*/ 114091 w 122647"/>
                    <a:gd name="connsiteY1" fmla="*/ 71683 h 71683"/>
                    <a:gd name="connsiteX2" fmla="*/ 122647 w 122647"/>
                    <a:gd name="connsiteY2" fmla="*/ 63127 h 71683"/>
                    <a:gd name="connsiteX3" fmla="*/ 122647 w 122647"/>
                    <a:gd name="connsiteY3" fmla="*/ 8556 h 71683"/>
                    <a:gd name="connsiteX4" fmla="*/ 114091 w 122647"/>
                    <a:gd name="connsiteY4" fmla="*/ 0 h 71683"/>
                    <a:gd name="connsiteX5" fmla="*/ 8563 w 122647"/>
                    <a:gd name="connsiteY5" fmla="*/ 0 h 71683"/>
                    <a:gd name="connsiteX6" fmla="*/ 7 w 122647"/>
                    <a:gd name="connsiteY6" fmla="*/ 8556 h 71683"/>
                    <a:gd name="connsiteX7" fmla="*/ 7 w 122647"/>
                    <a:gd name="connsiteY7" fmla="*/ 63127 h 71683"/>
                    <a:gd name="connsiteX8" fmla="*/ 8563 w 122647"/>
                    <a:gd name="connsiteY8" fmla="*/ 71683 h 71683"/>
                    <a:gd name="connsiteX9" fmla="*/ 105345 w 122647"/>
                    <a:gd name="connsiteY9" fmla="*/ 54570 h 71683"/>
                    <a:gd name="connsiteX10" fmla="*/ 69788 w 122647"/>
                    <a:gd name="connsiteY10" fmla="*/ 54570 h 71683"/>
                    <a:gd name="connsiteX11" fmla="*/ 69788 w 122647"/>
                    <a:gd name="connsiteY11" fmla="*/ 17303 h 71683"/>
                    <a:gd name="connsiteX12" fmla="*/ 105345 w 122647"/>
                    <a:gd name="connsiteY12" fmla="*/ 17303 h 71683"/>
                    <a:gd name="connsiteX13" fmla="*/ 105345 w 122647"/>
                    <a:gd name="connsiteY13" fmla="*/ 54570 h 71683"/>
                    <a:gd name="connsiteX14" fmla="*/ 17119 w 122647"/>
                    <a:gd name="connsiteY14" fmla="*/ 17113 h 71683"/>
                    <a:gd name="connsiteX15" fmla="*/ 52676 w 122647"/>
                    <a:gd name="connsiteY15" fmla="*/ 17113 h 71683"/>
                    <a:gd name="connsiteX16" fmla="*/ 52676 w 122647"/>
                    <a:gd name="connsiteY16" fmla="*/ 54380 h 71683"/>
                    <a:gd name="connsiteX17" fmla="*/ 17119 w 122647"/>
                    <a:gd name="connsiteY17" fmla="*/ 54380 h 71683"/>
                    <a:gd name="connsiteX18" fmla="*/ 17119 w 122647"/>
                    <a:gd name="connsiteY18" fmla="*/ 17113 h 7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2647" h="71683">
                      <a:moveTo>
                        <a:pt x="8563" y="71683"/>
                      </a:moveTo>
                      <a:lnTo>
                        <a:pt x="114091" y="71683"/>
                      </a:lnTo>
                      <a:cubicBezTo>
                        <a:pt x="118845" y="71683"/>
                        <a:pt x="122647" y="67880"/>
                        <a:pt x="122647" y="63127"/>
                      </a:cubicBezTo>
                      <a:lnTo>
                        <a:pt x="122647" y="8556"/>
                      </a:lnTo>
                      <a:cubicBezTo>
                        <a:pt x="122647" y="3803"/>
                        <a:pt x="118845" y="0"/>
                        <a:pt x="114091" y="0"/>
                      </a:cubicBezTo>
                      <a:lnTo>
                        <a:pt x="8563" y="0"/>
                      </a:lnTo>
                      <a:cubicBezTo>
                        <a:pt x="3809" y="0"/>
                        <a:pt x="7" y="3803"/>
                        <a:pt x="7" y="8556"/>
                      </a:cubicBezTo>
                      <a:lnTo>
                        <a:pt x="7" y="63127"/>
                      </a:lnTo>
                      <a:cubicBezTo>
                        <a:pt x="-184" y="67880"/>
                        <a:pt x="3809" y="71683"/>
                        <a:pt x="8563" y="71683"/>
                      </a:cubicBezTo>
                      <a:close/>
                      <a:moveTo>
                        <a:pt x="105345" y="54570"/>
                      </a:moveTo>
                      <a:lnTo>
                        <a:pt x="69788" y="54570"/>
                      </a:lnTo>
                      <a:lnTo>
                        <a:pt x="69788" y="17303"/>
                      </a:lnTo>
                      <a:lnTo>
                        <a:pt x="105345" y="17303"/>
                      </a:lnTo>
                      <a:lnTo>
                        <a:pt x="105345" y="54570"/>
                      </a:lnTo>
                      <a:close/>
                      <a:moveTo>
                        <a:pt x="17119" y="17113"/>
                      </a:moveTo>
                      <a:lnTo>
                        <a:pt x="52676" y="17113"/>
                      </a:lnTo>
                      <a:lnTo>
                        <a:pt x="52676" y="54380"/>
                      </a:lnTo>
                      <a:lnTo>
                        <a:pt x="17119" y="54380"/>
                      </a:lnTo>
                      <a:lnTo>
                        <a:pt x="17119" y="17113"/>
                      </a:lnTo>
                      <a:close/>
                    </a:path>
                  </a:pathLst>
                </a:custGeom>
                <a:grpFill/>
                <a:ln w="1878" cap="flat">
                  <a:noFill/>
                  <a:prstDash val="solid"/>
                  <a:miter/>
                </a:ln>
              </p:spPr>
              <p:txBody>
                <a:bodyPr rtlCol="0" anchor="ctr"/>
                <a:lstStyle/>
                <a:p>
                  <a:endParaRPr lang="en-GB" noProof="0" dirty="0"/>
                </a:p>
              </p:txBody>
            </p:sp>
            <p:sp>
              <p:nvSpPr>
                <p:cNvPr id="209" name="Freihandform: Form 208">
                  <a:extLst>
                    <a:ext uri="{FF2B5EF4-FFF2-40B4-BE49-F238E27FC236}">
                      <a16:creationId xmlns:a16="http://schemas.microsoft.com/office/drawing/2014/main" id="{C2825FB6-6413-C142-B1CA-472C9E174B65}"/>
                    </a:ext>
                  </a:extLst>
                </p:cNvPr>
                <p:cNvSpPr/>
                <p:nvPr/>
              </p:nvSpPr>
              <p:spPr>
                <a:xfrm>
                  <a:off x="4944901" y="3850853"/>
                  <a:ext cx="122647" cy="71683"/>
                </a:xfrm>
                <a:custGeom>
                  <a:avLst/>
                  <a:gdLst>
                    <a:gd name="connsiteX0" fmla="*/ 8563 w 122647"/>
                    <a:gd name="connsiteY0" fmla="*/ 71683 h 71683"/>
                    <a:gd name="connsiteX1" fmla="*/ 114091 w 122647"/>
                    <a:gd name="connsiteY1" fmla="*/ 71683 h 71683"/>
                    <a:gd name="connsiteX2" fmla="*/ 122647 w 122647"/>
                    <a:gd name="connsiteY2" fmla="*/ 63127 h 71683"/>
                    <a:gd name="connsiteX3" fmla="*/ 122647 w 122647"/>
                    <a:gd name="connsiteY3" fmla="*/ 8556 h 71683"/>
                    <a:gd name="connsiteX4" fmla="*/ 114091 w 122647"/>
                    <a:gd name="connsiteY4" fmla="*/ 0 h 71683"/>
                    <a:gd name="connsiteX5" fmla="*/ 8563 w 122647"/>
                    <a:gd name="connsiteY5" fmla="*/ 0 h 71683"/>
                    <a:gd name="connsiteX6" fmla="*/ 7 w 122647"/>
                    <a:gd name="connsiteY6" fmla="*/ 8556 h 71683"/>
                    <a:gd name="connsiteX7" fmla="*/ 7 w 122647"/>
                    <a:gd name="connsiteY7" fmla="*/ 63127 h 71683"/>
                    <a:gd name="connsiteX8" fmla="*/ 8563 w 122647"/>
                    <a:gd name="connsiteY8" fmla="*/ 71683 h 71683"/>
                    <a:gd name="connsiteX9" fmla="*/ 105345 w 122647"/>
                    <a:gd name="connsiteY9" fmla="*/ 54380 h 71683"/>
                    <a:gd name="connsiteX10" fmla="*/ 69788 w 122647"/>
                    <a:gd name="connsiteY10" fmla="*/ 54380 h 71683"/>
                    <a:gd name="connsiteX11" fmla="*/ 69788 w 122647"/>
                    <a:gd name="connsiteY11" fmla="*/ 17113 h 71683"/>
                    <a:gd name="connsiteX12" fmla="*/ 105345 w 122647"/>
                    <a:gd name="connsiteY12" fmla="*/ 17113 h 71683"/>
                    <a:gd name="connsiteX13" fmla="*/ 105345 w 122647"/>
                    <a:gd name="connsiteY13" fmla="*/ 54380 h 71683"/>
                    <a:gd name="connsiteX14" fmla="*/ 17119 w 122647"/>
                    <a:gd name="connsiteY14" fmla="*/ 17113 h 71683"/>
                    <a:gd name="connsiteX15" fmla="*/ 52676 w 122647"/>
                    <a:gd name="connsiteY15" fmla="*/ 17113 h 71683"/>
                    <a:gd name="connsiteX16" fmla="*/ 52676 w 122647"/>
                    <a:gd name="connsiteY16" fmla="*/ 54380 h 71683"/>
                    <a:gd name="connsiteX17" fmla="*/ 17119 w 122647"/>
                    <a:gd name="connsiteY17" fmla="*/ 54380 h 71683"/>
                    <a:gd name="connsiteX18" fmla="*/ 17119 w 122647"/>
                    <a:gd name="connsiteY18" fmla="*/ 17113 h 7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2647" h="71683">
                      <a:moveTo>
                        <a:pt x="8563" y="71683"/>
                      </a:moveTo>
                      <a:lnTo>
                        <a:pt x="114091" y="71683"/>
                      </a:lnTo>
                      <a:cubicBezTo>
                        <a:pt x="118845" y="71683"/>
                        <a:pt x="122647" y="67880"/>
                        <a:pt x="122647" y="63127"/>
                      </a:cubicBezTo>
                      <a:lnTo>
                        <a:pt x="122647" y="8556"/>
                      </a:lnTo>
                      <a:cubicBezTo>
                        <a:pt x="122647" y="3803"/>
                        <a:pt x="118845" y="0"/>
                        <a:pt x="114091" y="0"/>
                      </a:cubicBezTo>
                      <a:lnTo>
                        <a:pt x="8563" y="0"/>
                      </a:lnTo>
                      <a:cubicBezTo>
                        <a:pt x="3809" y="0"/>
                        <a:pt x="7" y="3803"/>
                        <a:pt x="7" y="8556"/>
                      </a:cubicBezTo>
                      <a:lnTo>
                        <a:pt x="7" y="63127"/>
                      </a:lnTo>
                      <a:cubicBezTo>
                        <a:pt x="-184" y="67880"/>
                        <a:pt x="3809" y="71683"/>
                        <a:pt x="8563" y="71683"/>
                      </a:cubicBezTo>
                      <a:close/>
                      <a:moveTo>
                        <a:pt x="105345" y="54380"/>
                      </a:moveTo>
                      <a:lnTo>
                        <a:pt x="69788" y="54380"/>
                      </a:lnTo>
                      <a:lnTo>
                        <a:pt x="69788" y="17113"/>
                      </a:lnTo>
                      <a:lnTo>
                        <a:pt x="105345" y="17113"/>
                      </a:lnTo>
                      <a:lnTo>
                        <a:pt x="105345" y="54380"/>
                      </a:lnTo>
                      <a:close/>
                      <a:moveTo>
                        <a:pt x="17119" y="17113"/>
                      </a:moveTo>
                      <a:lnTo>
                        <a:pt x="52676" y="17113"/>
                      </a:lnTo>
                      <a:lnTo>
                        <a:pt x="52676" y="54380"/>
                      </a:lnTo>
                      <a:lnTo>
                        <a:pt x="17119" y="54380"/>
                      </a:lnTo>
                      <a:lnTo>
                        <a:pt x="17119" y="17113"/>
                      </a:lnTo>
                      <a:close/>
                    </a:path>
                  </a:pathLst>
                </a:custGeom>
                <a:grpFill/>
                <a:ln w="1878" cap="flat">
                  <a:noFill/>
                  <a:prstDash val="solid"/>
                  <a:miter/>
                </a:ln>
              </p:spPr>
              <p:txBody>
                <a:bodyPr rtlCol="0" anchor="ctr"/>
                <a:lstStyle/>
                <a:p>
                  <a:endParaRPr lang="en-GB" noProof="0" dirty="0"/>
                </a:p>
              </p:txBody>
            </p:sp>
            <p:sp>
              <p:nvSpPr>
                <p:cNvPr id="210" name="Freihandform: Form 209">
                  <a:extLst>
                    <a:ext uri="{FF2B5EF4-FFF2-40B4-BE49-F238E27FC236}">
                      <a16:creationId xmlns:a16="http://schemas.microsoft.com/office/drawing/2014/main" id="{00636330-8F5A-3D9A-B366-0C86EFED8981}"/>
                    </a:ext>
                  </a:extLst>
                </p:cNvPr>
                <p:cNvSpPr/>
                <p:nvPr/>
              </p:nvSpPr>
              <p:spPr>
                <a:xfrm>
                  <a:off x="4771689" y="3850853"/>
                  <a:ext cx="122640" cy="71683"/>
                </a:xfrm>
                <a:custGeom>
                  <a:avLst/>
                  <a:gdLst>
                    <a:gd name="connsiteX0" fmla="*/ 8556 w 122640"/>
                    <a:gd name="connsiteY0" fmla="*/ 71683 h 71683"/>
                    <a:gd name="connsiteX1" fmla="*/ 114085 w 122640"/>
                    <a:gd name="connsiteY1" fmla="*/ 71683 h 71683"/>
                    <a:gd name="connsiteX2" fmla="*/ 122641 w 122640"/>
                    <a:gd name="connsiteY2" fmla="*/ 63127 h 71683"/>
                    <a:gd name="connsiteX3" fmla="*/ 122641 w 122640"/>
                    <a:gd name="connsiteY3" fmla="*/ 8556 h 71683"/>
                    <a:gd name="connsiteX4" fmla="*/ 114085 w 122640"/>
                    <a:gd name="connsiteY4" fmla="*/ 0 h 71683"/>
                    <a:gd name="connsiteX5" fmla="*/ 8556 w 122640"/>
                    <a:gd name="connsiteY5" fmla="*/ 0 h 71683"/>
                    <a:gd name="connsiteX6" fmla="*/ 0 w 122640"/>
                    <a:gd name="connsiteY6" fmla="*/ 8556 h 71683"/>
                    <a:gd name="connsiteX7" fmla="*/ 0 w 122640"/>
                    <a:gd name="connsiteY7" fmla="*/ 63127 h 71683"/>
                    <a:gd name="connsiteX8" fmla="*/ 8556 w 122640"/>
                    <a:gd name="connsiteY8" fmla="*/ 71683 h 71683"/>
                    <a:gd name="connsiteX9" fmla="*/ 105528 w 122640"/>
                    <a:gd name="connsiteY9" fmla="*/ 54380 h 71683"/>
                    <a:gd name="connsiteX10" fmla="*/ 69972 w 122640"/>
                    <a:gd name="connsiteY10" fmla="*/ 54380 h 71683"/>
                    <a:gd name="connsiteX11" fmla="*/ 69972 w 122640"/>
                    <a:gd name="connsiteY11" fmla="*/ 17113 h 71683"/>
                    <a:gd name="connsiteX12" fmla="*/ 105528 w 122640"/>
                    <a:gd name="connsiteY12" fmla="*/ 17113 h 71683"/>
                    <a:gd name="connsiteX13" fmla="*/ 105528 w 122640"/>
                    <a:gd name="connsiteY13" fmla="*/ 54380 h 71683"/>
                    <a:gd name="connsiteX14" fmla="*/ 17303 w 122640"/>
                    <a:gd name="connsiteY14" fmla="*/ 17113 h 71683"/>
                    <a:gd name="connsiteX15" fmla="*/ 52859 w 122640"/>
                    <a:gd name="connsiteY15" fmla="*/ 17113 h 71683"/>
                    <a:gd name="connsiteX16" fmla="*/ 52859 w 122640"/>
                    <a:gd name="connsiteY16" fmla="*/ 54380 h 71683"/>
                    <a:gd name="connsiteX17" fmla="*/ 17303 w 122640"/>
                    <a:gd name="connsiteY17" fmla="*/ 54380 h 71683"/>
                    <a:gd name="connsiteX18" fmla="*/ 17303 w 122640"/>
                    <a:gd name="connsiteY18" fmla="*/ 17113 h 7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2640" h="71683">
                      <a:moveTo>
                        <a:pt x="8556" y="71683"/>
                      </a:moveTo>
                      <a:lnTo>
                        <a:pt x="114085" y="71683"/>
                      </a:lnTo>
                      <a:cubicBezTo>
                        <a:pt x="118838" y="71683"/>
                        <a:pt x="122641" y="67880"/>
                        <a:pt x="122641" y="63127"/>
                      </a:cubicBezTo>
                      <a:lnTo>
                        <a:pt x="122641" y="8556"/>
                      </a:lnTo>
                      <a:cubicBezTo>
                        <a:pt x="122641" y="3803"/>
                        <a:pt x="118838" y="0"/>
                        <a:pt x="114085" y="0"/>
                      </a:cubicBezTo>
                      <a:lnTo>
                        <a:pt x="8556" y="0"/>
                      </a:lnTo>
                      <a:cubicBezTo>
                        <a:pt x="3803" y="0"/>
                        <a:pt x="0" y="3803"/>
                        <a:pt x="0" y="8556"/>
                      </a:cubicBezTo>
                      <a:lnTo>
                        <a:pt x="0" y="63127"/>
                      </a:lnTo>
                      <a:cubicBezTo>
                        <a:pt x="0" y="67880"/>
                        <a:pt x="3803" y="71683"/>
                        <a:pt x="8556" y="71683"/>
                      </a:cubicBezTo>
                      <a:close/>
                      <a:moveTo>
                        <a:pt x="105528" y="54380"/>
                      </a:moveTo>
                      <a:lnTo>
                        <a:pt x="69972" y="54380"/>
                      </a:lnTo>
                      <a:lnTo>
                        <a:pt x="69972" y="17113"/>
                      </a:lnTo>
                      <a:lnTo>
                        <a:pt x="105528" y="17113"/>
                      </a:lnTo>
                      <a:lnTo>
                        <a:pt x="105528" y="54380"/>
                      </a:lnTo>
                      <a:close/>
                      <a:moveTo>
                        <a:pt x="17303" y="17113"/>
                      </a:moveTo>
                      <a:lnTo>
                        <a:pt x="52859" y="17113"/>
                      </a:lnTo>
                      <a:lnTo>
                        <a:pt x="52859" y="54380"/>
                      </a:lnTo>
                      <a:lnTo>
                        <a:pt x="17303" y="54380"/>
                      </a:lnTo>
                      <a:lnTo>
                        <a:pt x="17303" y="17113"/>
                      </a:lnTo>
                      <a:close/>
                    </a:path>
                  </a:pathLst>
                </a:custGeom>
                <a:grpFill/>
                <a:ln w="1878" cap="flat">
                  <a:noFill/>
                  <a:prstDash val="solid"/>
                  <a:miter/>
                </a:ln>
              </p:spPr>
              <p:txBody>
                <a:bodyPr rtlCol="0" anchor="ctr"/>
                <a:lstStyle/>
                <a:p>
                  <a:endParaRPr lang="en-GB" noProof="0" dirty="0"/>
                </a:p>
              </p:txBody>
            </p:sp>
          </p:grpSp>
        </p:grpSp>
      </p:grpSp>
      <p:grpSp>
        <p:nvGrpSpPr>
          <p:cNvPr id="264" name="Grafik 138">
            <a:extLst>
              <a:ext uri="{FF2B5EF4-FFF2-40B4-BE49-F238E27FC236}">
                <a16:creationId xmlns:a16="http://schemas.microsoft.com/office/drawing/2014/main" id="{A542A97B-8D09-2EC6-3640-49B1AB968E49}"/>
              </a:ext>
            </a:extLst>
          </p:cNvPr>
          <p:cNvGrpSpPr>
            <a:grpSpLocks noChangeAspect="1"/>
          </p:cNvGrpSpPr>
          <p:nvPr/>
        </p:nvGrpSpPr>
        <p:grpSpPr>
          <a:xfrm>
            <a:off x="2356729" y="3010237"/>
            <a:ext cx="294690" cy="294690"/>
            <a:chOff x="957731" y="3520661"/>
            <a:chExt cx="540000" cy="540000"/>
          </a:xfrm>
          <a:solidFill>
            <a:schemeClr val="accent1"/>
          </a:solidFill>
        </p:grpSpPr>
        <p:grpSp>
          <p:nvGrpSpPr>
            <p:cNvPr id="265" name="Grafik 138">
              <a:extLst>
                <a:ext uri="{FF2B5EF4-FFF2-40B4-BE49-F238E27FC236}">
                  <a16:creationId xmlns:a16="http://schemas.microsoft.com/office/drawing/2014/main" id="{11CD3EB1-3CCA-C73F-3A25-CD7ACFF3900E}"/>
                </a:ext>
              </a:extLst>
            </p:cNvPr>
            <p:cNvGrpSpPr/>
            <p:nvPr/>
          </p:nvGrpSpPr>
          <p:grpSpPr>
            <a:xfrm>
              <a:off x="957731" y="3520661"/>
              <a:ext cx="538859" cy="539049"/>
              <a:chOff x="957731" y="3520661"/>
              <a:chExt cx="538859" cy="539049"/>
            </a:xfrm>
            <a:grpFill/>
          </p:grpSpPr>
          <p:sp>
            <p:nvSpPr>
              <p:cNvPr id="266" name="Freihandform: Form 265">
                <a:extLst>
                  <a:ext uri="{FF2B5EF4-FFF2-40B4-BE49-F238E27FC236}">
                    <a16:creationId xmlns:a16="http://schemas.microsoft.com/office/drawing/2014/main" id="{8E3F589B-65EC-FE8B-D401-86E3C9AF852B}"/>
                  </a:ext>
                </a:extLst>
              </p:cNvPr>
              <p:cNvSpPr/>
              <p:nvPr/>
            </p:nvSpPr>
            <p:spPr>
              <a:xfrm>
                <a:off x="957731" y="3726963"/>
                <a:ext cx="538859" cy="332746"/>
              </a:xfrm>
              <a:custGeom>
                <a:avLst/>
                <a:gdLst>
                  <a:gd name="connsiteX0" fmla="*/ 56472 w 538859"/>
                  <a:gd name="connsiteY0" fmla="*/ 0 h 332746"/>
                  <a:gd name="connsiteX1" fmla="*/ 0 w 538859"/>
                  <a:gd name="connsiteY1" fmla="*/ 176641 h 332746"/>
                  <a:gd name="connsiteX2" fmla="*/ 73394 w 538859"/>
                  <a:gd name="connsiteY2" fmla="*/ 332746 h 332746"/>
                  <a:gd name="connsiteX3" fmla="*/ 488662 w 538859"/>
                  <a:gd name="connsiteY3" fmla="*/ 332746 h 332746"/>
                  <a:gd name="connsiteX4" fmla="*/ 538289 w 538859"/>
                  <a:gd name="connsiteY4" fmla="*/ 186338 h 332746"/>
                  <a:gd name="connsiteX5" fmla="*/ 538859 w 538859"/>
                  <a:gd name="connsiteY5" fmla="*/ 190 h 332746"/>
                  <a:gd name="connsiteX6" fmla="*/ 56472 w 538859"/>
                  <a:gd name="connsiteY6" fmla="*/ 190 h 332746"/>
                  <a:gd name="connsiteX7" fmla="*/ 521366 w 538859"/>
                  <a:gd name="connsiteY7" fmla="*/ 17493 h 332746"/>
                  <a:gd name="connsiteX8" fmla="*/ 520986 w 538859"/>
                  <a:gd name="connsiteY8" fmla="*/ 171507 h 332746"/>
                  <a:gd name="connsiteX9" fmla="*/ 409373 w 538859"/>
                  <a:gd name="connsiteY9" fmla="*/ 171507 h 332746"/>
                  <a:gd name="connsiteX10" fmla="*/ 409373 w 538859"/>
                  <a:gd name="connsiteY10" fmla="*/ 17493 h 332746"/>
                  <a:gd name="connsiteX11" fmla="*/ 521366 w 538859"/>
                  <a:gd name="connsiteY11" fmla="*/ 17493 h 332746"/>
                  <a:gd name="connsiteX12" fmla="*/ 25099 w 538859"/>
                  <a:gd name="connsiteY12" fmla="*/ 188810 h 332746"/>
                  <a:gd name="connsiteX13" fmla="*/ 519085 w 538859"/>
                  <a:gd name="connsiteY13" fmla="*/ 188810 h 332746"/>
                  <a:gd name="connsiteX14" fmla="*/ 508246 w 538859"/>
                  <a:gd name="connsiteY14" fmla="*/ 220754 h 332746"/>
                  <a:gd name="connsiteX15" fmla="*/ 40120 w 538859"/>
                  <a:gd name="connsiteY15" fmla="*/ 220754 h 332746"/>
                  <a:gd name="connsiteX16" fmla="*/ 25099 w 538859"/>
                  <a:gd name="connsiteY16" fmla="*/ 188810 h 332746"/>
                  <a:gd name="connsiteX17" fmla="*/ 391880 w 538859"/>
                  <a:gd name="connsiteY17" fmla="*/ 17493 h 332746"/>
                  <a:gd name="connsiteX18" fmla="*/ 391880 w 538859"/>
                  <a:gd name="connsiteY18" fmla="*/ 171507 h 332746"/>
                  <a:gd name="connsiteX19" fmla="*/ 284261 w 538859"/>
                  <a:gd name="connsiteY19" fmla="*/ 171507 h 332746"/>
                  <a:gd name="connsiteX20" fmla="*/ 284261 w 538859"/>
                  <a:gd name="connsiteY20" fmla="*/ 17493 h 332746"/>
                  <a:gd name="connsiteX21" fmla="*/ 391880 w 538859"/>
                  <a:gd name="connsiteY21" fmla="*/ 17493 h 332746"/>
                  <a:gd name="connsiteX22" fmla="*/ 266577 w 538859"/>
                  <a:gd name="connsiteY22" fmla="*/ 17493 h 332746"/>
                  <a:gd name="connsiteX23" fmla="*/ 266577 w 538859"/>
                  <a:gd name="connsiteY23" fmla="*/ 171507 h 332746"/>
                  <a:gd name="connsiteX24" fmla="*/ 158387 w 538859"/>
                  <a:gd name="connsiteY24" fmla="*/ 171507 h 332746"/>
                  <a:gd name="connsiteX25" fmla="*/ 158387 w 538859"/>
                  <a:gd name="connsiteY25" fmla="*/ 17493 h 332746"/>
                  <a:gd name="connsiteX26" fmla="*/ 266577 w 538859"/>
                  <a:gd name="connsiteY26" fmla="*/ 17493 h 332746"/>
                  <a:gd name="connsiteX27" fmla="*/ 69211 w 538859"/>
                  <a:gd name="connsiteY27" fmla="*/ 17493 h 332746"/>
                  <a:gd name="connsiteX28" fmla="*/ 140894 w 538859"/>
                  <a:gd name="connsiteY28" fmla="*/ 17493 h 332746"/>
                  <a:gd name="connsiteX29" fmla="*/ 140894 w 538859"/>
                  <a:gd name="connsiteY29" fmla="*/ 171507 h 332746"/>
                  <a:gd name="connsiteX30" fmla="*/ 19965 w 538859"/>
                  <a:gd name="connsiteY30" fmla="*/ 171507 h 332746"/>
                  <a:gd name="connsiteX31" fmla="*/ 69211 w 538859"/>
                  <a:gd name="connsiteY31" fmla="*/ 17493 h 332746"/>
                  <a:gd name="connsiteX32" fmla="*/ 476113 w 538859"/>
                  <a:gd name="connsiteY32" fmla="*/ 315254 h 332746"/>
                  <a:gd name="connsiteX33" fmla="*/ 84423 w 538859"/>
                  <a:gd name="connsiteY33" fmla="*/ 315254 h 332746"/>
                  <a:gd name="connsiteX34" fmla="*/ 48296 w 538859"/>
                  <a:gd name="connsiteY34" fmla="*/ 238246 h 332746"/>
                  <a:gd name="connsiteX35" fmla="*/ 502352 w 538859"/>
                  <a:gd name="connsiteY35" fmla="*/ 238246 h 332746"/>
                  <a:gd name="connsiteX36" fmla="*/ 476113 w 538859"/>
                  <a:gd name="connsiteY36" fmla="*/ 315254 h 33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38859" h="332746">
                    <a:moveTo>
                      <a:pt x="56472" y="0"/>
                    </a:moveTo>
                    <a:lnTo>
                      <a:pt x="0" y="176641"/>
                    </a:lnTo>
                    <a:lnTo>
                      <a:pt x="73394" y="332746"/>
                    </a:lnTo>
                    <a:lnTo>
                      <a:pt x="488662" y="332746"/>
                    </a:lnTo>
                    <a:lnTo>
                      <a:pt x="538289" y="186338"/>
                    </a:lnTo>
                    <a:lnTo>
                      <a:pt x="538859" y="190"/>
                    </a:lnTo>
                    <a:lnTo>
                      <a:pt x="56472" y="190"/>
                    </a:lnTo>
                    <a:close/>
                    <a:moveTo>
                      <a:pt x="521366" y="17493"/>
                    </a:moveTo>
                    <a:lnTo>
                      <a:pt x="520986" y="171507"/>
                    </a:lnTo>
                    <a:lnTo>
                      <a:pt x="409373" y="171507"/>
                    </a:lnTo>
                    <a:lnTo>
                      <a:pt x="409373" y="17493"/>
                    </a:lnTo>
                    <a:lnTo>
                      <a:pt x="521366" y="17493"/>
                    </a:lnTo>
                    <a:close/>
                    <a:moveTo>
                      <a:pt x="25099" y="188810"/>
                    </a:moveTo>
                    <a:lnTo>
                      <a:pt x="519085" y="188810"/>
                    </a:lnTo>
                    <a:lnTo>
                      <a:pt x="508246" y="220754"/>
                    </a:lnTo>
                    <a:lnTo>
                      <a:pt x="40120" y="220754"/>
                    </a:lnTo>
                    <a:lnTo>
                      <a:pt x="25099" y="188810"/>
                    </a:lnTo>
                    <a:close/>
                    <a:moveTo>
                      <a:pt x="391880" y="17493"/>
                    </a:moveTo>
                    <a:lnTo>
                      <a:pt x="391880" y="171507"/>
                    </a:lnTo>
                    <a:lnTo>
                      <a:pt x="284261" y="171507"/>
                    </a:lnTo>
                    <a:lnTo>
                      <a:pt x="284261" y="17493"/>
                    </a:lnTo>
                    <a:lnTo>
                      <a:pt x="391880" y="17493"/>
                    </a:lnTo>
                    <a:close/>
                    <a:moveTo>
                      <a:pt x="266577" y="17493"/>
                    </a:moveTo>
                    <a:lnTo>
                      <a:pt x="266577" y="171507"/>
                    </a:lnTo>
                    <a:lnTo>
                      <a:pt x="158387" y="171507"/>
                    </a:lnTo>
                    <a:lnTo>
                      <a:pt x="158387" y="17493"/>
                    </a:lnTo>
                    <a:lnTo>
                      <a:pt x="266577" y="17493"/>
                    </a:lnTo>
                    <a:close/>
                    <a:moveTo>
                      <a:pt x="69211" y="17493"/>
                    </a:moveTo>
                    <a:lnTo>
                      <a:pt x="140894" y="17493"/>
                    </a:lnTo>
                    <a:lnTo>
                      <a:pt x="140894" y="171507"/>
                    </a:lnTo>
                    <a:lnTo>
                      <a:pt x="19965" y="171507"/>
                    </a:lnTo>
                    <a:lnTo>
                      <a:pt x="69211" y="17493"/>
                    </a:lnTo>
                    <a:close/>
                    <a:moveTo>
                      <a:pt x="476113" y="315254"/>
                    </a:moveTo>
                    <a:lnTo>
                      <a:pt x="84423" y="315254"/>
                    </a:lnTo>
                    <a:lnTo>
                      <a:pt x="48296" y="238246"/>
                    </a:lnTo>
                    <a:lnTo>
                      <a:pt x="502352" y="238246"/>
                    </a:lnTo>
                    <a:lnTo>
                      <a:pt x="476113" y="315254"/>
                    </a:lnTo>
                    <a:close/>
                  </a:path>
                </a:pathLst>
              </a:custGeom>
              <a:grpFill/>
              <a:ln w="1878" cap="flat">
                <a:noFill/>
                <a:prstDash val="solid"/>
                <a:miter/>
              </a:ln>
            </p:spPr>
            <p:txBody>
              <a:bodyPr rtlCol="0" anchor="ctr"/>
              <a:lstStyle/>
              <a:p>
                <a:endParaRPr lang="en-GB" noProof="0" dirty="0"/>
              </a:p>
            </p:txBody>
          </p:sp>
        </p:grpSp>
      </p:grpSp>
      <p:grpSp>
        <p:nvGrpSpPr>
          <p:cNvPr id="275" name="Grafik 6">
            <a:extLst>
              <a:ext uri="{FF2B5EF4-FFF2-40B4-BE49-F238E27FC236}">
                <a16:creationId xmlns:a16="http://schemas.microsoft.com/office/drawing/2014/main" id="{BB6E9324-CADA-52F7-584B-3431A85669F0}"/>
              </a:ext>
            </a:extLst>
          </p:cNvPr>
          <p:cNvGrpSpPr>
            <a:grpSpLocks noChangeAspect="1"/>
          </p:cNvGrpSpPr>
          <p:nvPr/>
        </p:nvGrpSpPr>
        <p:grpSpPr>
          <a:xfrm>
            <a:off x="975769" y="2569378"/>
            <a:ext cx="324000" cy="324000"/>
            <a:chOff x="2592285" y="3696079"/>
            <a:chExt cx="540000" cy="540000"/>
          </a:xfrm>
          <a:solidFill>
            <a:schemeClr val="accent1"/>
          </a:solidFill>
        </p:grpSpPr>
        <p:grpSp>
          <p:nvGrpSpPr>
            <p:cNvPr id="276" name="Grafik 6">
              <a:extLst>
                <a:ext uri="{FF2B5EF4-FFF2-40B4-BE49-F238E27FC236}">
                  <a16:creationId xmlns:a16="http://schemas.microsoft.com/office/drawing/2014/main" id="{D225E924-3465-9B9A-5EF5-71E1E164A828}"/>
                </a:ext>
              </a:extLst>
            </p:cNvPr>
            <p:cNvGrpSpPr/>
            <p:nvPr/>
          </p:nvGrpSpPr>
          <p:grpSpPr>
            <a:xfrm>
              <a:off x="2592285" y="3696079"/>
              <a:ext cx="532109" cy="538668"/>
              <a:chOff x="2592285" y="3696079"/>
              <a:chExt cx="532109" cy="538668"/>
            </a:xfrm>
            <a:grpFill/>
          </p:grpSpPr>
          <p:sp>
            <p:nvSpPr>
              <p:cNvPr id="277" name="Freihandform: Form 276">
                <a:extLst>
                  <a:ext uri="{FF2B5EF4-FFF2-40B4-BE49-F238E27FC236}">
                    <a16:creationId xmlns:a16="http://schemas.microsoft.com/office/drawing/2014/main" id="{4B91FBC3-6C65-4A5D-383F-513BDC3CDF5E}"/>
                  </a:ext>
                </a:extLst>
              </p:cNvPr>
              <p:cNvSpPr/>
              <p:nvPr/>
            </p:nvSpPr>
            <p:spPr>
              <a:xfrm>
                <a:off x="2599152" y="3791339"/>
                <a:ext cx="525241" cy="443408"/>
              </a:xfrm>
              <a:custGeom>
                <a:avLst/>
                <a:gdLst>
                  <a:gd name="connsiteX0" fmla="*/ 524005 w 525241"/>
                  <a:gd name="connsiteY0" fmla="*/ 143176 h 443408"/>
                  <a:gd name="connsiteX1" fmla="*/ 495865 w 525241"/>
                  <a:gd name="connsiteY1" fmla="*/ 98873 h 443408"/>
                  <a:gd name="connsiteX2" fmla="*/ 495865 w 525241"/>
                  <a:gd name="connsiteY2" fmla="*/ 55521 h 443408"/>
                  <a:gd name="connsiteX3" fmla="*/ 487308 w 525241"/>
                  <a:gd name="connsiteY3" fmla="*/ 46965 h 443408"/>
                  <a:gd name="connsiteX4" fmla="*/ 433879 w 525241"/>
                  <a:gd name="connsiteY4" fmla="*/ 46965 h 443408"/>
                  <a:gd name="connsiteX5" fmla="*/ 433879 w 525241"/>
                  <a:gd name="connsiteY5" fmla="*/ 8556 h 443408"/>
                  <a:gd name="connsiteX6" fmla="*/ 425322 w 525241"/>
                  <a:gd name="connsiteY6" fmla="*/ 0 h 443408"/>
                  <a:gd name="connsiteX7" fmla="*/ 99611 w 525241"/>
                  <a:gd name="connsiteY7" fmla="*/ 0 h 443408"/>
                  <a:gd name="connsiteX8" fmla="*/ 91055 w 525241"/>
                  <a:gd name="connsiteY8" fmla="*/ 8556 h 443408"/>
                  <a:gd name="connsiteX9" fmla="*/ 91055 w 525241"/>
                  <a:gd name="connsiteY9" fmla="*/ 46775 h 443408"/>
                  <a:gd name="connsiteX10" fmla="*/ 37625 w 525241"/>
                  <a:gd name="connsiteY10" fmla="*/ 46775 h 443408"/>
                  <a:gd name="connsiteX11" fmla="*/ 29069 w 525241"/>
                  <a:gd name="connsiteY11" fmla="*/ 55331 h 443408"/>
                  <a:gd name="connsiteX12" fmla="*/ 29069 w 525241"/>
                  <a:gd name="connsiteY12" fmla="*/ 99254 h 443408"/>
                  <a:gd name="connsiteX13" fmla="*/ 1308 w 525241"/>
                  <a:gd name="connsiteY13" fmla="*/ 142986 h 443408"/>
                  <a:gd name="connsiteX14" fmla="*/ 1118 w 525241"/>
                  <a:gd name="connsiteY14" fmla="*/ 151732 h 443408"/>
                  <a:gd name="connsiteX15" fmla="*/ 8534 w 525241"/>
                  <a:gd name="connsiteY15" fmla="*/ 156106 h 443408"/>
                  <a:gd name="connsiteX16" fmla="*/ 67667 w 525241"/>
                  <a:gd name="connsiteY16" fmla="*/ 156106 h 443408"/>
                  <a:gd name="connsiteX17" fmla="*/ 67667 w 525241"/>
                  <a:gd name="connsiteY17" fmla="*/ 426296 h 443408"/>
                  <a:gd name="connsiteX18" fmla="*/ 25266 w 525241"/>
                  <a:gd name="connsiteY18" fmla="*/ 426296 h 443408"/>
                  <a:gd name="connsiteX19" fmla="*/ 16710 w 525241"/>
                  <a:gd name="connsiteY19" fmla="*/ 434852 h 443408"/>
                  <a:gd name="connsiteX20" fmla="*/ 25266 w 525241"/>
                  <a:gd name="connsiteY20" fmla="*/ 443408 h 443408"/>
                  <a:gd name="connsiteX21" fmla="*/ 499858 w 525241"/>
                  <a:gd name="connsiteY21" fmla="*/ 443408 h 443408"/>
                  <a:gd name="connsiteX22" fmla="*/ 508414 w 525241"/>
                  <a:gd name="connsiteY22" fmla="*/ 434852 h 443408"/>
                  <a:gd name="connsiteX23" fmla="*/ 499858 w 525241"/>
                  <a:gd name="connsiteY23" fmla="*/ 426296 h 443408"/>
                  <a:gd name="connsiteX24" fmla="*/ 457456 w 525241"/>
                  <a:gd name="connsiteY24" fmla="*/ 426296 h 443408"/>
                  <a:gd name="connsiteX25" fmla="*/ 457456 w 525241"/>
                  <a:gd name="connsiteY25" fmla="*/ 156106 h 443408"/>
                  <a:gd name="connsiteX26" fmla="*/ 516780 w 525241"/>
                  <a:gd name="connsiteY26" fmla="*/ 156106 h 443408"/>
                  <a:gd name="connsiteX27" fmla="*/ 524196 w 525241"/>
                  <a:gd name="connsiteY27" fmla="*/ 151732 h 443408"/>
                  <a:gd name="connsiteX28" fmla="*/ 524005 w 525241"/>
                  <a:gd name="connsiteY28" fmla="*/ 143176 h 443408"/>
                  <a:gd name="connsiteX29" fmla="*/ 450991 w 525241"/>
                  <a:gd name="connsiteY29" fmla="*/ 139183 h 443408"/>
                  <a:gd name="connsiteX30" fmla="*/ 441865 w 525241"/>
                  <a:gd name="connsiteY30" fmla="*/ 110282 h 443408"/>
                  <a:gd name="connsiteX31" fmla="*/ 482745 w 525241"/>
                  <a:gd name="connsiteY31" fmla="*/ 110282 h 443408"/>
                  <a:gd name="connsiteX32" fmla="*/ 501189 w 525241"/>
                  <a:gd name="connsiteY32" fmla="*/ 139183 h 443408"/>
                  <a:gd name="connsiteX33" fmla="*/ 450991 w 525241"/>
                  <a:gd name="connsiteY33" fmla="*/ 139183 h 443408"/>
                  <a:gd name="connsiteX34" fmla="*/ 108167 w 525241"/>
                  <a:gd name="connsiteY34" fmla="*/ 17113 h 443408"/>
                  <a:gd name="connsiteX35" fmla="*/ 416576 w 525241"/>
                  <a:gd name="connsiteY35" fmla="*/ 17113 h 443408"/>
                  <a:gd name="connsiteX36" fmla="*/ 416576 w 525241"/>
                  <a:gd name="connsiteY36" fmla="*/ 46014 h 443408"/>
                  <a:gd name="connsiteX37" fmla="*/ 108167 w 525241"/>
                  <a:gd name="connsiteY37" fmla="*/ 46014 h 443408"/>
                  <a:gd name="connsiteX38" fmla="*/ 108167 w 525241"/>
                  <a:gd name="connsiteY38" fmla="*/ 17113 h 443408"/>
                  <a:gd name="connsiteX39" fmla="*/ 478752 w 525241"/>
                  <a:gd name="connsiteY39" fmla="*/ 64077 h 443408"/>
                  <a:gd name="connsiteX40" fmla="*/ 478752 w 525241"/>
                  <a:gd name="connsiteY40" fmla="*/ 92979 h 443408"/>
                  <a:gd name="connsiteX41" fmla="*/ 46182 w 525241"/>
                  <a:gd name="connsiteY41" fmla="*/ 92979 h 443408"/>
                  <a:gd name="connsiteX42" fmla="*/ 46182 w 525241"/>
                  <a:gd name="connsiteY42" fmla="*/ 64077 h 443408"/>
                  <a:gd name="connsiteX43" fmla="*/ 478752 w 525241"/>
                  <a:gd name="connsiteY43" fmla="*/ 64077 h 443408"/>
                  <a:gd name="connsiteX44" fmla="*/ 305153 w 525241"/>
                  <a:gd name="connsiteY44" fmla="*/ 139183 h 443408"/>
                  <a:gd name="connsiteX45" fmla="*/ 305153 w 525241"/>
                  <a:gd name="connsiteY45" fmla="*/ 110662 h 443408"/>
                  <a:gd name="connsiteX46" fmla="*/ 305153 w 525241"/>
                  <a:gd name="connsiteY46" fmla="*/ 110092 h 443408"/>
                  <a:gd name="connsiteX47" fmla="*/ 305724 w 525241"/>
                  <a:gd name="connsiteY47" fmla="*/ 110092 h 443408"/>
                  <a:gd name="connsiteX48" fmla="*/ 354970 w 525241"/>
                  <a:gd name="connsiteY48" fmla="*/ 110092 h 443408"/>
                  <a:gd name="connsiteX49" fmla="*/ 361055 w 525241"/>
                  <a:gd name="connsiteY49" fmla="*/ 138993 h 443408"/>
                  <a:gd name="connsiteX50" fmla="*/ 305724 w 525241"/>
                  <a:gd name="connsiteY50" fmla="*/ 138993 h 443408"/>
                  <a:gd name="connsiteX51" fmla="*/ 305153 w 525241"/>
                  <a:gd name="connsiteY51" fmla="*/ 138993 h 443408"/>
                  <a:gd name="connsiteX52" fmla="*/ 236132 w 525241"/>
                  <a:gd name="connsiteY52" fmla="*/ 139183 h 443408"/>
                  <a:gd name="connsiteX53" fmla="*/ 236132 w 525241"/>
                  <a:gd name="connsiteY53" fmla="*/ 110662 h 443408"/>
                  <a:gd name="connsiteX54" fmla="*/ 236132 w 525241"/>
                  <a:gd name="connsiteY54" fmla="*/ 110092 h 443408"/>
                  <a:gd name="connsiteX55" fmla="*/ 287851 w 525241"/>
                  <a:gd name="connsiteY55" fmla="*/ 110092 h 443408"/>
                  <a:gd name="connsiteX56" fmla="*/ 287851 w 525241"/>
                  <a:gd name="connsiteY56" fmla="*/ 110662 h 443408"/>
                  <a:gd name="connsiteX57" fmla="*/ 287851 w 525241"/>
                  <a:gd name="connsiteY57" fmla="*/ 139183 h 443408"/>
                  <a:gd name="connsiteX58" fmla="*/ 236132 w 525241"/>
                  <a:gd name="connsiteY58" fmla="*/ 139183 h 443408"/>
                  <a:gd name="connsiteX59" fmla="*/ 92005 w 525241"/>
                  <a:gd name="connsiteY59" fmla="*/ 139183 h 443408"/>
                  <a:gd name="connsiteX60" fmla="*/ 101132 w 525241"/>
                  <a:gd name="connsiteY60" fmla="*/ 110662 h 443408"/>
                  <a:gd name="connsiteX61" fmla="*/ 101322 w 525241"/>
                  <a:gd name="connsiteY61" fmla="*/ 110092 h 443408"/>
                  <a:gd name="connsiteX62" fmla="*/ 101893 w 525241"/>
                  <a:gd name="connsiteY62" fmla="*/ 110092 h 443408"/>
                  <a:gd name="connsiteX63" fmla="*/ 150949 w 525241"/>
                  <a:gd name="connsiteY63" fmla="*/ 110092 h 443408"/>
                  <a:gd name="connsiteX64" fmla="*/ 150759 w 525241"/>
                  <a:gd name="connsiteY64" fmla="*/ 110662 h 443408"/>
                  <a:gd name="connsiteX65" fmla="*/ 144674 w 525241"/>
                  <a:gd name="connsiteY65" fmla="*/ 139183 h 443408"/>
                  <a:gd name="connsiteX66" fmla="*/ 92576 w 525241"/>
                  <a:gd name="connsiteY66" fmla="*/ 139183 h 443408"/>
                  <a:gd name="connsiteX67" fmla="*/ 92005 w 525241"/>
                  <a:gd name="connsiteY67" fmla="*/ 139183 h 443408"/>
                  <a:gd name="connsiteX68" fmla="*/ 168822 w 525241"/>
                  <a:gd name="connsiteY68" fmla="*/ 110282 h 443408"/>
                  <a:gd name="connsiteX69" fmla="*/ 218639 w 525241"/>
                  <a:gd name="connsiteY69" fmla="*/ 110282 h 443408"/>
                  <a:gd name="connsiteX70" fmla="*/ 218639 w 525241"/>
                  <a:gd name="connsiteY70" fmla="*/ 110852 h 443408"/>
                  <a:gd name="connsiteX71" fmla="*/ 218639 w 525241"/>
                  <a:gd name="connsiteY71" fmla="*/ 139373 h 443408"/>
                  <a:gd name="connsiteX72" fmla="*/ 162738 w 525241"/>
                  <a:gd name="connsiteY72" fmla="*/ 139373 h 443408"/>
                  <a:gd name="connsiteX73" fmla="*/ 168822 w 525241"/>
                  <a:gd name="connsiteY73" fmla="*/ 110282 h 443408"/>
                  <a:gd name="connsiteX74" fmla="*/ 378738 w 525241"/>
                  <a:gd name="connsiteY74" fmla="*/ 139183 h 443408"/>
                  <a:gd name="connsiteX75" fmla="*/ 372653 w 525241"/>
                  <a:gd name="connsiteY75" fmla="*/ 110662 h 443408"/>
                  <a:gd name="connsiteX76" fmla="*/ 372463 w 525241"/>
                  <a:gd name="connsiteY76" fmla="*/ 110092 h 443408"/>
                  <a:gd name="connsiteX77" fmla="*/ 422280 w 525241"/>
                  <a:gd name="connsiteY77" fmla="*/ 110092 h 443408"/>
                  <a:gd name="connsiteX78" fmla="*/ 422470 w 525241"/>
                  <a:gd name="connsiteY78" fmla="*/ 110662 h 443408"/>
                  <a:gd name="connsiteX79" fmla="*/ 431597 w 525241"/>
                  <a:gd name="connsiteY79" fmla="*/ 139183 h 443408"/>
                  <a:gd name="connsiteX80" fmla="*/ 378738 w 525241"/>
                  <a:gd name="connsiteY80" fmla="*/ 139183 h 443408"/>
                  <a:gd name="connsiteX81" fmla="*/ 42379 w 525241"/>
                  <a:gd name="connsiteY81" fmla="*/ 110282 h 443408"/>
                  <a:gd name="connsiteX82" fmla="*/ 83069 w 525241"/>
                  <a:gd name="connsiteY82" fmla="*/ 110282 h 443408"/>
                  <a:gd name="connsiteX83" fmla="*/ 73942 w 525241"/>
                  <a:gd name="connsiteY83" fmla="*/ 139183 h 443408"/>
                  <a:gd name="connsiteX84" fmla="*/ 24125 w 525241"/>
                  <a:gd name="connsiteY84" fmla="*/ 139183 h 443408"/>
                  <a:gd name="connsiteX85" fmla="*/ 42379 w 525241"/>
                  <a:gd name="connsiteY85" fmla="*/ 110282 h 443408"/>
                  <a:gd name="connsiteX86" fmla="*/ 84590 w 525241"/>
                  <a:gd name="connsiteY86" fmla="*/ 156296 h 443408"/>
                  <a:gd name="connsiteX87" fmla="*/ 157984 w 525241"/>
                  <a:gd name="connsiteY87" fmla="*/ 156296 h 443408"/>
                  <a:gd name="connsiteX88" fmla="*/ 157984 w 525241"/>
                  <a:gd name="connsiteY88" fmla="*/ 284451 h 443408"/>
                  <a:gd name="connsiteX89" fmla="*/ 84590 w 525241"/>
                  <a:gd name="connsiteY89" fmla="*/ 284451 h 443408"/>
                  <a:gd name="connsiteX90" fmla="*/ 84590 w 525241"/>
                  <a:gd name="connsiteY90" fmla="*/ 156296 h 443408"/>
                  <a:gd name="connsiteX91" fmla="*/ 175097 w 525241"/>
                  <a:gd name="connsiteY91" fmla="*/ 156296 h 443408"/>
                  <a:gd name="connsiteX92" fmla="*/ 349646 w 525241"/>
                  <a:gd name="connsiteY92" fmla="*/ 156296 h 443408"/>
                  <a:gd name="connsiteX93" fmla="*/ 349646 w 525241"/>
                  <a:gd name="connsiteY93" fmla="*/ 284451 h 443408"/>
                  <a:gd name="connsiteX94" fmla="*/ 175097 w 525241"/>
                  <a:gd name="connsiteY94" fmla="*/ 284451 h 443408"/>
                  <a:gd name="connsiteX95" fmla="*/ 175097 w 525241"/>
                  <a:gd name="connsiteY95" fmla="*/ 156296 h 443408"/>
                  <a:gd name="connsiteX96" fmla="*/ 366949 w 525241"/>
                  <a:gd name="connsiteY96" fmla="*/ 156296 h 443408"/>
                  <a:gd name="connsiteX97" fmla="*/ 440343 w 525241"/>
                  <a:gd name="connsiteY97" fmla="*/ 156296 h 443408"/>
                  <a:gd name="connsiteX98" fmla="*/ 440343 w 525241"/>
                  <a:gd name="connsiteY98" fmla="*/ 284451 h 443408"/>
                  <a:gd name="connsiteX99" fmla="*/ 366949 w 525241"/>
                  <a:gd name="connsiteY99" fmla="*/ 284451 h 443408"/>
                  <a:gd name="connsiteX100" fmla="*/ 366949 w 525241"/>
                  <a:gd name="connsiteY100" fmla="*/ 156296 h 443408"/>
                  <a:gd name="connsiteX101" fmla="*/ 84590 w 525241"/>
                  <a:gd name="connsiteY101" fmla="*/ 426676 h 443408"/>
                  <a:gd name="connsiteX102" fmla="*/ 84590 w 525241"/>
                  <a:gd name="connsiteY102" fmla="*/ 301754 h 443408"/>
                  <a:gd name="connsiteX103" fmla="*/ 440343 w 525241"/>
                  <a:gd name="connsiteY103" fmla="*/ 301754 h 443408"/>
                  <a:gd name="connsiteX104" fmla="*/ 440343 w 525241"/>
                  <a:gd name="connsiteY104" fmla="*/ 426676 h 443408"/>
                  <a:gd name="connsiteX105" fmla="*/ 84590 w 525241"/>
                  <a:gd name="connsiteY105" fmla="*/ 426676 h 443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525241" h="443408">
                    <a:moveTo>
                      <a:pt x="524005" y="143176"/>
                    </a:moveTo>
                    <a:lnTo>
                      <a:pt x="495865" y="98873"/>
                    </a:lnTo>
                    <a:lnTo>
                      <a:pt x="495865" y="55521"/>
                    </a:lnTo>
                    <a:cubicBezTo>
                      <a:pt x="495865" y="50768"/>
                      <a:pt x="492062" y="46965"/>
                      <a:pt x="487308" y="46965"/>
                    </a:cubicBezTo>
                    <a:lnTo>
                      <a:pt x="433879" y="46965"/>
                    </a:lnTo>
                    <a:lnTo>
                      <a:pt x="433879" y="8556"/>
                    </a:lnTo>
                    <a:cubicBezTo>
                      <a:pt x="433879" y="3803"/>
                      <a:pt x="430076" y="0"/>
                      <a:pt x="425322" y="0"/>
                    </a:cubicBezTo>
                    <a:lnTo>
                      <a:pt x="99611" y="0"/>
                    </a:lnTo>
                    <a:cubicBezTo>
                      <a:pt x="94858" y="0"/>
                      <a:pt x="91055" y="3803"/>
                      <a:pt x="91055" y="8556"/>
                    </a:cubicBezTo>
                    <a:lnTo>
                      <a:pt x="91055" y="46775"/>
                    </a:lnTo>
                    <a:lnTo>
                      <a:pt x="37625" y="46775"/>
                    </a:lnTo>
                    <a:cubicBezTo>
                      <a:pt x="32872" y="46775"/>
                      <a:pt x="29069" y="50577"/>
                      <a:pt x="29069" y="55331"/>
                    </a:cubicBezTo>
                    <a:lnTo>
                      <a:pt x="29069" y="99254"/>
                    </a:lnTo>
                    <a:lnTo>
                      <a:pt x="1308" y="142986"/>
                    </a:lnTo>
                    <a:cubicBezTo>
                      <a:pt x="-403" y="145648"/>
                      <a:pt x="-403" y="148880"/>
                      <a:pt x="1118" y="151732"/>
                    </a:cubicBezTo>
                    <a:cubicBezTo>
                      <a:pt x="2639" y="154585"/>
                      <a:pt x="5491" y="156106"/>
                      <a:pt x="8534" y="156106"/>
                    </a:cubicBezTo>
                    <a:lnTo>
                      <a:pt x="67667" y="156106"/>
                    </a:lnTo>
                    <a:lnTo>
                      <a:pt x="67667" y="426296"/>
                    </a:lnTo>
                    <a:lnTo>
                      <a:pt x="25266" y="426296"/>
                    </a:lnTo>
                    <a:cubicBezTo>
                      <a:pt x="20512" y="426296"/>
                      <a:pt x="16710" y="430099"/>
                      <a:pt x="16710" y="434852"/>
                    </a:cubicBezTo>
                    <a:cubicBezTo>
                      <a:pt x="16710" y="439606"/>
                      <a:pt x="20512" y="443408"/>
                      <a:pt x="25266" y="443408"/>
                    </a:cubicBezTo>
                    <a:lnTo>
                      <a:pt x="499858" y="443408"/>
                    </a:lnTo>
                    <a:cubicBezTo>
                      <a:pt x="504611" y="443408"/>
                      <a:pt x="508414" y="439606"/>
                      <a:pt x="508414" y="434852"/>
                    </a:cubicBezTo>
                    <a:cubicBezTo>
                      <a:pt x="508414" y="430099"/>
                      <a:pt x="504611" y="426296"/>
                      <a:pt x="499858" y="426296"/>
                    </a:cubicBezTo>
                    <a:lnTo>
                      <a:pt x="457456" y="426296"/>
                    </a:lnTo>
                    <a:lnTo>
                      <a:pt x="457456" y="156106"/>
                    </a:lnTo>
                    <a:lnTo>
                      <a:pt x="516780" y="156106"/>
                    </a:lnTo>
                    <a:cubicBezTo>
                      <a:pt x="519822" y="156106"/>
                      <a:pt x="522865" y="154394"/>
                      <a:pt x="524196" y="151732"/>
                    </a:cubicBezTo>
                    <a:cubicBezTo>
                      <a:pt x="525527" y="149070"/>
                      <a:pt x="525717" y="145838"/>
                      <a:pt x="524005" y="143176"/>
                    </a:cubicBezTo>
                    <a:close/>
                    <a:moveTo>
                      <a:pt x="450991" y="139183"/>
                    </a:moveTo>
                    <a:lnTo>
                      <a:pt x="441865" y="110282"/>
                    </a:lnTo>
                    <a:lnTo>
                      <a:pt x="482745" y="110282"/>
                    </a:lnTo>
                    <a:lnTo>
                      <a:pt x="501189" y="139183"/>
                    </a:lnTo>
                    <a:lnTo>
                      <a:pt x="450991" y="139183"/>
                    </a:lnTo>
                    <a:close/>
                    <a:moveTo>
                      <a:pt x="108167" y="17113"/>
                    </a:moveTo>
                    <a:lnTo>
                      <a:pt x="416576" y="17113"/>
                    </a:lnTo>
                    <a:lnTo>
                      <a:pt x="416576" y="46014"/>
                    </a:lnTo>
                    <a:lnTo>
                      <a:pt x="108167" y="46014"/>
                    </a:lnTo>
                    <a:lnTo>
                      <a:pt x="108167" y="17113"/>
                    </a:lnTo>
                    <a:close/>
                    <a:moveTo>
                      <a:pt x="478752" y="64077"/>
                    </a:moveTo>
                    <a:lnTo>
                      <a:pt x="478752" y="92979"/>
                    </a:lnTo>
                    <a:lnTo>
                      <a:pt x="46182" y="92979"/>
                    </a:lnTo>
                    <a:lnTo>
                      <a:pt x="46182" y="64077"/>
                    </a:lnTo>
                    <a:lnTo>
                      <a:pt x="478752" y="64077"/>
                    </a:lnTo>
                    <a:close/>
                    <a:moveTo>
                      <a:pt x="305153" y="139183"/>
                    </a:moveTo>
                    <a:lnTo>
                      <a:pt x="305153" y="110662"/>
                    </a:lnTo>
                    <a:lnTo>
                      <a:pt x="305153" y="110092"/>
                    </a:lnTo>
                    <a:lnTo>
                      <a:pt x="305724" y="110092"/>
                    </a:lnTo>
                    <a:lnTo>
                      <a:pt x="354970" y="110092"/>
                    </a:lnTo>
                    <a:lnTo>
                      <a:pt x="361055" y="138993"/>
                    </a:lnTo>
                    <a:lnTo>
                      <a:pt x="305724" y="138993"/>
                    </a:lnTo>
                    <a:lnTo>
                      <a:pt x="305153" y="138993"/>
                    </a:lnTo>
                    <a:close/>
                    <a:moveTo>
                      <a:pt x="236132" y="139183"/>
                    </a:moveTo>
                    <a:lnTo>
                      <a:pt x="236132" y="110662"/>
                    </a:lnTo>
                    <a:lnTo>
                      <a:pt x="236132" y="110092"/>
                    </a:lnTo>
                    <a:lnTo>
                      <a:pt x="287851" y="110092"/>
                    </a:lnTo>
                    <a:lnTo>
                      <a:pt x="287851" y="110662"/>
                    </a:lnTo>
                    <a:lnTo>
                      <a:pt x="287851" y="139183"/>
                    </a:lnTo>
                    <a:lnTo>
                      <a:pt x="236132" y="139183"/>
                    </a:lnTo>
                    <a:close/>
                    <a:moveTo>
                      <a:pt x="92005" y="139183"/>
                    </a:moveTo>
                    <a:lnTo>
                      <a:pt x="101132" y="110662"/>
                    </a:lnTo>
                    <a:lnTo>
                      <a:pt x="101322" y="110092"/>
                    </a:lnTo>
                    <a:lnTo>
                      <a:pt x="101893" y="110092"/>
                    </a:lnTo>
                    <a:lnTo>
                      <a:pt x="150949" y="110092"/>
                    </a:lnTo>
                    <a:lnTo>
                      <a:pt x="150759" y="110662"/>
                    </a:lnTo>
                    <a:lnTo>
                      <a:pt x="144674" y="139183"/>
                    </a:lnTo>
                    <a:lnTo>
                      <a:pt x="92576" y="139183"/>
                    </a:lnTo>
                    <a:lnTo>
                      <a:pt x="92005" y="139183"/>
                    </a:lnTo>
                    <a:close/>
                    <a:moveTo>
                      <a:pt x="168822" y="110282"/>
                    </a:moveTo>
                    <a:lnTo>
                      <a:pt x="218639" y="110282"/>
                    </a:lnTo>
                    <a:lnTo>
                      <a:pt x="218639" y="110852"/>
                    </a:lnTo>
                    <a:lnTo>
                      <a:pt x="218639" y="139373"/>
                    </a:lnTo>
                    <a:lnTo>
                      <a:pt x="162738" y="139373"/>
                    </a:lnTo>
                    <a:lnTo>
                      <a:pt x="168822" y="110282"/>
                    </a:lnTo>
                    <a:close/>
                    <a:moveTo>
                      <a:pt x="378738" y="139183"/>
                    </a:moveTo>
                    <a:lnTo>
                      <a:pt x="372653" y="110662"/>
                    </a:lnTo>
                    <a:lnTo>
                      <a:pt x="372463" y="110092"/>
                    </a:lnTo>
                    <a:lnTo>
                      <a:pt x="422280" y="110092"/>
                    </a:lnTo>
                    <a:lnTo>
                      <a:pt x="422470" y="110662"/>
                    </a:lnTo>
                    <a:lnTo>
                      <a:pt x="431597" y="139183"/>
                    </a:lnTo>
                    <a:lnTo>
                      <a:pt x="378738" y="139183"/>
                    </a:lnTo>
                    <a:close/>
                    <a:moveTo>
                      <a:pt x="42379" y="110282"/>
                    </a:moveTo>
                    <a:lnTo>
                      <a:pt x="83069" y="110282"/>
                    </a:lnTo>
                    <a:lnTo>
                      <a:pt x="73942" y="139183"/>
                    </a:lnTo>
                    <a:lnTo>
                      <a:pt x="24125" y="139183"/>
                    </a:lnTo>
                    <a:lnTo>
                      <a:pt x="42379" y="110282"/>
                    </a:lnTo>
                    <a:close/>
                    <a:moveTo>
                      <a:pt x="84590" y="156296"/>
                    </a:moveTo>
                    <a:lnTo>
                      <a:pt x="157984" y="156296"/>
                    </a:lnTo>
                    <a:lnTo>
                      <a:pt x="157984" y="284451"/>
                    </a:lnTo>
                    <a:lnTo>
                      <a:pt x="84590" y="284451"/>
                    </a:lnTo>
                    <a:lnTo>
                      <a:pt x="84590" y="156296"/>
                    </a:lnTo>
                    <a:close/>
                    <a:moveTo>
                      <a:pt x="175097" y="156296"/>
                    </a:moveTo>
                    <a:lnTo>
                      <a:pt x="349646" y="156296"/>
                    </a:lnTo>
                    <a:lnTo>
                      <a:pt x="349646" y="284451"/>
                    </a:lnTo>
                    <a:lnTo>
                      <a:pt x="175097" y="284451"/>
                    </a:lnTo>
                    <a:lnTo>
                      <a:pt x="175097" y="156296"/>
                    </a:lnTo>
                    <a:close/>
                    <a:moveTo>
                      <a:pt x="366949" y="156296"/>
                    </a:moveTo>
                    <a:lnTo>
                      <a:pt x="440343" y="156296"/>
                    </a:lnTo>
                    <a:lnTo>
                      <a:pt x="440343" y="284451"/>
                    </a:lnTo>
                    <a:lnTo>
                      <a:pt x="366949" y="284451"/>
                    </a:lnTo>
                    <a:lnTo>
                      <a:pt x="366949" y="156296"/>
                    </a:lnTo>
                    <a:close/>
                    <a:moveTo>
                      <a:pt x="84590" y="426676"/>
                    </a:moveTo>
                    <a:lnTo>
                      <a:pt x="84590" y="301754"/>
                    </a:lnTo>
                    <a:lnTo>
                      <a:pt x="440343" y="301754"/>
                    </a:lnTo>
                    <a:lnTo>
                      <a:pt x="440343" y="426676"/>
                    </a:lnTo>
                    <a:lnTo>
                      <a:pt x="84590" y="426676"/>
                    </a:lnTo>
                    <a:close/>
                  </a:path>
                </a:pathLst>
              </a:custGeom>
              <a:grpFill/>
              <a:ln w="1878" cap="flat">
                <a:noFill/>
                <a:prstDash val="solid"/>
                <a:miter/>
              </a:ln>
            </p:spPr>
            <p:txBody>
              <a:bodyPr rtlCol="0" anchor="ctr"/>
              <a:lstStyle/>
              <a:p>
                <a:endParaRPr lang="en-GB" noProof="0" dirty="0"/>
              </a:p>
            </p:txBody>
          </p:sp>
        </p:grpSp>
      </p:grpSp>
      <p:grpSp>
        <p:nvGrpSpPr>
          <p:cNvPr id="290" name="Grafik 32">
            <a:extLst>
              <a:ext uri="{FF2B5EF4-FFF2-40B4-BE49-F238E27FC236}">
                <a16:creationId xmlns:a16="http://schemas.microsoft.com/office/drawing/2014/main" id="{D403D8EF-A295-F989-E2F4-79BEC2729934}"/>
              </a:ext>
            </a:extLst>
          </p:cNvPr>
          <p:cNvGrpSpPr>
            <a:grpSpLocks noChangeAspect="1"/>
          </p:cNvGrpSpPr>
          <p:nvPr/>
        </p:nvGrpSpPr>
        <p:grpSpPr>
          <a:xfrm flipH="1">
            <a:off x="5538377" y="1840210"/>
            <a:ext cx="381600" cy="381600"/>
            <a:chOff x="4426973" y="3060246"/>
            <a:chExt cx="540000" cy="540000"/>
          </a:xfrm>
          <a:solidFill>
            <a:schemeClr val="accent1"/>
          </a:solidFill>
        </p:grpSpPr>
        <p:grpSp>
          <p:nvGrpSpPr>
            <p:cNvPr id="291" name="Grafik 32">
              <a:extLst>
                <a:ext uri="{FF2B5EF4-FFF2-40B4-BE49-F238E27FC236}">
                  <a16:creationId xmlns:a16="http://schemas.microsoft.com/office/drawing/2014/main" id="{10735F74-2C7D-1020-042D-94D15A99E8B8}"/>
                </a:ext>
              </a:extLst>
            </p:cNvPr>
            <p:cNvGrpSpPr/>
            <p:nvPr/>
          </p:nvGrpSpPr>
          <p:grpSpPr>
            <a:xfrm>
              <a:off x="4426886" y="3060246"/>
              <a:ext cx="539326" cy="538859"/>
              <a:chOff x="4426886" y="3060246"/>
              <a:chExt cx="539326" cy="538859"/>
            </a:xfrm>
            <a:grpFill/>
          </p:grpSpPr>
          <p:grpSp>
            <p:nvGrpSpPr>
              <p:cNvPr id="292" name="Grafik 32">
                <a:extLst>
                  <a:ext uri="{FF2B5EF4-FFF2-40B4-BE49-F238E27FC236}">
                    <a16:creationId xmlns:a16="http://schemas.microsoft.com/office/drawing/2014/main" id="{02B70B54-777D-D7F0-C60F-0F72C1823DF2}"/>
                  </a:ext>
                </a:extLst>
              </p:cNvPr>
              <p:cNvGrpSpPr/>
              <p:nvPr/>
            </p:nvGrpSpPr>
            <p:grpSpPr>
              <a:xfrm>
                <a:off x="4426886" y="3271866"/>
                <a:ext cx="539326" cy="327238"/>
                <a:chOff x="4426886" y="3271866"/>
                <a:chExt cx="539326" cy="327238"/>
              </a:xfrm>
              <a:grpFill/>
            </p:grpSpPr>
            <p:sp>
              <p:nvSpPr>
                <p:cNvPr id="293" name="Freihandform: Form 292">
                  <a:extLst>
                    <a:ext uri="{FF2B5EF4-FFF2-40B4-BE49-F238E27FC236}">
                      <a16:creationId xmlns:a16="http://schemas.microsoft.com/office/drawing/2014/main" id="{8B5AEBCE-CEE1-2CB9-A543-7A4402F26C46}"/>
                    </a:ext>
                  </a:extLst>
                </p:cNvPr>
                <p:cNvSpPr/>
                <p:nvPr/>
              </p:nvSpPr>
              <p:spPr>
                <a:xfrm>
                  <a:off x="4426886" y="3271866"/>
                  <a:ext cx="367825" cy="233499"/>
                </a:xfrm>
                <a:custGeom>
                  <a:avLst/>
                  <a:gdLst>
                    <a:gd name="connsiteX0" fmla="*/ 9023 w 367825"/>
                    <a:gd name="connsiteY0" fmla="*/ 233499 h 233499"/>
                    <a:gd name="connsiteX1" fmla="*/ 17199 w 367825"/>
                    <a:gd name="connsiteY1" fmla="*/ 228366 h 233499"/>
                    <a:gd name="connsiteX2" fmla="*/ 76714 w 367825"/>
                    <a:gd name="connsiteY2" fmla="*/ 101351 h 233499"/>
                    <a:gd name="connsiteX3" fmla="*/ 95347 w 367825"/>
                    <a:gd name="connsiteY3" fmla="*/ 181971 h 233499"/>
                    <a:gd name="connsiteX4" fmla="*/ 115312 w 367825"/>
                    <a:gd name="connsiteY4" fmla="*/ 203077 h 233499"/>
                    <a:gd name="connsiteX5" fmla="*/ 122918 w 367825"/>
                    <a:gd name="connsiteY5" fmla="*/ 204028 h 233499"/>
                    <a:gd name="connsiteX6" fmla="*/ 129573 w 367825"/>
                    <a:gd name="connsiteY6" fmla="*/ 203457 h 233499"/>
                    <a:gd name="connsiteX7" fmla="*/ 345763 w 367825"/>
                    <a:gd name="connsiteY7" fmla="*/ 153450 h 233499"/>
                    <a:gd name="connsiteX8" fmla="*/ 367059 w 367825"/>
                    <a:gd name="connsiteY8" fmla="*/ 119225 h 233499"/>
                    <a:gd name="connsiteX9" fmla="*/ 344622 w 367825"/>
                    <a:gd name="connsiteY9" fmla="*/ 22063 h 233499"/>
                    <a:gd name="connsiteX10" fmla="*/ 310397 w 367825"/>
                    <a:gd name="connsiteY10" fmla="*/ 767 h 233499"/>
                    <a:gd name="connsiteX11" fmla="*/ 310397 w 367825"/>
                    <a:gd name="connsiteY11" fmla="*/ 767 h 233499"/>
                    <a:gd name="connsiteX12" fmla="*/ 94206 w 367825"/>
                    <a:gd name="connsiteY12" fmla="*/ 50774 h 233499"/>
                    <a:gd name="connsiteX13" fmla="*/ 76333 w 367825"/>
                    <a:gd name="connsiteY13" fmla="*/ 62753 h 233499"/>
                    <a:gd name="connsiteX14" fmla="*/ 73291 w 367825"/>
                    <a:gd name="connsiteY14" fmla="*/ 66366 h 233499"/>
                    <a:gd name="connsiteX15" fmla="*/ 847 w 367825"/>
                    <a:gd name="connsiteY15" fmla="*/ 220760 h 233499"/>
                    <a:gd name="connsiteX16" fmla="*/ 5221 w 367825"/>
                    <a:gd name="connsiteY16" fmla="*/ 232739 h 233499"/>
                    <a:gd name="connsiteX17" fmla="*/ 9023 w 367825"/>
                    <a:gd name="connsiteY17" fmla="*/ 233499 h 233499"/>
                    <a:gd name="connsiteX18" fmla="*/ 98390 w 367825"/>
                    <a:gd name="connsiteY18" fmla="*/ 68267 h 233499"/>
                    <a:gd name="connsiteX19" fmla="*/ 314580 w 367825"/>
                    <a:gd name="connsiteY19" fmla="*/ 18260 h 233499"/>
                    <a:gd name="connsiteX20" fmla="*/ 327129 w 367825"/>
                    <a:gd name="connsiteY20" fmla="*/ 26056 h 233499"/>
                    <a:gd name="connsiteX21" fmla="*/ 349566 w 367825"/>
                    <a:gd name="connsiteY21" fmla="*/ 123028 h 233499"/>
                    <a:gd name="connsiteX22" fmla="*/ 341770 w 367825"/>
                    <a:gd name="connsiteY22" fmla="*/ 135767 h 233499"/>
                    <a:gd name="connsiteX23" fmla="*/ 125390 w 367825"/>
                    <a:gd name="connsiteY23" fmla="*/ 185774 h 233499"/>
                    <a:gd name="connsiteX24" fmla="*/ 119495 w 367825"/>
                    <a:gd name="connsiteY24" fmla="*/ 185584 h 233499"/>
                    <a:gd name="connsiteX25" fmla="*/ 112840 w 367825"/>
                    <a:gd name="connsiteY25" fmla="*/ 177978 h 233499"/>
                    <a:gd name="connsiteX26" fmla="*/ 90404 w 367825"/>
                    <a:gd name="connsiteY26" fmla="*/ 80816 h 233499"/>
                    <a:gd name="connsiteX27" fmla="*/ 98390 w 367825"/>
                    <a:gd name="connsiteY27" fmla="*/ 68267 h 23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67825" h="233499">
                      <a:moveTo>
                        <a:pt x="9023" y="233499"/>
                      </a:moveTo>
                      <a:cubicBezTo>
                        <a:pt x="12446" y="233499"/>
                        <a:pt x="15678" y="231598"/>
                        <a:pt x="17199" y="228366"/>
                      </a:cubicBezTo>
                      <a:lnTo>
                        <a:pt x="76714" y="101351"/>
                      </a:lnTo>
                      <a:lnTo>
                        <a:pt x="95347" y="181971"/>
                      </a:lnTo>
                      <a:cubicBezTo>
                        <a:pt x="98009" y="193189"/>
                        <a:pt x="105044" y="200605"/>
                        <a:pt x="115312" y="203077"/>
                      </a:cubicBezTo>
                      <a:cubicBezTo>
                        <a:pt x="117974" y="203647"/>
                        <a:pt x="120636" y="204028"/>
                        <a:pt x="122918" y="204028"/>
                      </a:cubicBezTo>
                      <a:cubicBezTo>
                        <a:pt x="126530" y="204028"/>
                        <a:pt x="129192" y="203457"/>
                        <a:pt x="129573" y="203457"/>
                      </a:cubicBezTo>
                      <a:lnTo>
                        <a:pt x="345763" y="153450"/>
                      </a:lnTo>
                      <a:cubicBezTo>
                        <a:pt x="366108" y="148697"/>
                        <a:pt x="369721" y="130443"/>
                        <a:pt x="367059" y="119225"/>
                      </a:cubicBezTo>
                      <a:lnTo>
                        <a:pt x="344622" y="22063"/>
                      </a:lnTo>
                      <a:cubicBezTo>
                        <a:pt x="339868" y="1718"/>
                        <a:pt x="321615" y="-1895"/>
                        <a:pt x="310397" y="767"/>
                      </a:cubicBezTo>
                      <a:cubicBezTo>
                        <a:pt x="310397" y="767"/>
                        <a:pt x="310397" y="767"/>
                        <a:pt x="310397" y="767"/>
                      </a:cubicBezTo>
                      <a:lnTo>
                        <a:pt x="94206" y="50774"/>
                      </a:lnTo>
                      <a:cubicBezTo>
                        <a:pt x="85460" y="52866"/>
                        <a:pt x="79756" y="57429"/>
                        <a:pt x="76333" y="62753"/>
                      </a:cubicBezTo>
                      <a:cubicBezTo>
                        <a:pt x="75002" y="63704"/>
                        <a:pt x="73861" y="64844"/>
                        <a:pt x="73291" y="66366"/>
                      </a:cubicBezTo>
                      <a:lnTo>
                        <a:pt x="847" y="220760"/>
                      </a:lnTo>
                      <a:cubicBezTo>
                        <a:pt x="-1244" y="225323"/>
                        <a:pt x="657" y="230647"/>
                        <a:pt x="5221" y="232739"/>
                      </a:cubicBezTo>
                      <a:cubicBezTo>
                        <a:pt x="6552" y="233309"/>
                        <a:pt x="7883" y="233499"/>
                        <a:pt x="9023" y="233499"/>
                      </a:cubicBezTo>
                      <a:close/>
                      <a:moveTo>
                        <a:pt x="98390" y="68267"/>
                      </a:moveTo>
                      <a:lnTo>
                        <a:pt x="314580" y="18260"/>
                      </a:lnTo>
                      <a:cubicBezTo>
                        <a:pt x="317052" y="17689"/>
                        <a:pt x="325037" y="16549"/>
                        <a:pt x="327129" y="26056"/>
                      </a:cubicBezTo>
                      <a:lnTo>
                        <a:pt x="349566" y="123028"/>
                      </a:lnTo>
                      <a:cubicBezTo>
                        <a:pt x="350326" y="126830"/>
                        <a:pt x="350326" y="133675"/>
                        <a:pt x="341770" y="135767"/>
                      </a:cubicBezTo>
                      <a:lnTo>
                        <a:pt x="125390" y="185774"/>
                      </a:lnTo>
                      <a:cubicBezTo>
                        <a:pt x="125390" y="185774"/>
                        <a:pt x="122537" y="186344"/>
                        <a:pt x="119495" y="185584"/>
                      </a:cubicBezTo>
                      <a:cubicBezTo>
                        <a:pt x="117023" y="185013"/>
                        <a:pt x="114171" y="183492"/>
                        <a:pt x="112840" y="177978"/>
                      </a:cubicBezTo>
                      <a:lnTo>
                        <a:pt x="90404" y="80816"/>
                      </a:lnTo>
                      <a:cubicBezTo>
                        <a:pt x="89833" y="78344"/>
                        <a:pt x="88883" y="70359"/>
                        <a:pt x="98390" y="68267"/>
                      </a:cubicBezTo>
                      <a:close/>
                    </a:path>
                  </a:pathLst>
                </a:custGeom>
                <a:grpFill/>
                <a:ln w="1878" cap="flat">
                  <a:noFill/>
                  <a:prstDash val="solid"/>
                  <a:miter/>
                </a:ln>
              </p:spPr>
              <p:txBody>
                <a:bodyPr rtlCol="0" anchor="ctr"/>
                <a:lstStyle/>
                <a:p>
                  <a:endParaRPr lang="en-GB" noProof="0" dirty="0"/>
                </a:p>
              </p:txBody>
            </p:sp>
            <p:sp>
              <p:nvSpPr>
                <p:cNvPr id="294" name="Freihandform: Form 293">
                  <a:extLst>
                    <a:ext uri="{FF2B5EF4-FFF2-40B4-BE49-F238E27FC236}">
                      <a16:creationId xmlns:a16="http://schemas.microsoft.com/office/drawing/2014/main" id="{0E0C19E4-0CDB-3ACD-C393-5EE516D9505C}"/>
                    </a:ext>
                  </a:extLst>
                </p:cNvPr>
                <p:cNvSpPr/>
                <p:nvPr/>
              </p:nvSpPr>
              <p:spPr>
                <a:xfrm>
                  <a:off x="4490860" y="3469809"/>
                  <a:ext cx="17302" cy="17302"/>
                </a:xfrm>
                <a:custGeom>
                  <a:avLst/>
                  <a:gdLst>
                    <a:gd name="connsiteX0" fmla="*/ 0 w 17302"/>
                    <a:gd name="connsiteY0" fmla="*/ 0 h 17302"/>
                    <a:gd name="connsiteX1" fmla="*/ 17303 w 17302"/>
                    <a:gd name="connsiteY1" fmla="*/ 0 h 17302"/>
                    <a:gd name="connsiteX2" fmla="*/ 17303 w 17302"/>
                    <a:gd name="connsiteY2" fmla="*/ 17303 h 17302"/>
                    <a:gd name="connsiteX3" fmla="*/ 0 w 17302"/>
                    <a:gd name="connsiteY3" fmla="*/ 17303 h 17302"/>
                  </a:gdLst>
                  <a:ahLst/>
                  <a:cxnLst>
                    <a:cxn ang="0">
                      <a:pos x="connsiteX0" y="connsiteY0"/>
                    </a:cxn>
                    <a:cxn ang="0">
                      <a:pos x="connsiteX1" y="connsiteY1"/>
                    </a:cxn>
                    <a:cxn ang="0">
                      <a:pos x="connsiteX2" y="connsiteY2"/>
                    </a:cxn>
                    <a:cxn ang="0">
                      <a:pos x="connsiteX3" y="connsiteY3"/>
                    </a:cxn>
                  </a:cxnLst>
                  <a:rect l="l" t="t" r="r" b="b"/>
                  <a:pathLst>
                    <a:path w="17302" h="17302">
                      <a:moveTo>
                        <a:pt x="0" y="0"/>
                      </a:moveTo>
                      <a:lnTo>
                        <a:pt x="17303" y="0"/>
                      </a:lnTo>
                      <a:lnTo>
                        <a:pt x="17303" y="17303"/>
                      </a:lnTo>
                      <a:lnTo>
                        <a:pt x="0" y="17303"/>
                      </a:lnTo>
                      <a:close/>
                    </a:path>
                  </a:pathLst>
                </a:custGeom>
                <a:grpFill/>
                <a:ln w="1878" cap="flat">
                  <a:noFill/>
                  <a:prstDash val="solid"/>
                  <a:miter/>
                </a:ln>
              </p:spPr>
              <p:txBody>
                <a:bodyPr rtlCol="0" anchor="ctr"/>
                <a:lstStyle/>
                <a:p>
                  <a:endParaRPr lang="en-GB" noProof="0" dirty="0"/>
                </a:p>
              </p:txBody>
            </p:sp>
            <p:sp>
              <p:nvSpPr>
                <p:cNvPr id="295" name="Freihandform: Form 294">
                  <a:extLst>
                    <a:ext uri="{FF2B5EF4-FFF2-40B4-BE49-F238E27FC236}">
                      <a16:creationId xmlns:a16="http://schemas.microsoft.com/office/drawing/2014/main" id="{73133F33-5D70-EE2D-D071-39EF93DB724A}"/>
                    </a:ext>
                  </a:extLst>
                </p:cNvPr>
                <p:cNvSpPr/>
                <p:nvPr/>
              </p:nvSpPr>
              <p:spPr>
                <a:xfrm>
                  <a:off x="4474508" y="3496238"/>
                  <a:ext cx="17302" cy="17302"/>
                </a:xfrm>
                <a:custGeom>
                  <a:avLst/>
                  <a:gdLst>
                    <a:gd name="connsiteX0" fmla="*/ 0 w 17302"/>
                    <a:gd name="connsiteY0" fmla="*/ 0 h 17302"/>
                    <a:gd name="connsiteX1" fmla="*/ 17303 w 17302"/>
                    <a:gd name="connsiteY1" fmla="*/ 0 h 17302"/>
                    <a:gd name="connsiteX2" fmla="*/ 17303 w 17302"/>
                    <a:gd name="connsiteY2" fmla="*/ 17303 h 17302"/>
                    <a:gd name="connsiteX3" fmla="*/ 0 w 17302"/>
                    <a:gd name="connsiteY3" fmla="*/ 17303 h 17302"/>
                  </a:gdLst>
                  <a:ahLst/>
                  <a:cxnLst>
                    <a:cxn ang="0">
                      <a:pos x="connsiteX0" y="connsiteY0"/>
                    </a:cxn>
                    <a:cxn ang="0">
                      <a:pos x="connsiteX1" y="connsiteY1"/>
                    </a:cxn>
                    <a:cxn ang="0">
                      <a:pos x="connsiteX2" y="connsiteY2"/>
                    </a:cxn>
                    <a:cxn ang="0">
                      <a:pos x="connsiteX3" y="connsiteY3"/>
                    </a:cxn>
                  </a:cxnLst>
                  <a:rect l="l" t="t" r="r" b="b"/>
                  <a:pathLst>
                    <a:path w="17302" h="17302">
                      <a:moveTo>
                        <a:pt x="0" y="0"/>
                      </a:moveTo>
                      <a:lnTo>
                        <a:pt x="17303" y="0"/>
                      </a:lnTo>
                      <a:lnTo>
                        <a:pt x="17303" y="17303"/>
                      </a:lnTo>
                      <a:lnTo>
                        <a:pt x="0" y="17303"/>
                      </a:lnTo>
                      <a:close/>
                    </a:path>
                  </a:pathLst>
                </a:custGeom>
                <a:grpFill/>
                <a:ln w="1878" cap="flat">
                  <a:noFill/>
                  <a:prstDash val="solid"/>
                  <a:miter/>
                </a:ln>
              </p:spPr>
              <p:txBody>
                <a:bodyPr rtlCol="0" anchor="ctr"/>
                <a:lstStyle/>
                <a:p>
                  <a:endParaRPr lang="en-GB" noProof="0" dirty="0"/>
                </a:p>
              </p:txBody>
            </p:sp>
            <p:sp>
              <p:nvSpPr>
                <p:cNvPr id="296" name="Freihandform: Form 295">
                  <a:extLst>
                    <a:ext uri="{FF2B5EF4-FFF2-40B4-BE49-F238E27FC236}">
                      <a16:creationId xmlns:a16="http://schemas.microsoft.com/office/drawing/2014/main" id="{15B28E1A-DB8A-585D-F693-1CF15F0A0C64}"/>
                    </a:ext>
                  </a:extLst>
                </p:cNvPr>
                <p:cNvSpPr/>
                <p:nvPr/>
              </p:nvSpPr>
              <p:spPr>
                <a:xfrm>
                  <a:off x="4490099" y="3520006"/>
                  <a:ext cx="17302" cy="17302"/>
                </a:xfrm>
                <a:custGeom>
                  <a:avLst/>
                  <a:gdLst>
                    <a:gd name="connsiteX0" fmla="*/ 0 w 17302"/>
                    <a:gd name="connsiteY0" fmla="*/ 0 h 17302"/>
                    <a:gd name="connsiteX1" fmla="*/ 17303 w 17302"/>
                    <a:gd name="connsiteY1" fmla="*/ 0 h 17302"/>
                    <a:gd name="connsiteX2" fmla="*/ 17303 w 17302"/>
                    <a:gd name="connsiteY2" fmla="*/ 17303 h 17302"/>
                    <a:gd name="connsiteX3" fmla="*/ 0 w 17302"/>
                    <a:gd name="connsiteY3" fmla="*/ 17303 h 17302"/>
                  </a:gdLst>
                  <a:ahLst/>
                  <a:cxnLst>
                    <a:cxn ang="0">
                      <a:pos x="connsiteX0" y="connsiteY0"/>
                    </a:cxn>
                    <a:cxn ang="0">
                      <a:pos x="connsiteX1" y="connsiteY1"/>
                    </a:cxn>
                    <a:cxn ang="0">
                      <a:pos x="connsiteX2" y="connsiteY2"/>
                    </a:cxn>
                    <a:cxn ang="0">
                      <a:pos x="connsiteX3" y="connsiteY3"/>
                    </a:cxn>
                  </a:cxnLst>
                  <a:rect l="l" t="t" r="r" b="b"/>
                  <a:pathLst>
                    <a:path w="17302" h="17302">
                      <a:moveTo>
                        <a:pt x="0" y="0"/>
                      </a:moveTo>
                      <a:lnTo>
                        <a:pt x="17303" y="0"/>
                      </a:lnTo>
                      <a:lnTo>
                        <a:pt x="17303" y="17303"/>
                      </a:lnTo>
                      <a:lnTo>
                        <a:pt x="0" y="17303"/>
                      </a:lnTo>
                      <a:close/>
                    </a:path>
                  </a:pathLst>
                </a:custGeom>
                <a:grpFill/>
                <a:ln w="1878" cap="flat">
                  <a:noFill/>
                  <a:prstDash val="solid"/>
                  <a:miter/>
                </a:ln>
              </p:spPr>
              <p:txBody>
                <a:bodyPr rtlCol="0" anchor="ctr"/>
                <a:lstStyle/>
                <a:p>
                  <a:endParaRPr lang="en-GB" noProof="0" dirty="0"/>
                </a:p>
              </p:txBody>
            </p:sp>
            <p:sp>
              <p:nvSpPr>
                <p:cNvPr id="297" name="Freihandform: Form 296">
                  <a:extLst>
                    <a:ext uri="{FF2B5EF4-FFF2-40B4-BE49-F238E27FC236}">
                      <a16:creationId xmlns:a16="http://schemas.microsoft.com/office/drawing/2014/main" id="{AA0758E0-553A-6A40-E873-0F5F9A447362}"/>
                    </a:ext>
                  </a:extLst>
                </p:cNvPr>
                <p:cNvSpPr/>
                <p:nvPr/>
              </p:nvSpPr>
              <p:spPr>
                <a:xfrm>
                  <a:off x="4430031" y="3521952"/>
                  <a:ext cx="117709" cy="77152"/>
                </a:xfrm>
                <a:custGeom>
                  <a:avLst/>
                  <a:gdLst>
                    <a:gd name="connsiteX0" fmla="*/ 96575 w 117709"/>
                    <a:gd name="connsiteY0" fmla="*/ 36652 h 77152"/>
                    <a:gd name="connsiteX1" fmla="*/ 50561 w 117709"/>
                    <a:gd name="connsiteY1" fmla="*/ 35131 h 77152"/>
                    <a:gd name="connsiteX2" fmla="*/ 42575 w 117709"/>
                    <a:gd name="connsiteY2" fmla="*/ 34180 h 77152"/>
                    <a:gd name="connsiteX3" fmla="*/ 38202 w 117709"/>
                    <a:gd name="connsiteY3" fmla="*/ 24293 h 77152"/>
                    <a:gd name="connsiteX4" fmla="*/ 38012 w 117709"/>
                    <a:gd name="connsiteY4" fmla="*/ 22772 h 77152"/>
                    <a:gd name="connsiteX5" fmla="*/ 28695 w 117709"/>
                    <a:gd name="connsiteY5" fmla="*/ 4328 h 77152"/>
                    <a:gd name="connsiteX6" fmla="*/ 7019 w 117709"/>
                    <a:gd name="connsiteY6" fmla="*/ 716 h 77152"/>
                    <a:gd name="connsiteX7" fmla="*/ 174 w 117709"/>
                    <a:gd name="connsiteY7" fmla="*/ 11554 h 77152"/>
                    <a:gd name="connsiteX8" fmla="*/ 11012 w 117709"/>
                    <a:gd name="connsiteY8" fmla="*/ 18209 h 77152"/>
                    <a:gd name="connsiteX9" fmla="*/ 18617 w 117709"/>
                    <a:gd name="connsiteY9" fmla="*/ 19159 h 77152"/>
                    <a:gd name="connsiteX10" fmla="*/ 19568 w 117709"/>
                    <a:gd name="connsiteY10" fmla="*/ 19920 h 77152"/>
                    <a:gd name="connsiteX11" fmla="*/ 19948 w 117709"/>
                    <a:gd name="connsiteY11" fmla="*/ 24293 h 77152"/>
                    <a:gd name="connsiteX12" fmla="*/ 20139 w 117709"/>
                    <a:gd name="connsiteY12" fmla="*/ 25814 h 77152"/>
                    <a:gd name="connsiteX13" fmla="*/ 30977 w 117709"/>
                    <a:gd name="connsiteY13" fmla="*/ 48061 h 77152"/>
                    <a:gd name="connsiteX14" fmla="*/ 50181 w 117709"/>
                    <a:gd name="connsiteY14" fmla="*/ 53004 h 77152"/>
                    <a:gd name="connsiteX15" fmla="*/ 51132 w 117709"/>
                    <a:gd name="connsiteY15" fmla="*/ 53004 h 77152"/>
                    <a:gd name="connsiteX16" fmla="*/ 92582 w 117709"/>
                    <a:gd name="connsiteY16" fmla="*/ 54145 h 77152"/>
                    <a:gd name="connsiteX17" fmla="*/ 97146 w 117709"/>
                    <a:gd name="connsiteY17" fmla="*/ 59279 h 77152"/>
                    <a:gd name="connsiteX18" fmla="*/ 10441 w 117709"/>
                    <a:gd name="connsiteY18" fmla="*/ 59279 h 77152"/>
                    <a:gd name="connsiteX19" fmla="*/ 1505 w 117709"/>
                    <a:gd name="connsiteY19" fmla="*/ 68216 h 77152"/>
                    <a:gd name="connsiteX20" fmla="*/ 10441 w 117709"/>
                    <a:gd name="connsiteY20" fmla="*/ 77152 h 77152"/>
                    <a:gd name="connsiteX21" fmla="*/ 108744 w 117709"/>
                    <a:gd name="connsiteY21" fmla="*/ 77152 h 77152"/>
                    <a:gd name="connsiteX22" fmla="*/ 115399 w 117709"/>
                    <a:gd name="connsiteY22" fmla="*/ 74300 h 77152"/>
                    <a:gd name="connsiteX23" fmla="*/ 117681 w 117709"/>
                    <a:gd name="connsiteY23" fmla="*/ 67455 h 77152"/>
                    <a:gd name="connsiteX24" fmla="*/ 96575 w 117709"/>
                    <a:gd name="connsiteY24" fmla="*/ 36652 h 7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7709" h="77152">
                      <a:moveTo>
                        <a:pt x="96575" y="36652"/>
                      </a:moveTo>
                      <a:cubicBezTo>
                        <a:pt x="83646" y="33610"/>
                        <a:pt x="55505" y="34751"/>
                        <a:pt x="50561" y="35131"/>
                      </a:cubicBezTo>
                      <a:cubicBezTo>
                        <a:pt x="47899" y="34941"/>
                        <a:pt x="44287" y="34561"/>
                        <a:pt x="42575" y="34180"/>
                      </a:cubicBezTo>
                      <a:cubicBezTo>
                        <a:pt x="40484" y="31899"/>
                        <a:pt x="38582" y="29237"/>
                        <a:pt x="38202" y="24293"/>
                      </a:cubicBezTo>
                      <a:lnTo>
                        <a:pt x="38012" y="22772"/>
                      </a:lnTo>
                      <a:cubicBezTo>
                        <a:pt x="37251" y="13835"/>
                        <a:pt x="36491" y="9652"/>
                        <a:pt x="28695" y="4328"/>
                      </a:cubicBezTo>
                      <a:cubicBezTo>
                        <a:pt x="19378" y="-1946"/>
                        <a:pt x="8160" y="335"/>
                        <a:pt x="7019" y="716"/>
                      </a:cubicBezTo>
                      <a:cubicBezTo>
                        <a:pt x="2265" y="1857"/>
                        <a:pt x="-777" y="6610"/>
                        <a:pt x="174" y="11554"/>
                      </a:cubicBezTo>
                      <a:cubicBezTo>
                        <a:pt x="1315" y="16307"/>
                        <a:pt x="6068" y="19350"/>
                        <a:pt x="11012" y="18209"/>
                      </a:cubicBezTo>
                      <a:cubicBezTo>
                        <a:pt x="12153" y="18019"/>
                        <a:pt x="16336" y="17638"/>
                        <a:pt x="18617" y="19159"/>
                      </a:cubicBezTo>
                      <a:cubicBezTo>
                        <a:pt x="18998" y="19540"/>
                        <a:pt x="19378" y="19730"/>
                        <a:pt x="19568" y="19920"/>
                      </a:cubicBezTo>
                      <a:cubicBezTo>
                        <a:pt x="19758" y="20871"/>
                        <a:pt x="19948" y="22582"/>
                        <a:pt x="19948" y="24293"/>
                      </a:cubicBezTo>
                      <a:lnTo>
                        <a:pt x="20139" y="25814"/>
                      </a:lnTo>
                      <a:cubicBezTo>
                        <a:pt x="21279" y="38173"/>
                        <a:pt x="27554" y="44638"/>
                        <a:pt x="30977" y="48061"/>
                      </a:cubicBezTo>
                      <a:cubicBezTo>
                        <a:pt x="32498" y="49582"/>
                        <a:pt x="35160" y="52434"/>
                        <a:pt x="50181" y="53004"/>
                      </a:cubicBezTo>
                      <a:cubicBezTo>
                        <a:pt x="50561" y="53004"/>
                        <a:pt x="50751" y="53004"/>
                        <a:pt x="51132" y="53004"/>
                      </a:cubicBezTo>
                      <a:cubicBezTo>
                        <a:pt x="59498" y="52624"/>
                        <a:pt x="83456" y="52054"/>
                        <a:pt x="92582" y="54145"/>
                      </a:cubicBezTo>
                      <a:cubicBezTo>
                        <a:pt x="94484" y="54526"/>
                        <a:pt x="96005" y="56617"/>
                        <a:pt x="97146" y="59279"/>
                      </a:cubicBezTo>
                      <a:lnTo>
                        <a:pt x="10441" y="59279"/>
                      </a:lnTo>
                      <a:cubicBezTo>
                        <a:pt x="5498" y="59279"/>
                        <a:pt x="1505" y="63272"/>
                        <a:pt x="1505" y="68216"/>
                      </a:cubicBezTo>
                      <a:cubicBezTo>
                        <a:pt x="1505" y="73159"/>
                        <a:pt x="5498" y="77152"/>
                        <a:pt x="10441" y="77152"/>
                      </a:cubicBezTo>
                      <a:lnTo>
                        <a:pt x="108744" y="77152"/>
                      </a:lnTo>
                      <a:cubicBezTo>
                        <a:pt x="111216" y="77152"/>
                        <a:pt x="113688" y="76011"/>
                        <a:pt x="115399" y="74300"/>
                      </a:cubicBezTo>
                      <a:cubicBezTo>
                        <a:pt x="117110" y="72399"/>
                        <a:pt x="117871" y="69927"/>
                        <a:pt x="117681" y="67455"/>
                      </a:cubicBezTo>
                      <a:cubicBezTo>
                        <a:pt x="117491" y="64793"/>
                        <a:pt x="114829" y="41026"/>
                        <a:pt x="96575" y="36652"/>
                      </a:cubicBezTo>
                      <a:close/>
                    </a:path>
                  </a:pathLst>
                </a:custGeom>
                <a:grpFill/>
                <a:ln w="1878" cap="flat">
                  <a:noFill/>
                  <a:prstDash val="solid"/>
                  <a:miter/>
                </a:ln>
              </p:spPr>
              <p:txBody>
                <a:bodyPr rtlCol="0" anchor="ctr"/>
                <a:lstStyle/>
                <a:p>
                  <a:endParaRPr lang="en-GB" noProof="0" dirty="0"/>
                </a:p>
              </p:txBody>
            </p:sp>
            <p:grpSp>
              <p:nvGrpSpPr>
                <p:cNvPr id="298" name="Grafik 32">
                  <a:extLst>
                    <a:ext uri="{FF2B5EF4-FFF2-40B4-BE49-F238E27FC236}">
                      <a16:creationId xmlns:a16="http://schemas.microsoft.com/office/drawing/2014/main" id="{A8D0B567-DD21-F9AA-E3DB-056866799E71}"/>
                    </a:ext>
                  </a:extLst>
                </p:cNvPr>
                <p:cNvGrpSpPr/>
                <p:nvPr/>
              </p:nvGrpSpPr>
              <p:grpSpPr>
                <a:xfrm>
                  <a:off x="4531740" y="3324541"/>
                  <a:ext cx="434471" cy="274563"/>
                  <a:chOff x="4531740" y="3324541"/>
                  <a:chExt cx="434471" cy="274563"/>
                </a:xfrm>
                <a:grpFill/>
              </p:grpSpPr>
              <p:sp>
                <p:nvSpPr>
                  <p:cNvPr id="299" name="Freihandform: Form 298">
                    <a:extLst>
                      <a:ext uri="{FF2B5EF4-FFF2-40B4-BE49-F238E27FC236}">
                        <a16:creationId xmlns:a16="http://schemas.microsoft.com/office/drawing/2014/main" id="{971C363C-F07E-18C1-BD5F-BF67B46E714B}"/>
                      </a:ext>
                    </a:extLst>
                  </p:cNvPr>
                  <p:cNvSpPr/>
                  <p:nvPr/>
                </p:nvSpPr>
                <p:spPr>
                  <a:xfrm>
                    <a:off x="4835965" y="3513541"/>
                    <a:ext cx="54380" cy="54380"/>
                  </a:xfrm>
                  <a:custGeom>
                    <a:avLst/>
                    <a:gdLst>
                      <a:gd name="connsiteX0" fmla="*/ 27190 w 54380"/>
                      <a:gd name="connsiteY0" fmla="*/ 0 h 54380"/>
                      <a:gd name="connsiteX1" fmla="*/ 0 w 54380"/>
                      <a:gd name="connsiteY1" fmla="*/ 27190 h 54380"/>
                      <a:gd name="connsiteX2" fmla="*/ 27190 w 54380"/>
                      <a:gd name="connsiteY2" fmla="*/ 54380 h 54380"/>
                      <a:gd name="connsiteX3" fmla="*/ 54380 w 54380"/>
                      <a:gd name="connsiteY3" fmla="*/ 27190 h 54380"/>
                      <a:gd name="connsiteX4" fmla="*/ 27190 w 54380"/>
                      <a:gd name="connsiteY4" fmla="*/ 0 h 54380"/>
                      <a:gd name="connsiteX5" fmla="*/ 27190 w 54380"/>
                      <a:gd name="connsiteY5" fmla="*/ 37268 h 54380"/>
                      <a:gd name="connsiteX6" fmla="*/ 17113 w 54380"/>
                      <a:gd name="connsiteY6" fmla="*/ 27190 h 54380"/>
                      <a:gd name="connsiteX7" fmla="*/ 27190 w 54380"/>
                      <a:gd name="connsiteY7" fmla="*/ 17113 h 54380"/>
                      <a:gd name="connsiteX8" fmla="*/ 37268 w 54380"/>
                      <a:gd name="connsiteY8" fmla="*/ 27190 h 54380"/>
                      <a:gd name="connsiteX9" fmla="*/ 27190 w 54380"/>
                      <a:gd name="connsiteY9" fmla="*/ 37268 h 54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380" h="54380">
                        <a:moveTo>
                          <a:pt x="27190" y="0"/>
                        </a:moveTo>
                        <a:cubicBezTo>
                          <a:pt x="12169" y="0"/>
                          <a:pt x="0" y="12169"/>
                          <a:pt x="0" y="27190"/>
                        </a:cubicBezTo>
                        <a:cubicBezTo>
                          <a:pt x="0" y="42211"/>
                          <a:pt x="12169" y="54380"/>
                          <a:pt x="27190" y="54380"/>
                        </a:cubicBezTo>
                        <a:cubicBezTo>
                          <a:pt x="42211" y="54380"/>
                          <a:pt x="54380" y="42211"/>
                          <a:pt x="54380" y="27190"/>
                        </a:cubicBezTo>
                        <a:cubicBezTo>
                          <a:pt x="54380" y="12169"/>
                          <a:pt x="42211" y="0"/>
                          <a:pt x="27190" y="0"/>
                        </a:cubicBezTo>
                        <a:close/>
                        <a:moveTo>
                          <a:pt x="27190" y="37268"/>
                        </a:moveTo>
                        <a:cubicBezTo>
                          <a:pt x="21676" y="37268"/>
                          <a:pt x="17113" y="32704"/>
                          <a:pt x="17113" y="27190"/>
                        </a:cubicBezTo>
                        <a:cubicBezTo>
                          <a:pt x="17113" y="21676"/>
                          <a:pt x="21676" y="17113"/>
                          <a:pt x="27190" y="17113"/>
                        </a:cubicBezTo>
                        <a:cubicBezTo>
                          <a:pt x="32704" y="17113"/>
                          <a:pt x="37268" y="21676"/>
                          <a:pt x="37268" y="27190"/>
                        </a:cubicBezTo>
                        <a:cubicBezTo>
                          <a:pt x="37268" y="32704"/>
                          <a:pt x="32704" y="37268"/>
                          <a:pt x="27190" y="37268"/>
                        </a:cubicBezTo>
                        <a:close/>
                      </a:path>
                    </a:pathLst>
                  </a:custGeom>
                  <a:grpFill/>
                  <a:ln w="1878" cap="flat">
                    <a:noFill/>
                    <a:prstDash val="solid"/>
                    <a:miter/>
                  </a:ln>
                </p:spPr>
                <p:txBody>
                  <a:bodyPr rtlCol="0" anchor="ctr"/>
                  <a:lstStyle/>
                  <a:p>
                    <a:endParaRPr lang="en-GB" noProof="0" dirty="0"/>
                  </a:p>
                </p:txBody>
              </p:sp>
              <p:sp>
                <p:nvSpPr>
                  <p:cNvPr id="300" name="Freihandform: Form 299">
                    <a:extLst>
                      <a:ext uri="{FF2B5EF4-FFF2-40B4-BE49-F238E27FC236}">
                        <a16:creationId xmlns:a16="http://schemas.microsoft.com/office/drawing/2014/main" id="{7FF50C79-27E4-F58B-42FB-75A2AD13DF3B}"/>
                      </a:ext>
                    </a:extLst>
                  </p:cNvPr>
                  <p:cNvSpPr/>
                  <p:nvPr/>
                </p:nvSpPr>
                <p:spPr>
                  <a:xfrm>
                    <a:off x="4611599" y="3513541"/>
                    <a:ext cx="54380" cy="54380"/>
                  </a:xfrm>
                  <a:custGeom>
                    <a:avLst/>
                    <a:gdLst>
                      <a:gd name="connsiteX0" fmla="*/ 27190 w 54380"/>
                      <a:gd name="connsiteY0" fmla="*/ 0 h 54380"/>
                      <a:gd name="connsiteX1" fmla="*/ 0 w 54380"/>
                      <a:gd name="connsiteY1" fmla="*/ 27190 h 54380"/>
                      <a:gd name="connsiteX2" fmla="*/ 27190 w 54380"/>
                      <a:gd name="connsiteY2" fmla="*/ 54380 h 54380"/>
                      <a:gd name="connsiteX3" fmla="*/ 54380 w 54380"/>
                      <a:gd name="connsiteY3" fmla="*/ 27190 h 54380"/>
                      <a:gd name="connsiteX4" fmla="*/ 27190 w 54380"/>
                      <a:gd name="connsiteY4" fmla="*/ 0 h 54380"/>
                      <a:gd name="connsiteX5" fmla="*/ 27190 w 54380"/>
                      <a:gd name="connsiteY5" fmla="*/ 37268 h 54380"/>
                      <a:gd name="connsiteX6" fmla="*/ 17113 w 54380"/>
                      <a:gd name="connsiteY6" fmla="*/ 27190 h 54380"/>
                      <a:gd name="connsiteX7" fmla="*/ 27190 w 54380"/>
                      <a:gd name="connsiteY7" fmla="*/ 17113 h 54380"/>
                      <a:gd name="connsiteX8" fmla="*/ 37268 w 54380"/>
                      <a:gd name="connsiteY8" fmla="*/ 27190 h 54380"/>
                      <a:gd name="connsiteX9" fmla="*/ 27190 w 54380"/>
                      <a:gd name="connsiteY9" fmla="*/ 37268 h 54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380" h="54380">
                        <a:moveTo>
                          <a:pt x="27190" y="0"/>
                        </a:moveTo>
                        <a:cubicBezTo>
                          <a:pt x="12169" y="0"/>
                          <a:pt x="0" y="12169"/>
                          <a:pt x="0" y="27190"/>
                        </a:cubicBezTo>
                        <a:cubicBezTo>
                          <a:pt x="0" y="42211"/>
                          <a:pt x="12169" y="54380"/>
                          <a:pt x="27190" y="54380"/>
                        </a:cubicBezTo>
                        <a:cubicBezTo>
                          <a:pt x="42211" y="54380"/>
                          <a:pt x="54380" y="42211"/>
                          <a:pt x="54380" y="27190"/>
                        </a:cubicBezTo>
                        <a:cubicBezTo>
                          <a:pt x="54380" y="12169"/>
                          <a:pt x="42211" y="0"/>
                          <a:pt x="27190" y="0"/>
                        </a:cubicBezTo>
                        <a:close/>
                        <a:moveTo>
                          <a:pt x="27190" y="37268"/>
                        </a:moveTo>
                        <a:cubicBezTo>
                          <a:pt x="21676" y="37268"/>
                          <a:pt x="17113" y="32704"/>
                          <a:pt x="17113" y="27190"/>
                        </a:cubicBezTo>
                        <a:cubicBezTo>
                          <a:pt x="17113" y="21676"/>
                          <a:pt x="21676" y="17113"/>
                          <a:pt x="27190" y="17113"/>
                        </a:cubicBezTo>
                        <a:cubicBezTo>
                          <a:pt x="32704" y="17113"/>
                          <a:pt x="37268" y="21676"/>
                          <a:pt x="37268" y="27190"/>
                        </a:cubicBezTo>
                        <a:cubicBezTo>
                          <a:pt x="37268" y="32704"/>
                          <a:pt x="32704" y="37268"/>
                          <a:pt x="27190" y="37268"/>
                        </a:cubicBezTo>
                        <a:close/>
                      </a:path>
                    </a:pathLst>
                  </a:custGeom>
                  <a:grpFill/>
                  <a:ln w="1878" cap="flat">
                    <a:noFill/>
                    <a:prstDash val="solid"/>
                    <a:miter/>
                  </a:ln>
                </p:spPr>
                <p:txBody>
                  <a:bodyPr rtlCol="0" anchor="ctr"/>
                  <a:lstStyle/>
                  <a:p>
                    <a:endParaRPr lang="en-GB" noProof="0" dirty="0"/>
                  </a:p>
                </p:txBody>
              </p:sp>
              <p:sp>
                <p:nvSpPr>
                  <p:cNvPr id="301" name="Freihandform: Form 300">
                    <a:extLst>
                      <a:ext uri="{FF2B5EF4-FFF2-40B4-BE49-F238E27FC236}">
                        <a16:creationId xmlns:a16="http://schemas.microsoft.com/office/drawing/2014/main" id="{A8166382-4CD9-764F-A14D-E7D37B4095BB}"/>
                      </a:ext>
                    </a:extLst>
                  </p:cNvPr>
                  <p:cNvSpPr/>
                  <p:nvPr/>
                </p:nvSpPr>
                <p:spPr>
                  <a:xfrm>
                    <a:off x="4531740" y="3324541"/>
                    <a:ext cx="434471" cy="274563"/>
                  </a:xfrm>
                  <a:custGeom>
                    <a:avLst/>
                    <a:gdLst>
                      <a:gd name="connsiteX0" fmla="*/ 428197 w 434471"/>
                      <a:gd name="connsiteY0" fmla="*/ 176070 h 274563"/>
                      <a:gd name="connsiteX1" fmla="*/ 428387 w 434471"/>
                      <a:gd name="connsiteY1" fmla="*/ 175500 h 274563"/>
                      <a:gd name="connsiteX2" fmla="*/ 428387 w 434471"/>
                      <a:gd name="connsiteY2" fmla="*/ 104577 h 274563"/>
                      <a:gd name="connsiteX3" fmla="*/ 427246 w 434471"/>
                      <a:gd name="connsiteY3" fmla="*/ 100394 h 274563"/>
                      <a:gd name="connsiteX4" fmla="*/ 378380 w 434471"/>
                      <a:gd name="connsiteY4" fmla="*/ 11979 h 274563"/>
                      <a:gd name="connsiteX5" fmla="*/ 375718 w 434471"/>
                      <a:gd name="connsiteY5" fmla="*/ 8937 h 274563"/>
                      <a:gd name="connsiteX6" fmla="*/ 364120 w 434471"/>
                      <a:gd name="connsiteY6" fmla="*/ 1331 h 274563"/>
                      <a:gd name="connsiteX7" fmla="*/ 359366 w 434471"/>
                      <a:gd name="connsiteY7" fmla="*/ 0 h 274563"/>
                      <a:gd name="connsiteX8" fmla="*/ 359366 w 434471"/>
                      <a:gd name="connsiteY8" fmla="*/ 0 h 274563"/>
                      <a:gd name="connsiteX9" fmla="*/ 291866 w 434471"/>
                      <a:gd name="connsiteY9" fmla="*/ 0 h 274563"/>
                      <a:gd name="connsiteX10" fmla="*/ 283310 w 434471"/>
                      <a:gd name="connsiteY10" fmla="*/ 8366 h 274563"/>
                      <a:gd name="connsiteX11" fmla="*/ 282359 w 434471"/>
                      <a:gd name="connsiteY11" fmla="*/ 170746 h 274563"/>
                      <a:gd name="connsiteX12" fmla="*/ 144317 w 434471"/>
                      <a:gd name="connsiteY12" fmla="*/ 170746 h 274563"/>
                      <a:gd name="connsiteX13" fmla="*/ 107049 w 434471"/>
                      <a:gd name="connsiteY13" fmla="*/ 157246 h 274563"/>
                      <a:gd name="connsiteX14" fmla="*/ 69782 w 434471"/>
                      <a:gd name="connsiteY14" fmla="*/ 170746 h 274563"/>
                      <a:gd name="connsiteX15" fmla="*/ 12930 w 434471"/>
                      <a:gd name="connsiteY15" fmla="*/ 170746 h 274563"/>
                      <a:gd name="connsiteX16" fmla="*/ 0 w 434471"/>
                      <a:gd name="connsiteY16" fmla="*/ 185958 h 274563"/>
                      <a:gd name="connsiteX17" fmla="*/ 0 w 434471"/>
                      <a:gd name="connsiteY17" fmla="*/ 209155 h 274563"/>
                      <a:gd name="connsiteX18" fmla="*/ 12930 w 434471"/>
                      <a:gd name="connsiteY18" fmla="*/ 224366 h 274563"/>
                      <a:gd name="connsiteX19" fmla="*/ 49056 w 434471"/>
                      <a:gd name="connsiteY19" fmla="*/ 224366 h 274563"/>
                      <a:gd name="connsiteX20" fmla="*/ 107049 w 434471"/>
                      <a:gd name="connsiteY20" fmla="*/ 274563 h 274563"/>
                      <a:gd name="connsiteX21" fmla="*/ 165042 w 434471"/>
                      <a:gd name="connsiteY21" fmla="*/ 224366 h 274563"/>
                      <a:gd name="connsiteX22" fmla="*/ 273613 w 434471"/>
                      <a:gd name="connsiteY22" fmla="*/ 224366 h 274563"/>
                      <a:gd name="connsiteX23" fmla="*/ 331606 w 434471"/>
                      <a:gd name="connsiteY23" fmla="*/ 274563 h 274563"/>
                      <a:gd name="connsiteX24" fmla="*/ 389599 w 434471"/>
                      <a:gd name="connsiteY24" fmla="*/ 223986 h 274563"/>
                      <a:gd name="connsiteX25" fmla="*/ 392261 w 434471"/>
                      <a:gd name="connsiteY25" fmla="*/ 224556 h 274563"/>
                      <a:gd name="connsiteX26" fmla="*/ 427627 w 434471"/>
                      <a:gd name="connsiteY26" fmla="*/ 224556 h 274563"/>
                      <a:gd name="connsiteX27" fmla="*/ 434472 w 434471"/>
                      <a:gd name="connsiteY27" fmla="*/ 217711 h 274563"/>
                      <a:gd name="connsiteX28" fmla="*/ 434472 w 434471"/>
                      <a:gd name="connsiteY28" fmla="*/ 182725 h 274563"/>
                      <a:gd name="connsiteX29" fmla="*/ 428197 w 434471"/>
                      <a:gd name="connsiteY29" fmla="*/ 176070 h 274563"/>
                      <a:gd name="connsiteX30" fmla="*/ 49056 w 434471"/>
                      <a:gd name="connsiteY30" fmla="*/ 207634 h 274563"/>
                      <a:gd name="connsiteX31" fmla="*/ 16923 w 434471"/>
                      <a:gd name="connsiteY31" fmla="*/ 207634 h 274563"/>
                      <a:gd name="connsiteX32" fmla="*/ 16923 w 434471"/>
                      <a:gd name="connsiteY32" fmla="*/ 187859 h 274563"/>
                      <a:gd name="connsiteX33" fmla="*/ 55711 w 434471"/>
                      <a:gd name="connsiteY33" fmla="*/ 187859 h 274563"/>
                      <a:gd name="connsiteX34" fmla="*/ 49056 w 434471"/>
                      <a:gd name="connsiteY34" fmla="*/ 207634 h 274563"/>
                      <a:gd name="connsiteX35" fmla="*/ 107049 w 434471"/>
                      <a:gd name="connsiteY35" fmla="*/ 257641 h 274563"/>
                      <a:gd name="connsiteX36" fmla="*/ 65408 w 434471"/>
                      <a:gd name="connsiteY36" fmla="*/ 216000 h 274563"/>
                      <a:gd name="connsiteX37" fmla="*/ 107049 w 434471"/>
                      <a:gd name="connsiteY37" fmla="*/ 174359 h 274563"/>
                      <a:gd name="connsiteX38" fmla="*/ 148690 w 434471"/>
                      <a:gd name="connsiteY38" fmla="*/ 216000 h 274563"/>
                      <a:gd name="connsiteX39" fmla="*/ 107049 w 434471"/>
                      <a:gd name="connsiteY39" fmla="*/ 257641 h 274563"/>
                      <a:gd name="connsiteX40" fmla="*/ 273423 w 434471"/>
                      <a:gd name="connsiteY40" fmla="*/ 207634 h 274563"/>
                      <a:gd name="connsiteX41" fmla="*/ 164852 w 434471"/>
                      <a:gd name="connsiteY41" fmla="*/ 207634 h 274563"/>
                      <a:gd name="connsiteX42" fmla="*/ 158197 w 434471"/>
                      <a:gd name="connsiteY42" fmla="*/ 187859 h 274563"/>
                      <a:gd name="connsiteX43" fmla="*/ 279887 w 434471"/>
                      <a:gd name="connsiteY43" fmla="*/ 187859 h 274563"/>
                      <a:gd name="connsiteX44" fmla="*/ 273423 w 434471"/>
                      <a:gd name="connsiteY44" fmla="*/ 207634 h 274563"/>
                      <a:gd name="connsiteX45" fmla="*/ 300232 w 434471"/>
                      <a:gd name="connsiteY45" fmla="*/ 17113 h 274563"/>
                      <a:gd name="connsiteX46" fmla="*/ 356894 w 434471"/>
                      <a:gd name="connsiteY46" fmla="*/ 17113 h 274563"/>
                      <a:gd name="connsiteX47" fmla="*/ 364500 w 434471"/>
                      <a:gd name="connsiteY47" fmla="*/ 22246 h 274563"/>
                      <a:gd name="connsiteX48" fmla="*/ 370775 w 434471"/>
                      <a:gd name="connsiteY48" fmla="*/ 33465 h 274563"/>
                      <a:gd name="connsiteX49" fmla="*/ 300042 w 434471"/>
                      <a:gd name="connsiteY49" fmla="*/ 33465 h 274563"/>
                      <a:gd name="connsiteX50" fmla="*/ 300232 w 434471"/>
                      <a:gd name="connsiteY50" fmla="*/ 17113 h 274563"/>
                      <a:gd name="connsiteX51" fmla="*/ 299852 w 434471"/>
                      <a:gd name="connsiteY51" fmla="*/ 50197 h 274563"/>
                      <a:gd name="connsiteX52" fmla="*/ 380092 w 434471"/>
                      <a:gd name="connsiteY52" fmla="*/ 50197 h 274563"/>
                      <a:gd name="connsiteX53" fmla="*/ 411275 w 434471"/>
                      <a:gd name="connsiteY53" fmla="*/ 106859 h 274563"/>
                      <a:gd name="connsiteX54" fmla="*/ 411275 w 434471"/>
                      <a:gd name="connsiteY54" fmla="*/ 123021 h 274563"/>
                      <a:gd name="connsiteX55" fmla="*/ 392831 w 434471"/>
                      <a:gd name="connsiteY55" fmla="*/ 123021 h 274563"/>
                      <a:gd name="connsiteX56" fmla="*/ 387507 w 434471"/>
                      <a:gd name="connsiteY56" fmla="*/ 120739 h 274563"/>
                      <a:gd name="connsiteX57" fmla="*/ 371916 w 434471"/>
                      <a:gd name="connsiteY57" fmla="*/ 104577 h 274563"/>
                      <a:gd name="connsiteX58" fmla="*/ 354423 w 434471"/>
                      <a:gd name="connsiteY58" fmla="*/ 97162 h 274563"/>
                      <a:gd name="connsiteX59" fmla="*/ 299472 w 434471"/>
                      <a:gd name="connsiteY59" fmla="*/ 97162 h 274563"/>
                      <a:gd name="connsiteX60" fmla="*/ 299852 w 434471"/>
                      <a:gd name="connsiteY60" fmla="*/ 50197 h 274563"/>
                      <a:gd name="connsiteX61" fmla="*/ 331415 w 434471"/>
                      <a:gd name="connsiteY61" fmla="*/ 257641 h 274563"/>
                      <a:gd name="connsiteX62" fmla="*/ 289775 w 434471"/>
                      <a:gd name="connsiteY62" fmla="*/ 216000 h 274563"/>
                      <a:gd name="connsiteX63" fmla="*/ 331415 w 434471"/>
                      <a:gd name="connsiteY63" fmla="*/ 174359 h 274563"/>
                      <a:gd name="connsiteX64" fmla="*/ 373056 w 434471"/>
                      <a:gd name="connsiteY64" fmla="*/ 216000 h 274563"/>
                      <a:gd name="connsiteX65" fmla="*/ 331415 w 434471"/>
                      <a:gd name="connsiteY65" fmla="*/ 257641 h 274563"/>
                      <a:gd name="connsiteX66" fmla="*/ 385225 w 434471"/>
                      <a:gd name="connsiteY66" fmla="*/ 182725 h 274563"/>
                      <a:gd name="connsiteX67" fmla="*/ 385225 w 434471"/>
                      <a:gd name="connsiteY67" fmla="*/ 192803 h 274563"/>
                      <a:gd name="connsiteX68" fmla="*/ 331415 w 434471"/>
                      <a:gd name="connsiteY68" fmla="*/ 157437 h 274563"/>
                      <a:gd name="connsiteX69" fmla="*/ 299282 w 434471"/>
                      <a:gd name="connsiteY69" fmla="*/ 167134 h 274563"/>
                      <a:gd name="connsiteX70" fmla="*/ 299472 w 434471"/>
                      <a:gd name="connsiteY70" fmla="*/ 114085 h 274563"/>
                      <a:gd name="connsiteX71" fmla="*/ 354423 w 434471"/>
                      <a:gd name="connsiteY71" fmla="*/ 114085 h 274563"/>
                      <a:gd name="connsiteX72" fmla="*/ 359937 w 434471"/>
                      <a:gd name="connsiteY72" fmla="*/ 116366 h 274563"/>
                      <a:gd name="connsiteX73" fmla="*/ 375528 w 434471"/>
                      <a:gd name="connsiteY73" fmla="*/ 132528 h 274563"/>
                      <a:gd name="connsiteX74" fmla="*/ 393021 w 434471"/>
                      <a:gd name="connsiteY74" fmla="*/ 139944 h 274563"/>
                      <a:gd name="connsiteX75" fmla="*/ 411465 w 434471"/>
                      <a:gd name="connsiteY75" fmla="*/ 139944 h 274563"/>
                      <a:gd name="connsiteX76" fmla="*/ 411465 w 434471"/>
                      <a:gd name="connsiteY76" fmla="*/ 175500 h 274563"/>
                      <a:gd name="connsiteX77" fmla="*/ 411465 w 434471"/>
                      <a:gd name="connsiteY77" fmla="*/ 175880 h 274563"/>
                      <a:gd name="connsiteX78" fmla="*/ 392070 w 434471"/>
                      <a:gd name="connsiteY78" fmla="*/ 175880 h 274563"/>
                      <a:gd name="connsiteX79" fmla="*/ 385225 w 434471"/>
                      <a:gd name="connsiteY79" fmla="*/ 182725 h 274563"/>
                      <a:gd name="connsiteX80" fmla="*/ 420592 w 434471"/>
                      <a:gd name="connsiteY80" fmla="*/ 211056 h 274563"/>
                      <a:gd name="connsiteX81" fmla="*/ 398725 w 434471"/>
                      <a:gd name="connsiteY81" fmla="*/ 211056 h 274563"/>
                      <a:gd name="connsiteX82" fmla="*/ 398725 w 434471"/>
                      <a:gd name="connsiteY82" fmla="*/ 189570 h 274563"/>
                      <a:gd name="connsiteX83" fmla="*/ 420592 w 434471"/>
                      <a:gd name="connsiteY83" fmla="*/ 189570 h 274563"/>
                      <a:gd name="connsiteX84" fmla="*/ 420592 w 434471"/>
                      <a:gd name="connsiteY84" fmla="*/ 211056 h 274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434471" h="274563">
                        <a:moveTo>
                          <a:pt x="428197" y="176070"/>
                        </a:moveTo>
                        <a:cubicBezTo>
                          <a:pt x="428197" y="175880"/>
                          <a:pt x="428387" y="175690"/>
                          <a:pt x="428387" y="175500"/>
                        </a:cubicBezTo>
                        <a:lnTo>
                          <a:pt x="428387" y="104577"/>
                        </a:lnTo>
                        <a:cubicBezTo>
                          <a:pt x="428387" y="103056"/>
                          <a:pt x="428007" y="101725"/>
                          <a:pt x="427246" y="100394"/>
                        </a:cubicBezTo>
                        <a:lnTo>
                          <a:pt x="378380" y="11979"/>
                        </a:lnTo>
                        <a:cubicBezTo>
                          <a:pt x="377810" y="10838"/>
                          <a:pt x="376859" y="9697"/>
                          <a:pt x="375718" y="8937"/>
                        </a:cubicBezTo>
                        <a:lnTo>
                          <a:pt x="364120" y="1331"/>
                        </a:lnTo>
                        <a:cubicBezTo>
                          <a:pt x="362789" y="380"/>
                          <a:pt x="361077" y="0"/>
                          <a:pt x="359366" y="0"/>
                        </a:cubicBezTo>
                        <a:lnTo>
                          <a:pt x="359366" y="0"/>
                        </a:lnTo>
                        <a:lnTo>
                          <a:pt x="291866" y="0"/>
                        </a:lnTo>
                        <a:cubicBezTo>
                          <a:pt x="287303" y="0"/>
                          <a:pt x="283500" y="3803"/>
                          <a:pt x="283310" y="8366"/>
                        </a:cubicBezTo>
                        <a:cubicBezTo>
                          <a:pt x="281979" y="123401"/>
                          <a:pt x="282169" y="159148"/>
                          <a:pt x="282359" y="170746"/>
                        </a:cubicBezTo>
                        <a:lnTo>
                          <a:pt x="144317" y="170746"/>
                        </a:lnTo>
                        <a:cubicBezTo>
                          <a:pt x="134239" y="162380"/>
                          <a:pt x="121120" y="157246"/>
                          <a:pt x="107049" y="157246"/>
                        </a:cubicBezTo>
                        <a:cubicBezTo>
                          <a:pt x="92979" y="157246"/>
                          <a:pt x="79859" y="162380"/>
                          <a:pt x="69782" y="170746"/>
                        </a:cubicBezTo>
                        <a:lnTo>
                          <a:pt x="12930" y="170746"/>
                        </a:lnTo>
                        <a:cubicBezTo>
                          <a:pt x="4373" y="170746"/>
                          <a:pt x="0" y="178352"/>
                          <a:pt x="0" y="185958"/>
                        </a:cubicBezTo>
                        <a:lnTo>
                          <a:pt x="0" y="209155"/>
                        </a:lnTo>
                        <a:cubicBezTo>
                          <a:pt x="0" y="220183"/>
                          <a:pt x="7986" y="224366"/>
                          <a:pt x="12930" y="224366"/>
                        </a:cubicBezTo>
                        <a:lnTo>
                          <a:pt x="49056" y="224366"/>
                        </a:lnTo>
                        <a:cubicBezTo>
                          <a:pt x="53239" y="252697"/>
                          <a:pt x="77577" y="274563"/>
                          <a:pt x="107049" y="274563"/>
                        </a:cubicBezTo>
                        <a:cubicBezTo>
                          <a:pt x="136521" y="274563"/>
                          <a:pt x="160859" y="252697"/>
                          <a:pt x="165042" y="224366"/>
                        </a:cubicBezTo>
                        <a:lnTo>
                          <a:pt x="273613" y="224366"/>
                        </a:lnTo>
                        <a:cubicBezTo>
                          <a:pt x="277796" y="252697"/>
                          <a:pt x="302134" y="274563"/>
                          <a:pt x="331606" y="274563"/>
                        </a:cubicBezTo>
                        <a:cubicBezTo>
                          <a:pt x="361268" y="274563"/>
                          <a:pt x="385796" y="252507"/>
                          <a:pt x="389599" y="223986"/>
                        </a:cubicBezTo>
                        <a:cubicBezTo>
                          <a:pt x="390359" y="224366"/>
                          <a:pt x="391310" y="224556"/>
                          <a:pt x="392261" y="224556"/>
                        </a:cubicBezTo>
                        <a:lnTo>
                          <a:pt x="427627" y="224556"/>
                        </a:lnTo>
                        <a:cubicBezTo>
                          <a:pt x="431430" y="224556"/>
                          <a:pt x="434472" y="221514"/>
                          <a:pt x="434472" y="217711"/>
                        </a:cubicBezTo>
                        <a:lnTo>
                          <a:pt x="434472" y="182725"/>
                        </a:lnTo>
                        <a:cubicBezTo>
                          <a:pt x="434282" y="179303"/>
                          <a:pt x="431620" y="176451"/>
                          <a:pt x="428197" y="176070"/>
                        </a:cubicBezTo>
                        <a:close/>
                        <a:moveTo>
                          <a:pt x="49056" y="207634"/>
                        </a:moveTo>
                        <a:lnTo>
                          <a:pt x="16923" y="207634"/>
                        </a:lnTo>
                        <a:lnTo>
                          <a:pt x="16923" y="187859"/>
                        </a:lnTo>
                        <a:lnTo>
                          <a:pt x="55711" y="187859"/>
                        </a:lnTo>
                        <a:cubicBezTo>
                          <a:pt x="52289" y="193754"/>
                          <a:pt x="50197" y="200599"/>
                          <a:pt x="49056" y="207634"/>
                        </a:cubicBezTo>
                        <a:close/>
                        <a:moveTo>
                          <a:pt x="107049" y="257641"/>
                        </a:moveTo>
                        <a:cubicBezTo>
                          <a:pt x="84042" y="257641"/>
                          <a:pt x="65408" y="239007"/>
                          <a:pt x="65408" y="216000"/>
                        </a:cubicBezTo>
                        <a:cubicBezTo>
                          <a:pt x="65408" y="192993"/>
                          <a:pt x="84042" y="174359"/>
                          <a:pt x="107049" y="174359"/>
                        </a:cubicBezTo>
                        <a:cubicBezTo>
                          <a:pt x="130056" y="174359"/>
                          <a:pt x="148690" y="192993"/>
                          <a:pt x="148690" y="216000"/>
                        </a:cubicBezTo>
                        <a:cubicBezTo>
                          <a:pt x="148690" y="239007"/>
                          <a:pt x="130056" y="257641"/>
                          <a:pt x="107049" y="257641"/>
                        </a:cubicBezTo>
                        <a:close/>
                        <a:moveTo>
                          <a:pt x="273423" y="207634"/>
                        </a:moveTo>
                        <a:lnTo>
                          <a:pt x="164852" y="207634"/>
                        </a:lnTo>
                        <a:cubicBezTo>
                          <a:pt x="163901" y="200599"/>
                          <a:pt x="161620" y="193944"/>
                          <a:pt x="158197" y="187859"/>
                        </a:cubicBezTo>
                        <a:lnTo>
                          <a:pt x="279887" y="187859"/>
                        </a:lnTo>
                        <a:cubicBezTo>
                          <a:pt x="276655" y="193754"/>
                          <a:pt x="274563" y="200599"/>
                          <a:pt x="273423" y="207634"/>
                        </a:cubicBezTo>
                        <a:close/>
                        <a:moveTo>
                          <a:pt x="300232" y="17113"/>
                        </a:moveTo>
                        <a:lnTo>
                          <a:pt x="356894" y="17113"/>
                        </a:lnTo>
                        <a:lnTo>
                          <a:pt x="364500" y="22246"/>
                        </a:lnTo>
                        <a:lnTo>
                          <a:pt x="370775" y="33465"/>
                        </a:lnTo>
                        <a:lnTo>
                          <a:pt x="300042" y="33465"/>
                        </a:lnTo>
                        <a:cubicBezTo>
                          <a:pt x="300042" y="27761"/>
                          <a:pt x="300232" y="22246"/>
                          <a:pt x="300232" y="17113"/>
                        </a:cubicBezTo>
                        <a:close/>
                        <a:moveTo>
                          <a:pt x="299852" y="50197"/>
                        </a:moveTo>
                        <a:lnTo>
                          <a:pt x="380092" y="50197"/>
                        </a:lnTo>
                        <a:lnTo>
                          <a:pt x="411275" y="106859"/>
                        </a:lnTo>
                        <a:lnTo>
                          <a:pt x="411275" y="123021"/>
                        </a:lnTo>
                        <a:lnTo>
                          <a:pt x="392831" y="123021"/>
                        </a:lnTo>
                        <a:cubicBezTo>
                          <a:pt x="389979" y="123021"/>
                          <a:pt x="387507" y="120739"/>
                          <a:pt x="387507" y="120739"/>
                        </a:cubicBezTo>
                        <a:lnTo>
                          <a:pt x="371916" y="104577"/>
                        </a:lnTo>
                        <a:cubicBezTo>
                          <a:pt x="364880" y="97352"/>
                          <a:pt x="355373" y="97162"/>
                          <a:pt x="354423" y="97162"/>
                        </a:cubicBezTo>
                        <a:lnTo>
                          <a:pt x="299472" y="97162"/>
                        </a:lnTo>
                        <a:cubicBezTo>
                          <a:pt x="299662" y="81951"/>
                          <a:pt x="299662" y="65979"/>
                          <a:pt x="299852" y="50197"/>
                        </a:cubicBezTo>
                        <a:close/>
                        <a:moveTo>
                          <a:pt x="331415" y="257641"/>
                        </a:moveTo>
                        <a:cubicBezTo>
                          <a:pt x="308408" y="257641"/>
                          <a:pt x="289775" y="239007"/>
                          <a:pt x="289775" y="216000"/>
                        </a:cubicBezTo>
                        <a:cubicBezTo>
                          <a:pt x="289775" y="192993"/>
                          <a:pt x="308408" y="174359"/>
                          <a:pt x="331415" y="174359"/>
                        </a:cubicBezTo>
                        <a:cubicBezTo>
                          <a:pt x="354423" y="174359"/>
                          <a:pt x="373056" y="192993"/>
                          <a:pt x="373056" y="216000"/>
                        </a:cubicBezTo>
                        <a:cubicBezTo>
                          <a:pt x="373056" y="239007"/>
                          <a:pt x="354423" y="257641"/>
                          <a:pt x="331415" y="257641"/>
                        </a:cubicBezTo>
                        <a:close/>
                        <a:moveTo>
                          <a:pt x="385225" y="182725"/>
                        </a:moveTo>
                        <a:lnTo>
                          <a:pt x="385225" y="192803"/>
                        </a:lnTo>
                        <a:cubicBezTo>
                          <a:pt x="376289" y="172077"/>
                          <a:pt x="355563" y="157437"/>
                          <a:pt x="331415" y="157437"/>
                        </a:cubicBezTo>
                        <a:cubicBezTo>
                          <a:pt x="319437" y="157437"/>
                          <a:pt x="308408" y="161049"/>
                          <a:pt x="299282" y="167134"/>
                        </a:cubicBezTo>
                        <a:cubicBezTo>
                          <a:pt x="299282" y="157246"/>
                          <a:pt x="299282" y="137662"/>
                          <a:pt x="299472" y="114085"/>
                        </a:cubicBezTo>
                        <a:lnTo>
                          <a:pt x="354423" y="114085"/>
                        </a:lnTo>
                        <a:cubicBezTo>
                          <a:pt x="354423" y="114085"/>
                          <a:pt x="357845" y="114275"/>
                          <a:pt x="359937" y="116366"/>
                        </a:cubicBezTo>
                        <a:lnTo>
                          <a:pt x="375528" y="132528"/>
                        </a:lnTo>
                        <a:cubicBezTo>
                          <a:pt x="376289" y="133289"/>
                          <a:pt x="382944" y="139944"/>
                          <a:pt x="393021" y="139944"/>
                        </a:cubicBezTo>
                        <a:lnTo>
                          <a:pt x="411465" y="139944"/>
                        </a:lnTo>
                        <a:lnTo>
                          <a:pt x="411465" y="175500"/>
                        </a:lnTo>
                        <a:cubicBezTo>
                          <a:pt x="411465" y="175690"/>
                          <a:pt x="411465" y="175690"/>
                          <a:pt x="411465" y="175880"/>
                        </a:cubicBezTo>
                        <a:lnTo>
                          <a:pt x="392070" y="175880"/>
                        </a:lnTo>
                        <a:cubicBezTo>
                          <a:pt x="388268" y="175880"/>
                          <a:pt x="385225" y="178923"/>
                          <a:pt x="385225" y="182725"/>
                        </a:cubicBezTo>
                        <a:close/>
                        <a:moveTo>
                          <a:pt x="420592" y="211056"/>
                        </a:moveTo>
                        <a:lnTo>
                          <a:pt x="398725" y="211056"/>
                        </a:lnTo>
                        <a:lnTo>
                          <a:pt x="398725" y="189570"/>
                        </a:lnTo>
                        <a:lnTo>
                          <a:pt x="420592" y="189570"/>
                        </a:lnTo>
                        <a:lnTo>
                          <a:pt x="420592" y="211056"/>
                        </a:lnTo>
                        <a:close/>
                      </a:path>
                    </a:pathLst>
                  </a:custGeom>
                  <a:grpFill/>
                  <a:ln w="1878" cap="flat">
                    <a:noFill/>
                    <a:prstDash val="solid"/>
                    <a:miter/>
                  </a:ln>
                </p:spPr>
                <p:txBody>
                  <a:bodyPr rtlCol="0" anchor="ctr"/>
                  <a:lstStyle/>
                  <a:p>
                    <a:endParaRPr lang="en-GB" noProof="0" dirty="0"/>
                  </a:p>
                </p:txBody>
              </p:sp>
            </p:grpSp>
          </p:grpSp>
        </p:grpSp>
      </p:grpSp>
      <p:sp>
        <p:nvSpPr>
          <p:cNvPr id="119" name="Text Box 50">
            <a:extLst>
              <a:ext uri="{FF2B5EF4-FFF2-40B4-BE49-F238E27FC236}">
                <a16:creationId xmlns:a16="http://schemas.microsoft.com/office/drawing/2014/main" id="{5E940C35-2FAE-0CFD-94E0-A10581C925F7}"/>
              </a:ext>
            </a:extLst>
          </p:cNvPr>
          <p:cNvSpPr txBox="1">
            <a:spLocks noChangeArrowheads="1"/>
          </p:cNvSpPr>
          <p:nvPr/>
        </p:nvSpPr>
        <p:spPr bwMode="auto">
          <a:xfrm>
            <a:off x="3674542" y="2108032"/>
            <a:ext cx="658118" cy="269688"/>
          </a:xfrm>
          <a:prstGeom prst="rect">
            <a:avLst/>
          </a:prstGeom>
          <a:noFill/>
          <a:ln w="12700">
            <a:noFill/>
            <a:miter lim="800000"/>
            <a:headEnd/>
            <a:tailEnd/>
          </a:ln>
        </p:spPr>
        <p:txBody>
          <a:bodyPr wrap="square" lIns="62308" tIns="29908" rIns="62308" bIns="29908">
            <a:spAutoFit/>
          </a:bodyPr>
          <a:lstStyle/>
          <a:p>
            <a:pPr algn="ctr">
              <a:spcBef>
                <a:spcPct val="50000"/>
              </a:spcBef>
            </a:pPr>
            <a:r>
              <a:rPr kumimoji="1" lang="en-GB" sz="680" i="1" noProof="0" dirty="0">
                <a:solidFill>
                  <a:srgbClr val="41474C"/>
                </a:solidFill>
                <a:latin typeface="Calibri" panose="020F0502020204030204" pitchFamily="34" charset="0"/>
                <a:cs typeface="Arial" charset="0"/>
              </a:rPr>
              <a:t>Regional</a:t>
            </a:r>
            <a:br>
              <a:rPr kumimoji="1" lang="en-GB" sz="680" i="1" noProof="0" dirty="0">
                <a:solidFill>
                  <a:srgbClr val="41474C"/>
                </a:solidFill>
                <a:latin typeface="Calibri" panose="020F0502020204030204" pitchFamily="34" charset="0"/>
                <a:cs typeface="Arial" charset="0"/>
              </a:rPr>
            </a:br>
            <a:r>
              <a:rPr kumimoji="1" lang="en-GB" sz="680" i="1" noProof="0" dirty="0">
                <a:solidFill>
                  <a:srgbClr val="41474C"/>
                </a:solidFill>
                <a:latin typeface="Calibri" panose="020F0502020204030204" pitchFamily="34" charset="0"/>
                <a:cs typeface="Arial" charset="0"/>
              </a:rPr>
              <a:t>transfer center</a:t>
            </a:r>
          </a:p>
        </p:txBody>
      </p:sp>
      <p:sp>
        <p:nvSpPr>
          <p:cNvPr id="6" name="Rechteck 5">
            <a:extLst>
              <a:ext uri="{FF2B5EF4-FFF2-40B4-BE49-F238E27FC236}">
                <a16:creationId xmlns:a16="http://schemas.microsoft.com/office/drawing/2014/main" id="{41F2C3C9-76DD-9CB6-A509-44934329164E}"/>
              </a:ext>
            </a:extLst>
          </p:cNvPr>
          <p:cNvSpPr/>
          <p:nvPr/>
        </p:nvSpPr>
        <p:spPr>
          <a:xfrm>
            <a:off x="4961113" y="1994081"/>
            <a:ext cx="396000" cy="2603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grpSp>
        <p:nvGrpSpPr>
          <p:cNvPr id="303" name="Grafik 42">
            <a:extLst>
              <a:ext uri="{FF2B5EF4-FFF2-40B4-BE49-F238E27FC236}">
                <a16:creationId xmlns:a16="http://schemas.microsoft.com/office/drawing/2014/main" id="{47E42FB7-0DC5-4B87-AAD6-78D4F6EB8F7C}"/>
              </a:ext>
            </a:extLst>
          </p:cNvPr>
          <p:cNvGrpSpPr>
            <a:grpSpLocks noChangeAspect="1"/>
          </p:cNvGrpSpPr>
          <p:nvPr/>
        </p:nvGrpSpPr>
        <p:grpSpPr>
          <a:xfrm>
            <a:off x="4979573" y="1861813"/>
            <a:ext cx="360000" cy="360000"/>
            <a:chOff x="1890251" y="3930400"/>
            <a:chExt cx="540000" cy="540000"/>
          </a:xfrm>
          <a:solidFill>
            <a:schemeClr val="accent1"/>
          </a:solidFill>
        </p:grpSpPr>
        <p:grpSp>
          <p:nvGrpSpPr>
            <p:cNvPr id="304" name="Grafik 42">
              <a:extLst>
                <a:ext uri="{FF2B5EF4-FFF2-40B4-BE49-F238E27FC236}">
                  <a16:creationId xmlns:a16="http://schemas.microsoft.com/office/drawing/2014/main" id="{8455EE88-D46F-A32A-5ED8-E5B83E1F771B}"/>
                </a:ext>
              </a:extLst>
            </p:cNvPr>
            <p:cNvGrpSpPr/>
            <p:nvPr/>
          </p:nvGrpSpPr>
          <p:grpSpPr>
            <a:xfrm>
              <a:off x="1890251" y="3930400"/>
              <a:ext cx="539429" cy="538859"/>
              <a:chOff x="1890251" y="3930400"/>
              <a:chExt cx="539429" cy="538859"/>
            </a:xfrm>
            <a:grpFill/>
          </p:grpSpPr>
          <p:grpSp>
            <p:nvGrpSpPr>
              <p:cNvPr id="305" name="Grafik 42">
                <a:extLst>
                  <a:ext uri="{FF2B5EF4-FFF2-40B4-BE49-F238E27FC236}">
                    <a16:creationId xmlns:a16="http://schemas.microsoft.com/office/drawing/2014/main" id="{35D8509B-90B0-C73F-B7A0-524AA1580659}"/>
                  </a:ext>
                </a:extLst>
              </p:cNvPr>
              <p:cNvGrpSpPr/>
              <p:nvPr/>
            </p:nvGrpSpPr>
            <p:grpSpPr>
              <a:xfrm>
                <a:off x="1890251" y="4151914"/>
                <a:ext cx="539429" cy="317345"/>
                <a:chOff x="1890251" y="4151914"/>
                <a:chExt cx="539429" cy="317345"/>
              </a:xfrm>
              <a:grpFill/>
            </p:grpSpPr>
            <p:sp>
              <p:nvSpPr>
                <p:cNvPr id="306" name="Freihandform: Form 305">
                  <a:extLst>
                    <a:ext uri="{FF2B5EF4-FFF2-40B4-BE49-F238E27FC236}">
                      <a16:creationId xmlns:a16="http://schemas.microsoft.com/office/drawing/2014/main" id="{557A8703-43A3-89EF-427D-41B8D7D85E22}"/>
                    </a:ext>
                  </a:extLst>
                </p:cNvPr>
                <p:cNvSpPr/>
                <p:nvPr/>
              </p:nvSpPr>
              <p:spPr>
                <a:xfrm>
                  <a:off x="2014032" y="4381984"/>
                  <a:ext cx="52098" cy="52098"/>
                </a:xfrm>
                <a:custGeom>
                  <a:avLst/>
                  <a:gdLst>
                    <a:gd name="connsiteX0" fmla="*/ 26049 w 52098"/>
                    <a:gd name="connsiteY0" fmla="*/ 0 h 52098"/>
                    <a:gd name="connsiteX1" fmla="*/ 0 w 52098"/>
                    <a:gd name="connsiteY1" fmla="*/ 26049 h 52098"/>
                    <a:gd name="connsiteX2" fmla="*/ 26049 w 52098"/>
                    <a:gd name="connsiteY2" fmla="*/ 52099 h 52098"/>
                    <a:gd name="connsiteX3" fmla="*/ 52099 w 52098"/>
                    <a:gd name="connsiteY3" fmla="*/ 26049 h 52098"/>
                    <a:gd name="connsiteX4" fmla="*/ 26049 w 52098"/>
                    <a:gd name="connsiteY4" fmla="*/ 0 h 52098"/>
                    <a:gd name="connsiteX5" fmla="*/ 26049 w 52098"/>
                    <a:gd name="connsiteY5" fmla="*/ 35366 h 52098"/>
                    <a:gd name="connsiteX6" fmla="*/ 16732 w 52098"/>
                    <a:gd name="connsiteY6" fmla="*/ 26049 h 52098"/>
                    <a:gd name="connsiteX7" fmla="*/ 26049 w 52098"/>
                    <a:gd name="connsiteY7" fmla="*/ 16732 h 52098"/>
                    <a:gd name="connsiteX8" fmla="*/ 35366 w 52098"/>
                    <a:gd name="connsiteY8" fmla="*/ 26049 h 52098"/>
                    <a:gd name="connsiteX9" fmla="*/ 26049 w 52098"/>
                    <a:gd name="connsiteY9" fmla="*/ 35366 h 52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098" h="52098">
                      <a:moveTo>
                        <a:pt x="26049" y="0"/>
                      </a:moveTo>
                      <a:cubicBezTo>
                        <a:pt x="11789" y="0"/>
                        <a:pt x="0" y="11599"/>
                        <a:pt x="0" y="26049"/>
                      </a:cubicBezTo>
                      <a:cubicBezTo>
                        <a:pt x="0" y="40310"/>
                        <a:pt x="11599" y="52099"/>
                        <a:pt x="26049" y="52099"/>
                      </a:cubicBezTo>
                      <a:cubicBezTo>
                        <a:pt x="40310" y="52099"/>
                        <a:pt x="52099" y="40500"/>
                        <a:pt x="52099" y="26049"/>
                      </a:cubicBezTo>
                      <a:cubicBezTo>
                        <a:pt x="51908" y="11789"/>
                        <a:pt x="40310" y="0"/>
                        <a:pt x="26049" y="0"/>
                      </a:cubicBezTo>
                      <a:close/>
                      <a:moveTo>
                        <a:pt x="26049" y="35366"/>
                      </a:moveTo>
                      <a:cubicBezTo>
                        <a:pt x="20915" y="35366"/>
                        <a:pt x="16732" y="31183"/>
                        <a:pt x="16732" y="26049"/>
                      </a:cubicBezTo>
                      <a:cubicBezTo>
                        <a:pt x="16732" y="20915"/>
                        <a:pt x="20915" y="16732"/>
                        <a:pt x="26049" y="16732"/>
                      </a:cubicBezTo>
                      <a:cubicBezTo>
                        <a:pt x="31183" y="16732"/>
                        <a:pt x="35366" y="20915"/>
                        <a:pt x="35366" y="26049"/>
                      </a:cubicBezTo>
                      <a:cubicBezTo>
                        <a:pt x="35366" y="31183"/>
                        <a:pt x="31183" y="35366"/>
                        <a:pt x="26049" y="35366"/>
                      </a:cubicBezTo>
                      <a:close/>
                    </a:path>
                  </a:pathLst>
                </a:custGeom>
                <a:grpFill/>
                <a:ln w="1878" cap="flat">
                  <a:noFill/>
                  <a:prstDash val="solid"/>
                  <a:miter/>
                </a:ln>
              </p:spPr>
              <p:txBody>
                <a:bodyPr rtlCol="0" anchor="ctr"/>
                <a:lstStyle/>
                <a:p>
                  <a:endParaRPr lang="en-GB" noProof="0" dirty="0"/>
                </a:p>
              </p:txBody>
            </p:sp>
            <p:sp>
              <p:nvSpPr>
                <p:cNvPr id="307" name="Freihandform: Form 306">
                  <a:extLst>
                    <a:ext uri="{FF2B5EF4-FFF2-40B4-BE49-F238E27FC236}">
                      <a16:creationId xmlns:a16="http://schemas.microsoft.com/office/drawing/2014/main" id="{C3D98308-2772-5C9B-71A0-8EE12C239A68}"/>
                    </a:ext>
                  </a:extLst>
                </p:cNvPr>
                <p:cNvSpPr/>
                <p:nvPr/>
              </p:nvSpPr>
              <p:spPr>
                <a:xfrm>
                  <a:off x="2288786" y="4381984"/>
                  <a:ext cx="52098" cy="52098"/>
                </a:xfrm>
                <a:custGeom>
                  <a:avLst/>
                  <a:gdLst>
                    <a:gd name="connsiteX0" fmla="*/ 26049 w 52098"/>
                    <a:gd name="connsiteY0" fmla="*/ 0 h 52098"/>
                    <a:gd name="connsiteX1" fmla="*/ 0 w 52098"/>
                    <a:gd name="connsiteY1" fmla="*/ 26049 h 52098"/>
                    <a:gd name="connsiteX2" fmla="*/ 26049 w 52098"/>
                    <a:gd name="connsiteY2" fmla="*/ 52099 h 52098"/>
                    <a:gd name="connsiteX3" fmla="*/ 52099 w 52098"/>
                    <a:gd name="connsiteY3" fmla="*/ 26049 h 52098"/>
                    <a:gd name="connsiteX4" fmla="*/ 26049 w 52098"/>
                    <a:gd name="connsiteY4" fmla="*/ 0 h 52098"/>
                    <a:gd name="connsiteX5" fmla="*/ 26049 w 52098"/>
                    <a:gd name="connsiteY5" fmla="*/ 35366 h 52098"/>
                    <a:gd name="connsiteX6" fmla="*/ 16732 w 52098"/>
                    <a:gd name="connsiteY6" fmla="*/ 26049 h 52098"/>
                    <a:gd name="connsiteX7" fmla="*/ 26049 w 52098"/>
                    <a:gd name="connsiteY7" fmla="*/ 16732 h 52098"/>
                    <a:gd name="connsiteX8" fmla="*/ 35366 w 52098"/>
                    <a:gd name="connsiteY8" fmla="*/ 26049 h 52098"/>
                    <a:gd name="connsiteX9" fmla="*/ 26049 w 52098"/>
                    <a:gd name="connsiteY9" fmla="*/ 35366 h 52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098" h="52098">
                      <a:moveTo>
                        <a:pt x="26049" y="0"/>
                      </a:moveTo>
                      <a:cubicBezTo>
                        <a:pt x="11789" y="0"/>
                        <a:pt x="0" y="11599"/>
                        <a:pt x="0" y="26049"/>
                      </a:cubicBezTo>
                      <a:cubicBezTo>
                        <a:pt x="0" y="40310"/>
                        <a:pt x="11599" y="52099"/>
                        <a:pt x="26049" y="52099"/>
                      </a:cubicBezTo>
                      <a:cubicBezTo>
                        <a:pt x="40310" y="52099"/>
                        <a:pt x="52099" y="40500"/>
                        <a:pt x="52099" y="26049"/>
                      </a:cubicBezTo>
                      <a:cubicBezTo>
                        <a:pt x="51908" y="11789"/>
                        <a:pt x="40310" y="0"/>
                        <a:pt x="26049" y="0"/>
                      </a:cubicBezTo>
                      <a:close/>
                      <a:moveTo>
                        <a:pt x="26049" y="35366"/>
                      </a:moveTo>
                      <a:cubicBezTo>
                        <a:pt x="20915" y="35366"/>
                        <a:pt x="16732" y="31183"/>
                        <a:pt x="16732" y="26049"/>
                      </a:cubicBezTo>
                      <a:cubicBezTo>
                        <a:pt x="16732" y="20915"/>
                        <a:pt x="20915" y="16732"/>
                        <a:pt x="26049" y="16732"/>
                      </a:cubicBezTo>
                      <a:cubicBezTo>
                        <a:pt x="31183" y="16732"/>
                        <a:pt x="35366" y="20915"/>
                        <a:pt x="35366" y="26049"/>
                      </a:cubicBezTo>
                      <a:cubicBezTo>
                        <a:pt x="35366" y="31183"/>
                        <a:pt x="31183" y="35366"/>
                        <a:pt x="26049" y="35366"/>
                      </a:cubicBezTo>
                      <a:close/>
                    </a:path>
                  </a:pathLst>
                </a:custGeom>
                <a:grpFill/>
                <a:ln w="1878" cap="flat">
                  <a:noFill/>
                  <a:prstDash val="solid"/>
                  <a:miter/>
                </a:ln>
              </p:spPr>
              <p:txBody>
                <a:bodyPr rtlCol="0" anchor="ctr"/>
                <a:lstStyle/>
                <a:p>
                  <a:endParaRPr lang="en-GB" noProof="0" dirty="0"/>
                </a:p>
              </p:txBody>
            </p:sp>
            <p:sp>
              <p:nvSpPr>
                <p:cNvPr id="308" name="Freihandform: Form 307">
                  <a:extLst>
                    <a:ext uri="{FF2B5EF4-FFF2-40B4-BE49-F238E27FC236}">
                      <a16:creationId xmlns:a16="http://schemas.microsoft.com/office/drawing/2014/main" id="{B7535EFC-8FB7-D914-7CD6-675AF8357E6A}"/>
                    </a:ext>
                  </a:extLst>
                </p:cNvPr>
                <p:cNvSpPr/>
                <p:nvPr/>
              </p:nvSpPr>
              <p:spPr>
                <a:xfrm>
                  <a:off x="1890251" y="4151914"/>
                  <a:ext cx="539429" cy="317345"/>
                </a:xfrm>
                <a:custGeom>
                  <a:avLst/>
                  <a:gdLst>
                    <a:gd name="connsiteX0" fmla="*/ 530113 w 539429"/>
                    <a:gd name="connsiteY0" fmla="*/ 214669 h 317345"/>
                    <a:gd name="connsiteX1" fmla="*/ 530113 w 539429"/>
                    <a:gd name="connsiteY1" fmla="*/ 150782 h 317345"/>
                    <a:gd name="connsiteX2" fmla="*/ 524218 w 539429"/>
                    <a:gd name="connsiteY2" fmla="*/ 128725 h 317345"/>
                    <a:gd name="connsiteX3" fmla="*/ 477254 w 539429"/>
                    <a:gd name="connsiteY3" fmla="*/ 48296 h 317345"/>
                    <a:gd name="connsiteX4" fmla="*/ 439606 w 539429"/>
                    <a:gd name="connsiteY4" fmla="*/ 26620 h 317345"/>
                    <a:gd name="connsiteX5" fmla="*/ 380282 w 539429"/>
                    <a:gd name="connsiteY5" fmla="*/ 26620 h 317345"/>
                    <a:gd name="connsiteX6" fmla="*/ 363169 w 539429"/>
                    <a:gd name="connsiteY6" fmla="*/ 43732 h 317345"/>
                    <a:gd name="connsiteX7" fmla="*/ 363169 w 539429"/>
                    <a:gd name="connsiteY7" fmla="*/ 194704 h 317345"/>
                    <a:gd name="connsiteX8" fmla="*/ 344345 w 539429"/>
                    <a:gd name="connsiteY8" fmla="*/ 194704 h 317345"/>
                    <a:gd name="connsiteX9" fmla="*/ 344345 w 539429"/>
                    <a:gd name="connsiteY9" fmla="*/ 26049 h 317345"/>
                    <a:gd name="connsiteX10" fmla="*/ 318296 w 539429"/>
                    <a:gd name="connsiteY10" fmla="*/ 0 h 317345"/>
                    <a:gd name="connsiteX11" fmla="*/ 26049 w 539429"/>
                    <a:gd name="connsiteY11" fmla="*/ 0 h 317345"/>
                    <a:gd name="connsiteX12" fmla="*/ 0 w 539429"/>
                    <a:gd name="connsiteY12" fmla="*/ 26049 h 317345"/>
                    <a:gd name="connsiteX13" fmla="*/ 0 w 539429"/>
                    <a:gd name="connsiteY13" fmla="*/ 238246 h 317345"/>
                    <a:gd name="connsiteX14" fmla="*/ 26049 w 539429"/>
                    <a:gd name="connsiteY14" fmla="*/ 264296 h 317345"/>
                    <a:gd name="connsiteX15" fmla="*/ 89176 w 539429"/>
                    <a:gd name="connsiteY15" fmla="*/ 264296 h 317345"/>
                    <a:gd name="connsiteX16" fmla="*/ 150021 w 539429"/>
                    <a:gd name="connsiteY16" fmla="*/ 317345 h 317345"/>
                    <a:gd name="connsiteX17" fmla="*/ 210866 w 539429"/>
                    <a:gd name="connsiteY17" fmla="*/ 264296 h 317345"/>
                    <a:gd name="connsiteX18" fmla="*/ 364120 w 539429"/>
                    <a:gd name="connsiteY18" fmla="*/ 264296 h 317345"/>
                    <a:gd name="connsiteX19" fmla="*/ 424965 w 539429"/>
                    <a:gd name="connsiteY19" fmla="*/ 317345 h 317345"/>
                    <a:gd name="connsiteX20" fmla="*/ 485810 w 539429"/>
                    <a:gd name="connsiteY20" fmla="*/ 264296 h 317345"/>
                    <a:gd name="connsiteX21" fmla="*/ 522317 w 539429"/>
                    <a:gd name="connsiteY21" fmla="*/ 264296 h 317345"/>
                    <a:gd name="connsiteX22" fmla="*/ 539430 w 539429"/>
                    <a:gd name="connsiteY22" fmla="*/ 247183 h 317345"/>
                    <a:gd name="connsiteX23" fmla="*/ 539430 w 539429"/>
                    <a:gd name="connsiteY23" fmla="*/ 229500 h 317345"/>
                    <a:gd name="connsiteX24" fmla="*/ 530113 w 539429"/>
                    <a:gd name="connsiteY24" fmla="*/ 214669 h 317345"/>
                    <a:gd name="connsiteX25" fmla="*/ 16542 w 539429"/>
                    <a:gd name="connsiteY25" fmla="*/ 175880 h 317345"/>
                    <a:gd name="connsiteX26" fmla="*/ 35366 w 539429"/>
                    <a:gd name="connsiteY26" fmla="*/ 175880 h 317345"/>
                    <a:gd name="connsiteX27" fmla="*/ 35366 w 539429"/>
                    <a:gd name="connsiteY27" fmla="*/ 202880 h 317345"/>
                    <a:gd name="connsiteX28" fmla="*/ 26049 w 539429"/>
                    <a:gd name="connsiteY28" fmla="*/ 212197 h 317345"/>
                    <a:gd name="connsiteX29" fmla="*/ 16542 w 539429"/>
                    <a:gd name="connsiteY29" fmla="*/ 212197 h 317345"/>
                    <a:gd name="connsiteX30" fmla="*/ 16542 w 539429"/>
                    <a:gd name="connsiteY30" fmla="*/ 175880 h 317345"/>
                    <a:gd name="connsiteX31" fmla="*/ 149831 w 539429"/>
                    <a:gd name="connsiteY31" fmla="*/ 300803 h 317345"/>
                    <a:gd name="connsiteX32" fmla="*/ 105148 w 539429"/>
                    <a:gd name="connsiteY32" fmla="*/ 256120 h 317345"/>
                    <a:gd name="connsiteX33" fmla="*/ 105148 w 539429"/>
                    <a:gd name="connsiteY33" fmla="*/ 256120 h 317345"/>
                    <a:gd name="connsiteX34" fmla="*/ 105148 w 539429"/>
                    <a:gd name="connsiteY34" fmla="*/ 256120 h 317345"/>
                    <a:gd name="connsiteX35" fmla="*/ 149831 w 539429"/>
                    <a:gd name="connsiteY35" fmla="*/ 211437 h 317345"/>
                    <a:gd name="connsiteX36" fmla="*/ 194704 w 539429"/>
                    <a:gd name="connsiteY36" fmla="*/ 256120 h 317345"/>
                    <a:gd name="connsiteX37" fmla="*/ 149831 w 539429"/>
                    <a:gd name="connsiteY37" fmla="*/ 300803 h 317345"/>
                    <a:gd name="connsiteX38" fmla="*/ 327803 w 539429"/>
                    <a:gd name="connsiteY38" fmla="*/ 247754 h 317345"/>
                    <a:gd name="connsiteX39" fmla="*/ 210486 w 539429"/>
                    <a:gd name="connsiteY39" fmla="*/ 247754 h 317345"/>
                    <a:gd name="connsiteX40" fmla="*/ 149641 w 539429"/>
                    <a:gd name="connsiteY40" fmla="*/ 194704 h 317345"/>
                    <a:gd name="connsiteX41" fmla="*/ 88796 w 539429"/>
                    <a:gd name="connsiteY41" fmla="*/ 247754 h 317345"/>
                    <a:gd name="connsiteX42" fmla="*/ 26049 w 539429"/>
                    <a:gd name="connsiteY42" fmla="*/ 247754 h 317345"/>
                    <a:gd name="connsiteX43" fmla="*/ 16732 w 539429"/>
                    <a:gd name="connsiteY43" fmla="*/ 238437 h 317345"/>
                    <a:gd name="connsiteX44" fmla="*/ 16732 w 539429"/>
                    <a:gd name="connsiteY44" fmla="*/ 229120 h 317345"/>
                    <a:gd name="connsiteX45" fmla="*/ 26049 w 539429"/>
                    <a:gd name="connsiteY45" fmla="*/ 229120 h 317345"/>
                    <a:gd name="connsiteX46" fmla="*/ 52099 w 539429"/>
                    <a:gd name="connsiteY46" fmla="*/ 203070 h 317345"/>
                    <a:gd name="connsiteX47" fmla="*/ 52099 w 539429"/>
                    <a:gd name="connsiteY47" fmla="*/ 167704 h 317345"/>
                    <a:gd name="connsiteX48" fmla="*/ 43732 w 539429"/>
                    <a:gd name="connsiteY48" fmla="*/ 159338 h 317345"/>
                    <a:gd name="connsiteX49" fmla="*/ 16542 w 539429"/>
                    <a:gd name="connsiteY49" fmla="*/ 159338 h 317345"/>
                    <a:gd name="connsiteX50" fmla="*/ 16542 w 539429"/>
                    <a:gd name="connsiteY50" fmla="*/ 26049 h 317345"/>
                    <a:gd name="connsiteX51" fmla="*/ 25859 w 539429"/>
                    <a:gd name="connsiteY51" fmla="*/ 16732 h 317345"/>
                    <a:gd name="connsiteX52" fmla="*/ 318296 w 539429"/>
                    <a:gd name="connsiteY52" fmla="*/ 16732 h 317345"/>
                    <a:gd name="connsiteX53" fmla="*/ 327613 w 539429"/>
                    <a:gd name="connsiteY53" fmla="*/ 26049 h 317345"/>
                    <a:gd name="connsiteX54" fmla="*/ 327613 w 539429"/>
                    <a:gd name="connsiteY54" fmla="*/ 247754 h 317345"/>
                    <a:gd name="connsiteX55" fmla="*/ 363169 w 539429"/>
                    <a:gd name="connsiteY55" fmla="*/ 247754 h 317345"/>
                    <a:gd name="connsiteX56" fmla="*/ 344345 w 539429"/>
                    <a:gd name="connsiteY56" fmla="*/ 247754 h 317345"/>
                    <a:gd name="connsiteX57" fmla="*/ 344345 w 539429"/>
                    <a:gd name="connsiteY57" fmla="*/ 211246 h 317345"/>
                    <a:gd name="connsiteX58" fmla="*/ 363169 w 539429"/>
                    <a:gd name="connsiteY58" fmla="*/ 211246 h 317345"/>
                    <a:gd name="connsiteX59" fmla="*/ 363169 w 539429"/>
                    <a:gd name="connsiteY59" fmla="*/ 247754 h 317345"/>
                    <a:gd name="connsiteX60" fmla="*/ 379711 w 539429"/>
                    <a:gd name="connsiteY60" fmla="*/ 43923 h 317345"/>
                    <a:gd name="connsiteX61" fmla="*/ 380282 w 539429"/>
                    <a:gd name="connsiteY61" fmla="*/ 43352 h 317345"/>
                    <a:gd name="connsiteX62" fmla="*/ 439606 w 539429"/>
                    <a:gd name="connsiteY62" fmla="*/ 43352 h 317345"/>
                    <a:gd name="connsiteX63" fmla="*/ 462993 w 539429"/>
                    <a:gd name="connsiteY63" fmla="*/ 56852 h 317345"/>
                    <a:gd name="connsiteX64" fmla="*/ 466035 w 539429"/>
                    <a:gd name="connsiteY64" fmla="*/ 62176 h 317345"/>
                    <a:gd name="connsiteX65" fmla="*/ 379711 w 539429"/>
                    <a:gd name="connsiteY65" fmla="*/ 62176 h 317345"/>
                    <a:gd name="connsiteX66" fmla="*/ 379711 w 539429"/>
                    <a:gd name="connsiteY66" fmla="*/ 43923 h 317345"/>
                    <a:gd name="connsiteX67" fmla="*/ 379711 w 539429"/>
                    <a:gd name="connsiteY67" fmla="*/ 78718 h 317345"/>
                    <a:gd name="connsiteX68" fmla="*/ 475732 w 539429"/>
                    <a:gd name="connsiteY68" fmla="*/ 78718 h 317345"/>
                    <a:gd name="connsiteX69" fmla="*/ 509768 w 539429"/>
                    <a:gd name="connsiteY69" fmla="*/ 137092 h 317345"/>
                    <a:gd name="connsiteX70" fmla="*/ 513380 w 539429"/>
                    <a:gd name="connsiteY70" fmla="*/ 150782 h 317345"/>
                    <a:gd name="connsiteX71" fmla="*/ 513380 w 539429"/>
                    <a:gd name="connsiteY71" fmla="*/ 159528 h 317345"/>
                    <a:gd name="connsiteX72" fmla="*/ 497218 w 539429"/>
                    <a:gd name="connsiteY72" fmla="*/ 159528 h 317345"/>
                    <a:gd name="connsiteX73" fmla="*/ 484289 w 539429"/>
                    <a:gd name="connsiteY73" fmla="*/ 154204 h 317345"/>
                    <a:gd name="connsiteX74" fmla="*/ 473261 w 539429"/>
                    <a:gd name="connsiteY74" fmla="*/ 143176 h 317345"/>
                    <a:gd name="connsiteX75" fmla="*/ 448732 w 539429"/>
                    <a:gd name="connsiteY75" fmla="*/ 132908 h 317345"/>
                    <a:gd name="connsiteX76" fmla="*/ 379521 w 539429"/>
                    <a:gd name="connsiteY76" fmla="*/ 132908 h 317345"/>
                    <a:gd name="connsiteX77" fmla="*/ 379521 w 539429"/>
                    <a:gd name="connsiteY77" fmla="*/ 78718 h 317345"/>
                    <a:gd name="connsiteX78" fmla="*/ 424585 w 539429"/>
                    <a:gd name="connsiteY78" fmla="*/ 300803 h 317345"/>
                    <a:gd name="connsiteX79" fmla="*/ 379901 w 539429"/>
                    <a:gd name="connsiteY79" fmla="*/ 255930 h 317345"/>
                    <a:gd name="connsiteX80" fmla="*/ 424585 w 539429"/>
                    <a:gd name="connsiteY80" fmla="*/ 211246 h 317345"/>
                    <a:gd name="connsiteX81" fmla="*/ 469268 w 539429"/>
                    <a:gd name="connsiteY81" fmla="*/ 255930 h 317345"/>
                    <a:gd name="connsiteX82" fmla="*/ 424585 w 539429"/>
                    <a:gd name="connsiteY82" fmla="*/ 300803 h 317345"/>
                    <a:gd name="connsiteX83" fmla="*/ 486951 w 539429"/>
                    <a:gd name="connsiteY83" fmla="*/ 229500 h 317345"/>
                    <a:gd name="connsiteX84" fmla="*/ 486951 w 539429"/>
                    <a:gd name="connsiteY84" fmla="*/ 247754 h 317345"/>
                    <a:gd name="connsiteX85" fmla="*/ 485239 w 539429"/>
                    <a:gd name="connsiteY85" fmla="*/ 247754 h 317345"/>
                    <a:gd name="connsiteX86" fmla="*/ 424394 w 539429"/>
                    <a:gd name="connsiteY86" fmla="*/ 194704 h 317345"/>
                    <a:gd name="connsiteX87" fmla="*/ 379711 w 539429"/>
                    <a:gd name="connsiteY87" fmla="*/ 214099 h 317345"/>
                    <a:gd name="connsiteX88" fmla="*/ 379711 w 539429"/>
                    <a:gd name="connsiteY88" fmla="*/ 149261 h 317345"/>
                    <a:gd name="connsiteX89" fmla="*/ 448923 w 539429"/>
                    <a:gd name="connsiteY89" fmla="*/ 149261 h 317345"/>
                    <a:gd name="connsiteX90" fmla="*/ 461852 w 539429"/>
                    <a:gd name="connsiteY90" fmla="*/ 154585 h 317345"/>
                    <a:gd name="connsiteX91" fmla="*/ 472880 w 539429"/>
                    <a:gd name="connsiteY91" fmla="*/ 165613 h 317345"/>
                    <a:gd name="connsiteX92" fmla="*/ 497408 w 539429"/>
                    <a:gd name="connsiteY92" fmla="*/ 175880 h 317345"/>
                    <a:gd name="connsiteX93" fmla="*/ 513570 w 539429"/>
                    <a:gd name="connsiteY93" fmla="*/ 175880 h 317345"/>
                    <a:gd name="connsiteX94" fmla="*/ 513570 w 539429"/>
                    <a:gd name="connsiteY94" fmla="*/ 212387 h 317345"/>
                    <a:gd name="connsiteX95" fmla="*/ 504254 w 539429"/>
                    <a:gd name="connsiteY95" fmla="*/ 212387 h 317345"/>
                    <a:gd name="connsiteX96" fmla="*/ 486951 w 539429"/>
                    <a:gd name="connsiteY96" fmla="*/ 229500 h 317345"/>
                    <a:gd name="connsiteX97" fmla="*/ 522317 w 539429"/>
                    <a:gd name="connsiteY97" fmla="*/ 247183 h 317345"/>
                    <a:gd name="connsiteX98" fmla="*/ 521746 w 539429"/>
                    <a:gd name="connsiteY98" fmla="*/ 247754 h 317345"/>
                    <a:gd name="connsiteX99" fmla="*/ 503493 w 539429"/>
                    <a:gd name="connsiteY99" fmla="*/ 247754 h 317345"/>
                    <a:gd name="connsiteX100" fmla="*/ 503493 w 539429"/>
                    <a:gd name="connsiteY100" fmla="*/ 229500 h 317345"/>
                    <a:gd name="connsiteX101" fmla="*/ 504063 w 539429"/>
                    <a:gd name="connsiteY101" fmla="*/ 228930 h 317345"/>
                    <a:gd name="connsiteX102" fmla="*/ 521746 w 539429"/>
                    <a:gd name="connsiteY102" fmla="*/ 228930 h 317345"/>
                    <a:gd name="connsiteX103" fmla="*/ 522317 w 539429"/>
                    <a:gd name="connsiteY103" fmla="*/ 229500 h 317345"/>
                    <a:gd name="connsiteX104" fmla="*/ 522317 w 539429"/>
                    <a:gd name="connsiteY104" fmla="*/ 247183 h 317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539429" h="317345">
                      <a:moveTo>
                        <a:pt x="530113" y="214669"/>
                      </a:moveTo>
                      <a:lnTo>
                        <a:pt x="530113" y="150782"/>
                      </a:lnTo>
                      <a:cubicBezTo>
                        <a:pt x="530113" y="142986"/>
                        <a:pt x="528021" y="135380"/>
                        <a:pt x="524218" y="128725"/>
                      </a:cubicBezTo>
                      <a:lnTo>
                        <a:pt x="477254" y="48296"/>
                      </a:lnTo>
                      <a:cubicBezTo>
                        <a:pt x="469458" y="34986"/>
                        <a:pt x="455007" y="26620"/>
                        <a:pt x="439606" y="26620"/>
                      </a:cubicBezTo>
                      <a:lnTo>
                        <a:pt x="380282" y="26620"/>
                      </a:lnTo>
                      <a:cubicBezTo>
                        <a:pt x="370775" y="26620"/>
                        <a:pt x="363169" y="34225"/>
                        <a:pt x="363169" y="43732"/>
                      </a:cubicBezTo>
                      <a:lnTo>
                        <a:pt x="363169" y="194704"/>
                      </a:lnTo>
                      <a:lnTo>
                        <a:pt x="344345" y="194704"/>
                      </a:lnTo>
                      <a:lnTo>
                        <a:pt x="344345" y="26049"/>
                      </a:lnTo>
                      <a:cubicBezTo>
                        <a:pt x="344345" y="11789"/>
                        <a:pt x="332746" y="0"/>
                        <a:pt x="318296" y="0"/>
                      </a:cubicBezTo>
                      <a:lnTo>
                        <a:pt x="26049" y="0"/>
                      </a:lnTo>
                      <a:cubicBezTo>
                        <a:pt x="11789" y="0"/>
                        <a:pt x="0" y="11599"/>
                        <a:pt x="0" y="26049"/>
                      </a:cubicBezTo>
                      <a:lnTo>
                        <a:pt x="0" y="238246"/>
                      </a:lnTo>
                      <a:cubicBezTo>
                        <a:pt x="0" y="252507"/>
                        <a:pt x="11599" y="264296"/>
                        <a:pt x="26049" y="264296"/>
                      </a:cubicBezTo>
                      <a:lnTo>
                        <a:pt x="89176" y="264296"/>
                      </a:lnTo>
                      <a:cubicBezTo>
                        <a:pt x="93169" y="294148"/>
                        <a:pt x="118838" y="317345"/>
                        <a:pt x="150021" y="317345"/>
                      </a:cubicBezTo>
                      <a:cubicBezTo>
                        <a:pt x="181014" y="317345"/>
                        <a:pt x="206683" y="294148"/>
                        <a:pt x="210866" y="264296"/>
                      </a:cubicBezTo>
                      <a:lnTo>
                        <a:pt x="364120" y="264296"/>
                      </a:lnTo>
                      <a:cubicBezTo>
                        <a:pt x="368113" y="294148"/>
                        <a:pt x="393972" y="317345"/>
                        <a:pt x="424965" y="317345"/>
                      </a:cubicBezTo>
                      <a:cubicBezTo>
                        <a:pt x="455958" y="317345"/>
                        <a:pt x="481627" y="294148"/>
                        <a:pt x="485810" y="264296"/>
                      </a:cubicBezTo>
                      <a:lnTo>
                        <a:pt x="522317" y="264296"/>
                      </a:lnTo>
                      <a:cubicBezTo>
                        <a:pt x="531824" y="264296"/>
                        <a:pt x="539430" y="256690"/>
                        <a:pt x="539430" y="247183"/>
                      </a:cubicBezTo>
                      <a:lnTo>
                        <a:pt x="539430" y="229500"/>
                      </a:lnTo>
                      <a:cubicBezTo>
                        <a:pt x="539049" y="223225"/>
                        <a:pt x="535437" y="217521"/>
                        <a:pt x="530113" y="214669"/>
                      </a:cubicBezTo>
                      <a:close/>
                      <a:moveTo>
                        <a:pt x="16542" y="175880"/>
                      </a:moveTo>
                      <a:lnTo>
                        <a:pt x="35366" y="175880"/>
                      </a:lnTo>
                      <a:lnTo>
                        <a:pt x="35366" y="202880"/>
                      </a:lnTo>
                      <a:cubicBezTo>
                        <a:pt x="35366" y="208014"/>
                        <a:pt x="31183" y="212197"/>
                        <a:pt x="26049" y="212197"/>
                      </a:cubicBezTo>
                      <a:lnTo>
                        <a:pt x="16542" y="212197"/>
                      </a:lnTo>
                      <a:lnTo>
                        <a:pt x="16542" y="175880"/>
                      </a:lnTo>
                      <a:close/>
                      <a:moveTo>
                        <a:pt x="149831" y="300803"/>
                      </a:moveTo>
                      <a:cubicBezTo>
                        <a:pt x="125113" y="300803"/>
                        <a:pt x="105148" y="280648"/>
                        <a:pt x="105148" y="256120"/>
                      </a:cubicBezTo>
                      <a:lnTo>
                        <a:pt x="105148" y="256120"/>
                      </a:lnTo>
                      <a:lnTo>
                        <a:pt x="105148" y="256120"/>
                      </a:lnTo>
                      <a:cubicBezTo>
                        <a:pt x="105148" y="231401"/>
                        <a:pt x="125303" y="211437"/>
                        <a:pt x="149831" y="211437"/>
                      </a:cubicBezTo>
                      <a:cubicBezTo>
                        <a:pt x="174549" y="211437"/>
                        <a:pt x="194704" y="231592"/>
                        <a:pt x="194704" y="256120"/>
                      </a:cubicBezTo>
                      <a:cubicBezTo>
                        <a:pt x="194514" y="280838"/>
                        <a:pt x="174549" y="300803"/>
                        <a:pt x="149831" y="300803"/>
                      </a:cubicBezTo>
                      <a:close/>
                      <a:moveTo>
                        <a:pt x="327803" y="247754"/>
                      </a:moveTo>
                      <a:lnTo>
                        <a:pt x="210486" y="247754"/>
                      </a:lnTo>
                      <a:cubicBezTo>
                        <a:pt x="206493" y="217901"/>
                        <a:pt x="180634" y="194704"/>
                        <a:pt x="149641" y="194704"/>
                      </a:cubicBezTo>
                      <a:cubicBezTo>
                        <a:pt x="118648" y="194704"/>
                        <a:pt x="92979" y="217901"/>
                        <a:pt x="88796" y="247754"/>
                      </a:cubicBezTo>
                      <a:lnTo>
                        <a:pt x="26049" y="247754"/>
                      </a:lnTo>
                      <a:cubicBezTo>
                        <a:pt x="20915" y="247754"/>
                        <a:pt x="16732" y="243570"/>
                        <a:pt x="16732" y="238437"/>
                      </a:cubicBezTo>
                      <a:lnTo>
                        <a:pt x="16732" y="229120"/>
                      </a:lnTo>
                      <a:lnTo>
                        <a:pt x="26049" y="229120"/>
                      </a:lnTo>
                      <a:cubicBezTo>
                        <a:pt x="40310" y="229120"/>
                        <a:pt x="52099" y="217521"/>
                        <a:pt x="52099" y="203070"/>
                      </a:cubicBezTo>
                      <a:lnTo>
                        <a:pt x="52099" y="167704"/>
                      </a:lnTo>
                      <a:cubicBezTo>
                        <a:pt x="52099" y="163141"/>
                        <a:pt x="48296" y="159338"/>
                        <a:pt x="43732" y="159338"/>
                      </a:cubicBezTo>
                      <a:lnTo>
                        <a:pt x="16542" y="159338"/>
                      </a:lnTo>
                      <a:lnTo>
                        <a:pt x="16542" y="26049"/>
                      </a:lnTo>
                      <a:cubicBezTo>
                        <a:pt x="16542" y="20915"/>
                        <a:pt x="20725" y="16732"/>
                        <a:pt x="25859" y="16732"/>
                      </a:cubicBezTo>
                      <a:lnTo>
                        <a:pt x="318296" y="16732"/>
                      </a:lnTo>
                      <a:cubicBezTo>
                        <a:pt x="323430" y="16732"/>
                        <a:pt x="327613" y="20915"/>
                        <a:pt x="327613" y="26049"/>
                      </a:cubicBezTo>
                      <a:lnTo>
                        <a:pt x="327613" y="247754"/>
                      </a:lnTo>
                      <a:close/>
                      <a:moveTo>
                        <a:pt x="363169" y="247754"/>
                      </a:moveTo>
                      <a:lnTo>
                        <a:pt x="344345" y="247754"/>
                      </a:lnTo>
                      <a:lnTo>
                        <a:pt x="344345" y="211246"/>
                      </a:lnTo>
                      <a:lnTo>
                        <a:pt x="363169" y="211246"/>
                      </a:lnTo>
                      <a:lnTo>
                        <a:pt x="363169" y="247754"/>
                      </a:lnTo>
                      <a:close/>
                      <a:moveTo>
                        <a:pt x="379711" y="43923"/>
                      </a:moveTo>
                      <a:cubicBezTo>
                        <a:pt x="379711" y="43542"/>
                        <a:pt x="379901" y="43352"/>
                        <a:pt x="380282" y="43352"/>
                      </a:cubicBezTo>
                      <a:lnTo>
                        <a:pt x="439606" y="43352"/>
                      </a:lnTo>
                      <a:cubicBezTo>
                        <a:pt x="449303" y="43352"/>
                        <a:pt x="458239" y="48486"/>
                        <a:pt x="462993" y="56852"/>
                      </a:cubicBezTo>
                      <a:lnTo>
                        <a:pt x="466035" y="62176"/>
                      </a:lnTo>
                      <a:lnTo>
                        <a:pt x="379711" y="62176"/>
                      </a:lnTo>
                      <a:lnTo>
                        <a:pt x="379711" y="43923"/>
                      </a:lnTo>
                      <a:close/>
                      <a:moveTo>
                        <a:pt x="379711" y="78718"/>
                      </a:moveTo>
                      <a:lnTo>
                        <a:pt x="475732" y="78718"/>
                      </a:lnTo>
                      <a:lnTo>
                        <a:pt x="509768" y="137092"/>
                      </a:lnTo>
                      <a:cubicBezTo>
                        <a:pt x="512239" y="141275"/>
                        <a:pt x="513380" y="146028"/>
                        <a:pt x="513380" y="150782"/>
                      </a:cubicBezTo>
                      <a:lnTo>
                        <a:pt x="513380" y="159528"/>
                      </a:lnTo>
                      <a:lnTo>
                        <a:pt x="497218" y="159528"/>
                      </a:lnTo>
                      <a:cubicBezTo>
                        <a:pt x="492275" y="159528"/>
                        <a:pt x="487711" y="157627"/>
                        <a:pt x="484289" y="154204"/>
                      </a:cubicBezTo>
                      <a:lnTo>
                        <a:pt x="473261" y="143176"/>
                      </a:lnTo>
                      <a:cubicBezTo>
                        <a:pt x="466606" y="136521"/>
                        <a:pt x="457859" y="132908"/>
                        <a:pt x="448732" y="132908"/>
                      </a:cubicBezTo>
                      <a:lnTo>
                        <a:pt x="379521" y="132908"/>
                      </a:lnTo>
                      <a:lnTo>
                        <a:pt x="379521" y="78718"/>
                      </a:lnTo>
                      <a:close/>
                      <a:moveTo>
                        <a:pt x="424585" y="300803"/>
                      </a:moveTo>
                      <a:cubicBezTo>
                        <a:pt x="399866" y="300803"/>
                        <a:pt x="379901" y="280648"/>
                        <a:pt x="379901" y="255930"/>
                      </a:cubicBezTo>
                      <a:cubicBezTo>
                        <a:pt x="379901" y="231211"/>
                        <a:pt x="400056" y="211246"/>
                        <a:pt x="424585" y="211246"/>
                      </a:cubicBezTo>
                      <a:cubicBezTo>
                        <a:pt x="449303" y="211246"/>
                        <a:pt x="469268" y="231401"/>
                        <a:pt x="469268" y="255930"/>
                      </a:cubicBezTo>
                      <a:cubicBezTo>
                        <a:pt x="469268" y="280838"/>
                        <a:pt x="449303" y="300803"/>
                        <a:pt x="424585" y="300803"/>
                      </a:cubicBezTo>
                      <a:close/>
                      <a:moveTo>
                        <a:pt x="486951" y="229500"/>
                      </a:moveTo>
                      <a:lnTo>
                        <a:pt x="486951" y="247754"/>
                      </a:lnTo>
                      <a:lnTo>
                        <a:pt x="485239" y="247754"/>
                      </a:lnTo>
                      <a:cubicBezTo>
                        <a:pt x="481247" y="217901"/>
                        <a:pt x="455387" y="194704"/>
                        <a:pt x="424394" y="194704"/>
                      </a:cubicBezTo>
                      <a:cubicBezTo>
                        <a:pt x="406711" y="194704"/>
                        <a:pt x="390739" y="202120"/>
                        <a:pt x="379711" y="214099"/>
                      </a:cubicBezTo>
                      <a:lnTo>
                        <a:pt x="379711" y="149261"/>
                      </a:lnTo>
                      <a:lnTo>
                        <a:pt x="448923" y="149261"/>
                      </a:lnTo>
                      <a:cubicBezTo>
                        <a:pt x="453866" y="149261"/>
                        <a:pt x="458430" y="151162"/>
                        <a:pt x="461852" y="154585"/>
                      </a:cubicBezTo>
                      <a:lnTo>
                        <a:pt x="472880" y="165613"/>
                      </a:lnTo>
                      <a:cubicBezTo>
                        <a:pt x="479535" y="172268"/>
                        <a:pt x="488282" y="175880"/>
                        <a:pt x="497408" y="175880"/>
                      </a:cubicBezTo>
                      <a:lnTo>
                        <a:pt x="513570" y="175880"/>
                      </a:lnTo>
                      <a:lnTo>
                        <a:pt x="513570" y="212387"/>
                      </a:lnTo>
                      <a:lnTo>
                        <a:pt x="504254" y="212387"/>
                      </a:lnTo>
                      <a:cubicBezTo>
                        <a:pt x="494747" y="212387"/>
                        <a:pt x="486951" y="220183"/>
                        <a:pt x="486951" y="229500"/>
                      </a:cubicBezTo>
                      <a:close/>
                      <a:moveTo>
                        <a:pt x="522317" y="247183"/>
                      </a:moveTo>
                      <a:cubicBezTo>
                        <a:pt x="522317" y="247563"/>
                        <a:pt x="522127" y="247754"/>
                        <a:pt x="521746" y="247754"/>
                      </a:cubicBezTo>
                      <a:lnTo>
                        <a:pt x="503493" y="247754"/>
                      </a:lnTo>
                      <a:lnTo>
                        <a:pt x="503493" y="229500"/>
                      </a:lnTo>
                      <a:cubicBezTo>
                        <a:pt x="503493" y="229120"/>
                        <a:pt x="503683" y="228930"/>
                        <a:pt x="504063" y="228930"/>
                      </a:cubicBezTo>
                      <a:lnTo>
                        <a:pt x="521746" y="228930"/>
                      </a:lnTo>
                      <a:cubicBezTo>
                        <a:pt x="522127" y="228930"/>
                        <a:pt x="522317" y="229120"/>
                        <a:pt x="522317" y="229500"/>
                      </a:cubicBezTo>
                      <a:lnTo>
                        <a:pt x="522317" y="247183"/>
                      </a:lnTo>
                      <a:close/>
                    </a:path>
                  </a:pathLst>
                </a:custGeom>
                <a:grpFill/>
                <a:ln w="1878" cap="flat">
                  <a:noFill/>
                  <a:prstDash val="solid"/>
                  <a:miter/>
                </a:ln>
              </p:spPr>
              <p:txBody>
                <a:bodyPr rtlCol="0" anchor="ctr"/>
                <a:lstStyle/>
                <a:p>
                  <a:endParaRPr lang="en-GB" noProof="0" dirty="0"/>
                </a:p>
              </p:txBody>
            </p:sp>
          </p:grpSp>
        </p:grpSp>
      </p:grpSp>
      <p:grpSp>
        <p:nvGrpSpPr>
          <p:cNvPr id="40" name="Gruppieren 39">
            <a:extLst>
              <a:ext uri="{FF2B5EF4-FFF2-40B4-BE49-F238E27FC236}">
                <a16:creationId xmlns:a16="http://schemas.microsoft.com/office/drawing/2014/main" id="{D91AA8CC-0BD4-F65E-D012-2E6B25622256}"/>
              </a:ext>
            </a:extLst>
          </p:cNvPr>
          <p:cNvGrpSpPr/>
          <p:nvPr/>
        </p:nvGrpSpPr>
        <p:grpSpPr>
          <a:xfrm>
            <a:off x="7729247" y="2237496"/>
            <a:ext cx="728953" cy="872293"/>
            <a:chOff x="7729247" y="2583610"/>
            <a:chExt cx="728953" cy="872293"/>
          </a:xfrm>
        </p:grpSpPr>
        <p:sp>
          <p:nvSpPr>
            <p:cNvPr id="128" name="Text Box 30">
              <a:extLst>
                <a:ext uri="{FF2B5EF4-FFF2-40B4-BE49-F238E27FC236}">
                  <a16:creationId xmlns:a16="http://schemas.microsoft.com/office/drawing/2014/main" id="{9CA21CE4-0EFA-822A-E4D5-D698A81DE157}"/>
                </a:ext>
              </a:extLst>
            </p:cNvPr>
            <p:cNvSpPr txBox="1">
              <a:spLocks noChangeArrowheads="1"/>
            </p:cNvSpPr>
            <p:nvPr/>
          </p:nvSpPr>
          <p:spPr bwMode="auto">
            <a:xfrm>
              <a:off x="7729247" y="2583610"/>
              <a:ext cx="728953" cy="268149"/>
            </a:xfrm>
            <a:prstGeom prst="rect">
              <a:avLst/>
            </a:prstGeom>
            <a:noFill/>
            <a:ln w="12700">
              <a:noFill/>
              <a:miter lim="800000"/>
              <a:headEnd/>
              <a:tailEnd/>
            </a:ln>
          </p:spPr>
          <p:txBody>
            <a:bodyPr wrap="square" lIns="62308" tIns="29908" rIns="62308" bIns="29908">
              <a:spAutoFit/>
            </a:bodyPr>
            <a:lstStyle/>
            <a:p>
              <a:pPr algn="ctr">
                <a:spcBef>
                  <a:spcPct val="50000"/>
                </a:spcBef>
              </a:pPr>
              <a:r>
                <a:rPr lang="en-GB" sz="675" noProof="0" dirty="0"/>
                <a:t>Mechanical</a:t>
              </a:r>
              <a:br>
                <a:rPr lang="en-GB" sz="675" noProof="0" dirty="0"/>
              </a:br>
              <a:r>
                <a:rPr lang="en-GB" sz="675" noProof="0" dirty="0"/>
                <a:t>Recycling</a:t>
              </a:r>
            </a:p>
          </p:txBody>
        </p:sp>
        <p:grpSp>
          <p:nvGrpSpPr>
            <p:cNvPr id="315" name="Grafik 116">
              <a:extLst>
                <a:ext uri="{FF2B5EF4-FFF2-40B4-BE49-F238E27FC236}">
                  <a16:creationId xmlns:a16="http://schemas.microsoft.com/office/drawing/2014/main" id="{2BEEEC88-00C0-0A87-AAF5-87FC0AF7E716}"/>
                </a:ext>
              </a:extLst>
            </p:cNvPr>
            <p:cNvGrpSpPr>
              <a:grpSpLocks noChangeAspect="1"/>
            </p:cNvGrpSpPr>
            <p:nvPr/>
          </p:nvGrpSpPr>
          <p:grpSpPr>
            <a:xfrm>
              <a:off x="7854966" y="2961520"/>
              <a:ext cx="494383" cy="494383"/>
              <a:chOff x="2029800" y="2547787"/>
              <a:chExt cx="540000" cy="540000"/>
            </a:xfrm>
            <a:solidFill>
              <a:schemeClr val="accent1"/>
            </a:solidFill>
          </p:grpSpPr>
          <p:grpSp>
            <p:nvGrpSpPr>
              <p:cNvPr id="316" name="Grafik 116">
                <a:extLst>
                  <a:ext uri="{FF2B5EF4-FFF2-40B4-BE49-F238E27FC236}">
                    <a16:creationId xmlns:a16="http://schemas.microsoft.com/office/drawing/2014/main" id="{7395CF3E-CFEC-ECD4-5496-7CD0E8FDA6EB}"/>
                  </a:ext>
                </a:extLst>
              </p:cNvPr>
              <p:cNvGrpSpPr/>
              <p:nvPr/>
            </p:nvGrpSpPr>
            <p:grpSpPr>
              <a:xfrm>
                <a:off x="2029800" y="2547787"/>
                <a:ext cx="492186" cy="482197"/>
                <a:chOff x="2029800" y="2547787"/>
                <a:chExt cx="492186" cy="482197"/>
              </a:xfrm>
              <a:grpFill/>
            </p:grpSpPr>
            <p:grpSp>
              <p:nvGrpSpPr>
                <p:cNvPr id="317" name="Grafik 116">
                  <a:extLst>
                    <a:ext uri="{FF2B5EF4-FFF2-40B4-BE49-F238E27FC236}">
                      <a16:creationId xmlns:a16="http://schemas.microsoft.com/office/drawing/2014/main" id="{DE4DE9B7-656D-4E96-9C19-DF54D9DE15BA}"/>
                    </a:ext>
                  </a:extLst>
                </p:cNvPr>
                <p:cNvGrpSpPr/>
                <p:nvPr/>
              </p:nvGrpSpPr>
              <p:grpSpPr>
                <a:xfrm>
                  <a:off x="2031104" y="2550187"/>
                  <a:ext cx="490881" cy="479797"/>
                  <a:chOff x="2031104" y="2550187"/>
                  <a:chExt cx="490881" cy="479797"/>
                </a:xfrm>
                <a:grpFill/>
              </p:grpSpPr>
              <p:sp>
                <p:nvSpPr>
                  <p:cNvPr id="318" name="Freihandform: Form 317">
                    <a:extLst>
                      <a:ext uri="{FF2B5EF4-FFF2-40B4-BE49-F238E27FC236}">
                        <a16:creationId xmlns:a16="http://schemas.microsoft.com/office/drawing/2014/main" id="{EC5FCAB8-0DFE-0F99-B713-B0E9E83B8836}"/>
                      </a:ext>
                    </a:extLst>
                  </p:cNvPr>
                  <p:cNvSpPr/>
                  <p:nvPr/>
                </p:nvSpPr>
                <p:spPr>
                  <a:xfrm>
                    <a:off x="2098964" y="2550187"/>
                    <a:ext cx="323034" cy="213250"/>
                  </a:xfrm>
                  <a:custGeom>
                    <a:avLst/>
                    <a:gdLst>
                      <a:gd name="connsiteX0" fmla="*/ 6512 w 323034"/>
                      <a:gd name="connsiteY0" fmla="*/ 212839 h 213250"/>
                      <a:gd name="connsiteX1" fmla="*/ 18110 w 323034"/>
                      <a:gd name="connsiteY1" fmla="*/ 206755 h 213250"/>
                      <a:gd name="connsiteX2" fmla="*/ 205019 w 323034"/>
                      <a:gd name="connsiteY2" fmla="*/ 69473 h 213250"/>
                      <a:gd name="connsiteX3" fmla="*/ 282786 w 323034"/>
                      <a:gd name="connsiteY3" fmla="*/ 85445 h 213250"/>
                      <a:gd name="connsiteX4" fmla="*/ 289441 w 323034"/>
                      <a:gd name="connsiteY4" fmla="*/ 88297 h 213250"/>
                      <a:gd name="connsiteX5" fmla="*/ 216427 w 323034"/>
                      <a:gd name="connsiteY5" fmla="*/ 108832 h 213250"/>
                      <a:gd name="connsiteX6" fmla="*/ 209962 w 323034"/>
                      <a:gd name="connsiteY6" fmla="*/ 120241 h 213250"/>
                      <a:gd name="connsiteX7" fmla="*/ 218899 w 323034"/>
                      <a:gd name="connsiteY7" fmla="*/ 127086 h 213250"/>
                      <a:gd name="connsiteX8" fmla="*/ 221371 w 323034"/>
                      <a:gd name="connsiteY8" fmla="*/ 126705 h 213250"/>
                      <a:gd name="connsiteX9" fmla="*/ 316251 w 323034"/>
                      <a:gd name="connsiteY9" fmla="*/ 100086 h 213250"/>
                      <a:gd name="connsiteX10" fmla="*/ 322526 w 323034"/>
                      <a:gd name="connsiteY10" fmla="*/ 94191 h 213250"/>
                      <a:gd name="connsiteX11" fmla="*/ 321385 w 323034"/>
                      <a:gd name="connsiteY11" fmla="*/ 85635 h 213250"/>
                      <a:gd name="connsiteX12" fmla="*/ 263012 w 323034"/>
                      <a:gd name="connsiteY12" fmla="*/ 3874 h 213250"/>
                      <a:gd name="connsiteX13" fmla="*/ 250082 w 323034"/>
                      <a:gd name="connsiteY13" fmla="*/ 1783 h 213250"/>
                      <a:gd name="connsiteX14" fmla="*/ 246279 w 323034"/>
                      <a:gd name="connsiteY14" fmla="*/ 7867 h 213250"/>
                      <a:gd name="connsiteX15" fmla="*/ 247800 w 323034"/>
                      <a:gd name="connsiteY15" fmla="*/ 14713 h 213250"/>
                      <a:gd name="connsiteX16" fmla="*/ 284307 w 323034"/>
                      <a:gd name="connsiteY16" fmla="*/ 66051 h 213250"/>
                      <a:gd name="connsiteX17" fmla="*/ 276702 w 323034"/>
                      <a:gd name="connsiteY17" fmla="*/ 63389 h 213250"/>
                      <a:gd name="connsiteX18" fmla="*/ 205019 w 323034"/>
                      <a:gd name="connsiteY18" fmla="*/ 51029 h 213250"/>
                      <a:gd name="connsiteX19" fmla="*/ 427 w 323034"/>
                      <a:gd name="connsiteY19" fmla="*/ 201241 h 213250"/>
                      <a:gd name="connsiteX20" fmla="*/ 6512 w 323034"/>
                      <a:gd name="connsiteY20" fmla="*/ 212839 h 21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23034" h="213250">
                        <a:moveTo>
                          <a:pt x="6512" y="212839"/>
                        </a:moveTo>
                        <a:cubicBezTo>
                          <a:pt x="11645" y="214360"/>
                          <a:pt x="16589" y="211508"/>
                          <a:pt x="18110" y="206755"/>
                        </a:cubicBezTo>
                        <a:cubicBezTo>
                          <a:pt x="43779" y="124614"/>
                          <a:pt x="118885" y="69473"/>
                          <a:pt x="205019" y="69473"/>
                        </a:cubicBezTo>
                        <a:cubicBezTo>
                          <a:pt x="232019" y="69473"/>
                          <a:pt x="258068" y="74797"/>
                          <a:pt x="282786" y="85445"/>
                        </a:cubicBezTo>
                        <a:lnTo>
                          <a:pt x="289441" y="88297"/>
                        </a:lnTo>
                        <a:lnTo>
                          <a:pt x="216427" y="108832"/>
                        </a:lnTo>
                        <a:cubicBezTo>
                          <a:pt x="211483" y="110163"/>
                          <a:pt x="208631" y="115297"/>
                          <a:pt x="209962" y="120241"/>
                        </a:cubicBezTo>
                        <a:cubicBezTo>
                          <a:pt x="211103" y="124234"/>
                          <a:pt x="214716" y="127086"/>
                          <a:pt x="218899" y="127086"/>
                        </a:cubicBezTo>
                        <a:cubicBezTo>
                          <a:pt x="219659" y="127086"/>
                          <a:pt x="220610" y="126896"/>
                          <a:pt x="221371" y="126705"/>
                        </a:cubicBezTo>
                        <a:lnTo>
                          <a:pt x="316251" y="100086"/>
                        </a:lnTo>
                        <a:cubicBezTo>
                          <a:pt x="319103" y="99325"/>
                          <a:pt x="321385" y="97044"/>
                          <a:pt x="322526" y="94191"/>
                        </a:cubicBezTo>
                        <a:cubicBezTo>
                          <a:pt x="323476" y="91339"/>
                          <a:pt x="323096" y="88107"/>
                          <a:pt x="321385" y="85635"/>
                        </a:cubicBezTo>
                        <a:lnTo>
                          <a:pt x="263012" y="3874"/>
                        </a:lnTo>
                        <a:cubicBezTo>
                          <a:pt x="259969" y="-309"/>
                          <a:pt x="254265" y="-1259"/>
                          <a:pt x="250082" y="1783"/>
                        </a:cubicBezTo>
                        <a:cubicBezTo>
                          <a:pt x="247990" y="3304"/>
                          <a:pt x="246659" y="5396"/>
                          <a:pt x="246279" y="7867"/>
                        </a:cubicBezTo>
                        <a:cubicBezTo>
                          <a:pt x="245899" y="10339"/>
                          <a:pt x="246469" y="12811"/>
                          <a:pt x="247800" y="14713"/>
                        </a:cubicBezTo>
                        <a:lnTo>
                          <a:pt x="284307" y="66051"/>
                        </a:lnTo>
                        <a:lnTo>
                          <a:pt x="276702" y="63389"/>
                        </a:lnTo>
                        <a:cubicBezTo>
                          <a:pt x="253695" y="55213"/>
                          <a:pt x="229547" y="51029"/>
                          <a:pt x="205019" y="51029"/>
                        </a:cubicBezTo>
                        <a:cubicBezTo>
                          <a:pt x="110709" y="51029"/>
                          <a:pt x="28568" y="111494"/>
                          <a:pt x="427" y="201241"/>
                        </a:cubicBezTo>
                        <a:cubicBezTo>
                          <a:pt x="-1094" y="206184"/>
                          <a:pt x="1568" y="211318"/>
                          <a:pt x="6512" y="212839"/>
                        </a:cubicBezTo>
                        <a:close/>
                      </a:path>
                    </a:pathLst>
                  </a:custGeom>
                  <a:grpFill/>
                  <a:ln w="1878" cap="flat">
                    <a:noFill/>
                    <a:prstDash val="solid"/>
                    <a:miter/>
                  </a:ln>
                </p:spPr>
                <p:txBody>
                  <a:bodyPr rtlCol="0" anchor="ctr"/>
                  <a:lstStyle/>
                  <a:p>
                    <a:endParaRPr lang="en-GB" noProof="0" dirty="0"/>
                  </a:p>
                </p:txBody>
              </p:sp>
              <p:sp>
                <p:nvSpPr>
                  <p:cNvPr id="319" name="Freihandform: Form 318">
                    <a:extLst>
                      <a:ext uri="{FF2B5EF4-FFF2-40B4-BE49-F238E27FC236}">
                        <a16:creationId xmlns:a16="http://schemas.microsoft.com/office/drawing/2014/main" id="{5BB39AD6-91D0-02A8-77B0-EA87941C11FE}"/>
                      </a:ext>
                    </a:extLst>
                  </p:cNvPr>
                  <p:cNvSpPr/>
                  <p:nvPr/>
                </p:nvSpPr>
                <p:spPr>
                  <a:xfrm>
                    <a:off x="2404214" y="2652680"/>
                    <a:ext cx="117771" cy="344365"/>
                  </a:xfrm>
                  <a:custGeom>
                    <a:avLst/>
                    <a:gdLst>
                      <a:gd name="connsiteX0" fmla="*/ 117670 w 117771"/>
                      <a:gd name="connsiteY0" fmla="*/ 318931 h 344365"/>
                      <a:gd name="connsiteX1" fmla="*/ 107022 w 117771"/>
                      <a:gd name="connsiteY1" fmla="*/ 311135 h 344365"/>
                      <a:gd name="connsiteX2" fmla="*/ 45417 w 117771"/>
                      <a:gd name="connsiteY2" fmla="*/ 320452 h 344365"/>
                      <a:gd name="connsiteX3" fmla="*/ 51121 w 117771"/>
                      <a:gd name="connsiteY3" fmla="*/ 314938 h 344365"/>
                      <a:gd name="connsiteX4" fmla="*/ 114438 w 117771"/>
                      <a:gd name="connsiteY4" fmla="*/ 162825 h 344365"/>
                      <a:gd name="connsiteX5" fmla="*/ 42374 w 117771"/>
                      <a:gd name="connsiteY5" fmla="*/ 2346 h 344365"/>
                      <a:gd name="connsiteX6" fmla="*/ 29255 w 117771"/>
                      <a:gd name="connsiteY6" fmla="*/ 3107 h 344365"/>
                      <a:gd name="connsiteX7" fmla="*/ 30015 w 117771"/>
                      <a:gd name="connsiteY7" fmla="*/ 16226 h 344365"/>
                      <a:gd name="connsiteX8" fmla="*/ 95994 w 117771"/>
                      <a:gd name="connsiteY8" fmla="*/ 162825 h 344365"/>
                      <a:gd name="connsiteX9" fmla="*/ 28114 w 117771"/>
                      <a:gd name="connsiteY9" fmla="*/ 310945 h 344365"/>
                      <a:gd name="connsiteX10" fmla="*/ 22410 w 117771"/>
                      <a:gd name="connsiteY10" fmla="*/ 315698 h 344365"/>
                      <a:gd name="connsiteX11" fmla="*/ 37050 w 117771"/>
                      <a:gd name="connsiteY11" fmla="*/ 240402 h 344365"/>
                      <a:gd name="connsiteX12" fmla="*/ 35719 w 117771"/>
                      <a:gd name="connsiteY12" fmla="*/ 233367 h 344365"/>
                      <a:gd name="connsiteX13" fmla="*/ 29825 w 117771"/>
                      <a:gd name="connsiteY13" fmla="*/ 229374 h 344365"/>
                      <a:gd name="connsiteX14" fmla="*/ 28114 w 117771"/>
                      <a:gd name="connsiteY14" fmla="*/ 229184 h 344365"/>
                      <a:gd name="connsiteX15" fmla="*/ 18987 w 117771"/>
                      <a:gd name="connsiteY15" fmla="*/ 236600 h 344365"/>
                      <a:gd name="connsiteX16" fmla="*/ 163 w 117771"/>
                      <a:gd name="connsiteY16" fmla="*/ 333381 h 344365"/>
                      <a:gd name="connsiteX17" fmla="*/ 2635 w 117771"/>
                      <a:gd name="connsiteY17" fmla="*/ 341557 h 344365"/>
                      <a:gd name="connsiteX18" fmla="*/ 10811 w 117771"/>
                      <a:gd name="connsiteY18" fmla="*/ 344219 h 344365"/>
                      <a:gd name="connsiteX19" fmla="*/ 110255 w 117771"/>
                      <a:gd name="connsiteY19" fmla="*/ 329008 h 344365"/>
                      <a:gd name="connsiteX20" fmla="*/ 117670 w 117771"/>
                      <a:gd name="connsiteY20" fmla="*/ 318931 h 344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7771" h="344365">
                        <a:moveTo>
                          <a:pt x="117670" y="318931"/>
                        </a:moveTo>
                        <a:cubicBezTo>
                          <a:pt x="116910" y="313987"/>
                          <a:pt x="112156" y="310374"/>
                          <a:pt x="107022" y="311135"/>
                        </a:cubicBezTo>
                        <a:lnTo>
                          <a:pt x="45417" y="320452"/>
                        </a:lnTo>
                        <a:lnTo>
                          <a:pt x="51121" y="314938"/>
                        </a:lnTo>
                        <a:cubicBezTo>
                          <a:pt x="92001" y="274628"/>
                          <a:pt x="114438" y="220628"/>
                          <a:pt x="114438" y="162825"/>
                        </a:cubicBezTo>
                        <a:cubicBezTo>
                          <a:pt x="114438" y="101600"/>
                          <a:pt x="88198" y="43036"/>
                          <a:pt x="42374" y="2346"/>
                        </a:cubicBezTo>
                        <a:cubicBezTo>
                          <a:pt x="38571" y="-1076"/>
                          <a:pt x="32677" y="-696"/>
                          <a:pt x="29255" y="3107"/>
                        </a:cubicBezTo>
                        <a:cubicBezTo>
                          <a:pt x="25832" y="6909"/>
                          <a:pt x="26212" y="12804"/>
                          <a:pt x="30015" y="16226"/>
                        </a:cubicBezTo>
                        <a:cubicBezTo>
                          <a:pt x="71846" y="53304"/>
                          <a:pt x="95994" y="106733"/>
                          <a:pt x="95994" y="162825"/>
                        </a:cubicBezTo>
                        <a:cubicBezTo>
                          <a:pt x="95994" y="219867"/>
                          <a:pt x="71276" y="273867"/>
                          <a:pt x="28114" y="310945"/>
                        </a:cubicBezTo>
                        <a:lnTo>
                          <a:pt x="22410" y="315698"/>
                        </a:lnTo>
                        <a:lnTo>
                          <a:pt x="37050" y="240402"/>
                        </a:lnTo>
                        <a:cubicBezTo>
                          <a:pt x="37621" y="237931"/>
                          <a:pt x="37050" y="235459"/>
                          <a:pt x="35719" y="233367"/>
                        </a:cubicBezTo>
                        <a:cubicBezTo>
                          <a:pt x="34388" y="231276"/>
                          <a:pt x="32297" y="229945"/>
                          <a:pt x="29825" y="229374"/>
                        </a:cubicBezTo>
                        <a:cubicBezTo>
                          <a:pt x="29255" y="229184"/>
                          <a:pt x="28684" y="229184"/>
                          <a:pt x="28114" y="229184"/>
                        </a:cubicBezTo>
                        <a:cubicBezTo>
                          <a:pt x="23740" y="229184"/>
                          <a:pt x="19938" y="232226"/>
                          <a:pt x="18987" y="236600"/>
                        </a:cubicBezTo>
                        <a:lnTo>
                          <a:pt x="163" y="333381"/>
                        </a:lnTo>
                        <a:cubicBezTo>
                          <a:pt x="-407" y="336424"/>
                          <a:pt x="543" y="339466"/>
                          <a:pt x="2635" y="341557"/>
                        </a:cubicBezTo>
                        <a:cubicBezTo>
                          <a:pt x="4726" y="343649"/>
                          <a:pt x="7769" y="344790"/>
                          <a:pt x="10811" y="344219"/>
                        </a:cubicBezTo>
                        <a:lnTo>
                          <a:pt x="110255" y="329008"/>
                        </a:lnTo>
                        <a:cubicBezTo>
                          <a:pt x="114818" y="328818"/>
                          <a:pt x="118431" y="324064"/>
                          <a:pt x="117670" y="318931"/>
                        </a:cubicBezTo>
                        <a:close/>
                      </a:path>
                    </a:pathLst>
                  </a:custGeom>
                  <a:grpFill/>
                  <a:ln w="1878" cap="flat">
                    <a:noFill/>
                    <a:prstDash val="solid"/>
                    <a:miter/>
                  </a:ln>
                </p:spPr>
                <p:txBody>
                  <a:bodyPr rtlCol="0" anchor="ctr"/>
                  <a:lstStyle/>
                  <a:p>
                    <a:endParaRPr lang="en-GB" noProof="0" dirty="0"/>
                  </a:p>
                </p:txBody>
              </p:sp>
              <p:sp>
                <p:nvSpPr>
                  <p:cNvPr id="320" name="Freihandform: Form 319">
                    <a:extLst>
                      <a:ext uri="{FF2B5EF4-FFF2-40B4-BE49-F238E27FC236}">
                        <a16:creationId xmlns:a16="http://schemas.microsoft.com/office/drawing/2014/main" id="{F399D9A8-A3CF-906A-E161-43DA2C5097E6}"/>
                      </a:ext>
                    </a:extLst>
                  </p:cNvPr>
                  <p:cNvSpPr/>
                  <p:nvPr/>
                </p:nvSpPr>
                <p:spPr>
                  <a:xfrm>
                    <a:off x="2031104" y="2779378"/>
                    <a:ext cx="360866" cy="250605"/>
                  </a:xfrm>
                  <a:custGeom>
                    <a:avLst/>
                    <a:gdLst>
                      <a:gd name="connsiteX0" fmla="*/ 347794 w 360866"/>
                      <a:gd name="connsiteY0" fmla="*/ 217141 h 250605"/>
                      <a:gd name="connsiteX1" fmla="*/ 272879 w 360866"/>
                      <a:gd name="connsiteY1" fmla="*/ 231972 h 250605"/>
                      <a:gd name="connsiteX2" fmla="*/ 77604 w 360866"/>
                      <a:gd name="connsiteY2" fmla="*/ 48486 h 250605"/>
                      <a:gd name="connsiteX3" fmla="*/ 77034 w 360866"/>
                      <a:gd name="connsiteY3" fmla="*/ 39359 h 250605"/>
                      <a:gd name="connsiteX4" fmla="*/ 116203 w 360866"/>
                      <a:gd name="connsiteY4" fmla="*/ 95451 h 250605"/>
                      <a:gd name="connsiteX5" fmla="*/ 129132 w 360866"/>
                      <a:gd name="connsiteY5" fmla="*/ 97732 h 250605"/>
                      <a:gd name="connsiteX6" fmla="*/ 131414 w 360866"/>
                      <a:gd name="connsiteY6" fmla="*/ 84803 h 250605"/>
                      <a:gd name="connsiteX7" fmla="*/ 77034 w 360866"/>
                      <a:gd name="connsiteY7" fmla="*/ 6845 h 250605"/>
                      <a:gd name="connsiteX8" fmla="*/ 75893 w 360866"/>
                      <a:gd name="connsiteY8" fmla="*/ 5134 h 250605"/>
                      <a:gd name="connsiteX9" fmla="*/ 75703 w 360866"/>
                      <a:gd name="connsiteY9" fmla="*/ 4944 h 250605"/>
                      <a:gd name="connsiteX10" fmla="*/ 75132 w 360866"/>
                      <a:gd name="connsiteY10" fmla="*/ 3993 h 250605"/>
                      <a:gd name="connsiteX11" fmla="*/ 67527 w 360866"/>
                      <a:gd name="connsiteY11" fmla="*/ 0 h 250605"/>
                      <a:gd name="connsiteX12" fmla="*/ 59921 w 360866"/>
                      <a:gd name="connsiteY12" fmla="*/ 3993 h 250605"/>
                      <a:gd name="connsiteX13" fmla="*/ 1738 w 360866"/>
                      <a:gd name="connsiteY13" fmla="*/ 85944 h 250605"/>
                      <a:gd name="connsiteX14" fmla="*/ 217 w 360866"/>
                      <a:gd name="connsiteY14" fmla="*/ 92789 h 250605"/>
                      <a:gd name="connsiteX15" fmla="*/ 4020 w 360866"/>
                      <a:gd name="connsiteY15" fmla="*/ 98873 h 250605"/>
                      <a:gd name="connsiteX16" fmla="*/ 9344 w 360866"/>
                      <a:gd name="connsiteY16" fmla="*/ 100584 h 250605"/>
                      <a:gd name="connsiteX17" fmla="*/ 16949 w 360866"/>
                      <a:gd name="connsiteY17" fmla="*/ 96782 h 250605"/>
                      <a:gd name="connsiteX18" fmla="*/ 58780 w 360866"/>
                      <a:gd name="connsiteY18" fmla="*/ 38028 h 250605"/>
                      <a:gd name="connsiteX19" fmla="*/ 59161 w 360866"/>
                      <a:gd name="connsiteY19" fmla="*/ 45444 h 250605"/>
                      <a:gd name="connsiteX20" fmla="*/ 124759 w 360866"/>
                      <a:gd name="connsiteY20" fmla="*/ 190711 h 250605"/>
                      <a:gd name="connsiteX21" fmla="*/ 273069 w 360866"/>
                      <a:gd name="connsiteY21" fmla="*/ 250606 h 250605"/>
                      <a:gd name="connsiteX22" fmla="*/ 355210 w 360866"/>
                      <a:gd name="connsiteY22" fmla="*/ 234254 h 250605"/>
                      <a:gd name="connsiteX23" fmla="*/ 360154 w 360866"/>
                      <a:gd name="connsiteY23" fmla="*/ 229310 h 250605"/>
                      <a:gd name="connsiteX24" fmla="*/ 360154 w 360866"/>
                      <a:gd name="connsiteY24" fmla="*/ 222085 h 250605"/>
                      <a:gd name="connsiteX25" fmla="*/ 347794 w 360866"/>
                      <a:gd name="connsiteY25" fmla="*/ 217141 h 250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60866" h="250605">
                        <a:moveTo>
                          <a:pt x="347794" y="217141"/>
                        </a:moveTo>
                        <a:cubicBezTo>
                          <a:pt x="324027" y="227028"/>
                          <a:pt x="298738" y="231972"/>
                          <a:pt x="272879" y="231972"/>
                        </a:cubicBezTo>
                        <a:cubicBezTo>
                          <a:pt x="169823" y="231972"/>
                          <a:pt x="84069" y="151352"/>
                          <a:pt x="77604" y="48486"/>
                        </a:cubicBezTo>
                        <a:lnTo>
                          <a:pt x="77034" y="39359"/>
                        </a:lnTo>
                        <a:lnTo>
                          <a:pt x="116203" y="95451"/>
                        </a:lnTo>
                        <a:cubicBezTo>
                          <a:pt x="119055" y="99634"/>
                          <a:pt x="124949" y="100775"/>
                          <a:pt x="129132" y="97732"/>
                        </a:cubicBezTo>
                        <a:cubicBezTo>
                          <a:pt x="133316" y="94880"/>
                          <a:pt x="134266" y="88986"/>
                          <a:pt x="131414" y="84803"/>
                        </a:cubicBezTo>
                        <a:lnTo>
                          <a:pt x="77034" y="6845"/>
                        </a:lnTo>
                        <a:cubicBezTo>
                          <a:pt x="76654" y="6085"/>
                          <a:pt x="76273" y="5704"/>
                          <a:pt x="75893" y="5134"/>
                        </a:cubicBezTo>
                        <a:lnTo>
                          <a:pt x="75703" y="4944"/>
                        </a:lnTo>
                        <a:lnTo>
                          <a:pt x="75132" y="3993"/>
                        </a:lnTo>
                        <a:cubicBezTo>
                          <a:pt x="73421" y="1521"/>
                          <a:pt x="70569" y="0"/>
                          <a:pt x="67527" y="0"/>
                        </a:cubicBezTo>
                        <a:cubicBezTo>
                          <a:pt x="64485" y="0"/>
                          <a:pt x="61632" y="1521"/>
                          <a:pt x="59921" y="3993"/>
                        </a:cubicBezTo>
                        <a:lnTo>
                          <a:pt x="1738" y="85944"/>
                        </a:lnTo>
                        <a:cubicBezTo>
                          <a:pt x="217" y="88035"/>
                          <a:pt x="-353" y="90507"/>
                          <a:pt x="217" y="92789"/>
                        </a:cubicBezTo>
                        <a:cubicBezTo>
                          <a:pt x="597" y="95261"/>
                          <a:pt x="1928" y="97352"/>
                          <a:pt x="4020" y="98873"/>
                        </a:cubicBezTo>
                        <a:cubicBezTo>
                          <a:pt x="5541" y="100014"/>
                          <a:pt x="7442" y="100584"/>
                          <a:pt x="9344" y="100584"/>
                        </a:cubicBezTo>
                        <a:cubicBezTo>
                          <a:pt x="12386" y="100584"/>
                          <a:pt x="15238" y="99063"/>
                          <a:pt x="16949" y="96782"/>
                        </a:cubicBezTo>
                        <a:lnTo>
                          <a:pt x="58780" y="38028"/>
                        </a:lnTo>
                        <a:lnTo>
                          <a:pt x="59161" y="45444"/>
                        </a:lnTo>
                        <a:cubicBezTo>
                          <a:pt x="61442" y="100775"/>
                          <a:pt x="84830" y="152303"/>
                          <a:pt x="124759" y="190711"/>
                        </a:cubicBezTo>
                        <a:cubicBezTo>
                          <a:pt x="164879" y="229310"/>
                          <a:pt x="217548" y="250606"/>
                          <a:pt x="273069" y="250606"/>
                        </a:cubicBezTo>
                        <a:cubicBezTo>
                          <a:pt x="301590" y="250606"/>
                          <a:pt x="329161" y="245092"/>
                          <a:pt x="355210" y="234254"/>
                        </a:cubicBezTo>
                        <a:cubicBezTo>
                          <a:pt x="357492" y="233303"/>
                          <a:pt x="359203" y="231592"/>
                          <a:pt x="360154" y="229310"/>
                        </a:cubicBezTo>
                        <a:cubicBezTo>
                          <a:pt x="361104" y="227028"/>
                          <a:pt x="361104" y="224556"/>
                          <a:pt x="360154" y="222085"/>
                        </a:cubicBezTo>
                        <a:cubicBezTo>
                          <a:pt x="358062" y="217331"/>
                          <a:pt x="352548" y="215239"/>
                          <a:pt x="347794" y="217141"/>
                        </a:cubicBezTo>
                        <a:close/>
                      </a:path>
                    </a:pathLst>
                  </a:custGeom>
                  <a:grpFill/>
                  <a:ln w="1878" cap="flat">
                    <a:noFill/>
                    <a:prstDash val="solid"/>
                    <a:miter/>
                  </a:ln>
                </p:spPr>
                <p:txBody>
                  <a:bodyPr rtlCol="0" anchor="ctr"/>
                  <a:lstStyle/>
                  <a:p>
                    <a:endParaRPr lang="en-GB" noProof="0" dirty="0"/>
                  </a:p>
                </p:txBody>
              </p:sp>
            </p:grpSp>
          </p:grpSp>
        </p:grpSp>
      </p:grpSp>
      <p:sp>
        <p:nvSpPr>
          <p:cNvPr id="350" name="Rechteck 349">
            <a:extLst>
              <a:ext uri="{FF2B5EF4-FFF2-40B4-BE49-F238E27FC236}">
                <a16:creationId xmlns:a16="http://schemas.microsoft.com/office/drawing/2014/main" id="{7574CC8A-AD46-31E5-072E-134CCCE9D287}"/>
              </a:ext>
            </a:extLst>
          </p:cNvPr>
          <p:cNvSpPr/>
          <p:nvPr/>
        </p:nvSpPr>
        <p:spPr>
          <a:xfrm>
            <a:off x="3288737" y="2155315"/>
            <a:ext cx="432000" cy="365378"/>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4" name="Line 65">
            <a:extLst>
              <a:ext uri="{FF2B5EF4-FFF2-40B4-BE49-F238E27FC236}">
                <a16:creationId xmlns:a16="http://schemas.microsoft.com/office/drawing/2014/main" id="{F6E43A36-110E-8360-B2C3-2A0F60F80FE9}"/>
              </a:ext>
            </a:extLst>
          </p:cNvPr>
          <p:cNvSpPr>
            <a:spLocks noChangeShapeType="1"/>
          </p:cNvSpPr>
          <p:nvPr/>
        </p:nvSpPr>
        <p:spPr bwMode="auto">
          <a:xfrm>
            <a:off x="2700998" y="2788960"/>
            <a:ext cx="1625168" cy="66"/>
          </a:xfrm>
          <a:prstGeom prst="line">
            <a:avLst/>
          </a:prstGeom>
          <a:noFill/>
          <a:ln w="25400">
            <a:solidFill>
              <a:schemeClr val="accent5"/>
            </a:solidFill>
            <a:round/>
            <a:headEnd type="none" w="med" len="med"/>
            <a:tailEnd type="none" w="med" len="med"/>
          </a:ln>
        </p:spPr>
        <p:txBody>
          <a:bodyPr wrap="square" lIns="62308" tIns="29908" rIns="62308" bIns="29908">
            <a:noAutofit/>
          </a:bodyPr>
          <a:lstStyle/>
          <a:p>
            <a:endParaRPr lang="en-GB" sz="761" noProof="0" dirty="0">
              <a:ln>
                <a:solidFill>
                  <a:schemeClr val="tx1"/>
                </a:solidFill>
                <a:prstDash val="solid"/>
              </a:ln>
            </a:endParaRPr>
          </a:p>
        </p:txBody>
      </p:sp>
      <p:sp>
        <p:nvSpPr>
          <p:cNvPr id="87" name="Rechteck 86">
            <a:extLst>
              <a:ext uri="{FF2B5EF4-FFF2-40B4-BE49-F238E27FC236}">
                <a16:creationId xmlns:a16="http://schemas.microsoft.com/office/drawing/2014/main" id="{ADEF422A-68EC-AAA0-F678-0380B1A42632}"/>
              </a:ext>
            </a:extLst>
          </p:cNvPr>
          <p:cNvSpPr/>
          <p:nvPr/>
        </p:nvSpPr>
        <p:spPr>
          <a:xfrm>
            <a:off x="3290400" y="2611602"/>
            <a:ext cx="432000" cy="324000"/>
          </a:xfrm>
          <a:prstGeom prst="rect">
            <a:avLst/>
          </a:prstGeom>
          <a:solidFill>
            <a:schemeClr val="accent3">
              <a:lumMod val="60000"/>
              <a:lumOff val="40000"/>
            </a:schemeClr>
          </a:solidFill>
          <a:ln>
            <a:noFill/>
          </a:ln>
        </p:spPr>
        <p:txBody>
          <a:bodyPr lIns="0" tIns="0" rIns="0" bIns="0" rtlCol="0" anchor="ctr">
            <a:noAutofit/>
          </a:bodyPr>
          <a:lstStyle/>
          <a:p>
            <a:pPr marL="207169" indent="-207169" algn="ctr" defTabSz="247650">
              <a:spcBef>
                <a:spcPts val="225"/>
              </a:spcBef>
              <a:buFont typeface="Symbol" pitchFamily="18" charset="2"/>
              <a:buChar char="-"/>
            </a:pPr>
            <a:endParaRPr lang="en-GB" sz="1350" kern="0" noProof="0" dirty="0">
              <a:solidFill>
                <a:srgbClr val="41474C"/>
              </a:solidFill>
              <a:latin typeface="Corbel" pitchFamily="34" charset="0"/>
            </a:endParaRPr>
          </a:p>
        </p:txBody>
      </p:sp>
      <p:sp>
        <p:nvSpPr>
          <p:cNvPr id="24" name="Rechteck 23">
            <a:extLst>
              <a:ext uri="{FF2B5EF4-FFF2-40B4-BE49-F238E27FC236}">
                <a16:creationId xmlns:a16="http://schemas.microsoft.com/office/drawing/2014/main" id="{003C3DA7-1221-4D0B-8F9B-F3192EB72F85}"/>
              </a:ext>
            </a:extLst>
          </p:cNvPr>
          <p:cNvSpPr/>
          <p:nvPr/>
        </p:nvSpPr>
        <p:spPr>
          <a:xfrm>
            <a:off x="6869889" y="1949413"/>
            <a:ext cx="396000" cy="276811"/>
          </a:xfrm>
          <a:prstGeom prst="rect">
            <a:avLst/>
          </a:prstGeom>
          <a:solidFill>
            <a:schemeClr val="bg1"/>
          </a:solidFill>
          <a:ln>
            <a:solidFill>
              <a:schemeClr val="bg1"/>
            </a:solidFill>
          </a:ln>
        </p:spPr>
        <p:txBody>
          <a:bodyPr lIns="0" tIns="0" rIns="0" bIns="0" rtlCol="0" anchor="ctr">
            <a:noAutofit/>
          </a:bodyPr>
          <a:lstStyle/>
          <a:p>
            <a:pPr marL="207169" indent="-207169" algn="ctr" defTabSz="247650">
              <a:spcBef>
                <a:spcPts val="225"/>
              </a:spcBef>
              <a:buFont typeface="Symbol" pitchFamily="18" charset="2"/>
              <a:buChar char="-"/>
            </a:pPr>
            <a:endParaRPr lang="en-GB" sz="1350" kern="0" noProof="0" dirty="0">
              <a:solidFill>
                <a:srgbClr val="41474C"/>
              </a:solidFill>
              <a:latin typeface="Corbel" pitchFamily="34" charset="0"/>
            </a:endParaRPr>
          </a:p>
        </p:txBody>
      </p:sp>
      <p:grpSp>
        <p:nvGrpSpPr>
          <p:cNvPr id="15" name="Grafik 42">
            <a:extLst>
              <a:ext uri="{FF2B5EF4-FFF2-40B4-BE49-F238E27FC236}">
                <a16:creationId xmlns:a16="http://schemas.microsoft.com/office/drawing/2014/main" id="{B79507F6-D3DC-7137-A8AE-2891EE5CADDA}"/>
              </a:ext>
            </a:extLst>
          </p:cNvPr>
          <p:cNvGrpSpPr>
            <a:grpSpLocks noChangeAspect="1"/>
          </p:cNvGrpSpPr>
          <p:nvPr/>
        </p:nvGrpSpPr>
        <p:grpSpPr>
          <a:xfrm>
            <a:off x="6888080" y="1863048"/>
            <a:ext cx="360000" cy="360000"/>
            <a:chOff x="1890251" y="3930400"/>
            <a:chExt cx="540000" cy="540000"/>
          </a:xfrm>
          <a:solidFill>
            <a:schemeClr val="accent1"/>
          </a:solidFill>
        </p:grpSpPr>
        <p:grpSp>
          <p:nvGrpSpPr>
            <p:cNvPr id="16" name="Grafik 42">
              <a:extLst>
                <a:ext uri="{FF2B5EF4-FFF2-40B4-BE49-F238E27FC236}">
                  <a16:creationId xmlns:a16="http://schemas.microsoft.com/office/drawing/2014/main" id="{026D58CF-444B-3E22-0BA2-B9CC3FC00303}"/>
                </a:ext>
              </a:extLst>
            </p:cNvPr>
            <p:cNvGrpSpPr/>
            <p:nvPr/>
          </p:nvGrpSpPr>
          <p:grpSpPr>
            <a:xfrm>
              <a:off x="1890251" y="3930400"/>
              <a:ext cx="539429" cy="538859"/>
              <a:chOff x="1890251" y="3930400"/>
              <a:chExt cx="539429" cy="538859"/>
            </a:xfrm>
            <a:grpFill/>
          </p:grpSpPr>
          <p:grpSp>
            <p:nvGrpSpPr>
              <p:cNvPr id="17" name="Grafik 42">
                <a:extLst>
                  <a:ext uri="{FF2B5EF4-FFF2-40B4-BE49-F238E27FC236}">
                    <a16:creationId xmlns:a16="http://schemas.microsoft.com/office/drawing/2014/main" id="{DAB5AADF-AD26-9E64-D9BB-9405CF81CB83}"/>
                  </a:ext>
                </a:extLst>
              </p:cNvPr>
              <p:cNvGrpSpPr/>
              <p:nvPr/>
            </p:nvGrpSpPr>
            <p:grpSpPr>
              <a:xfrm>
                <a:off x="1890251" y="4151914"/>
                <a:ext cx="539429" cy="317345"/>
                <a:chOff x="1890251" y="4151914"/>
                <a:chExt cx="539429" cy="317345"/>
              </a:xfrm>
              <a:grpFill/>
            </p:grpSpPr>
            <p:sp>
              <p:nvSpPr>
                <p:cNvPr id="18" name="Freihandform: Form 17">
                  <a:extLst>
                    <a:ext uri="{FF2B5EF4-FFF2-40B4-BE49-F238E27FC236}">
                      <a16:creationId xmlns:a16="http://schemas.microsoft.com/office/drawing/2014/main" id="{AF747588-85E3-011A-2544-08CF0DD83912}"/>
                    </a:ext>
                  </a:extLst>
                </p:cNvPr>
                <p:cNvSpPr/>
                <p:nvPr/>
              </p:nvSpPr>
              <p:spPr>
                <a:xfrm>
                  <a:off x="2014032" y="4381984"/>
                  <a:ext cx="52098" cy="52098"/>
                </a:xfrm>
                <a:custGeom>
                  <a:avLst/>
                  <a:gdLst>
                    <a:gd name="connsiteX0" fmla="*/ 26049 w 52098"/>
                    <a:gd name="connsiteY0" fmla="*/ 0 h 52098"/>
                    <a:gd name="connsiteX1" fmla="*/ 0 w 52098"/>
                    <a:gd name="connsiteY1" fmla="*/ 26049 h 52098"/>
                    <a:gd name="connsiteX2" fmla="*/ 26049 w 52098"/>
                    <a:gd name="connsiteY2" fmla="*/ 52099 h 52098"/>
                    <a:gd name="connsiteX3" fmla="*/ 52099 w 52098"/>
                    <a:gd name="connsiteY3" fmla="*/ 26049 h 52098"/>
                    <a:gd name="connsiteX4" fmla="*/ 26049 w 52098"/>
                    <a:gd name="connsiteY4" fmla="*/ 0 h 52098"/>
                    <a:gd name="connsiteX5" fmla="*/ 26049 w 52098"/>
                    <a:gd name="connsiteY5" fmla="*/ 35366 h 52098"/>
                    <a:gd name="connsiteX6" fmla="*/ 16732 w 52098"/>
                    <a:gd name="connsiteY6" fmla="*/ 26049 h 52098"/>
                    <a:gd name="connsiteX7" fmla="*/ 26049 w 52098"/>
                    <a:gd name="connsiteY7" fmla="*/ 16732 h 52098"/>
                    <a:gd name="connsiteX8" fmla="*/ 35366 w 52098"/>
                    <a:gd name="connsiteY8" fmla="*/ 26049 h 52098"/>
                    <a:gd name="connsiteX9" fmla="*/ 26049 w 52098"/>
                    <a:gd name="connsiteY9" fmla="*/ 35366 h 52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098" h="52098">
                      <a:moveTo>
                        <a:pt x="26049" y="0"/>
                      </a:moveTo>
                      <a:cubicBezTo>
                        <a:pt x="11789" y="0"/>
                        <a:pt x="0" y="11599"/>
                        <a:pt x="0" y="26049"/>
                      </a:cubicBezTo>
                      <a:cubicBezTo>
                        <a:pt x="0" y="40310"/>
                        <a:pt x="11599" y="52099"/>
                        <a:pt x="26049" y="52099"/>
                      </a:cubicBezTo>
                      <a:cubicBezTo>
                        <a:pt x="40310" y="52099"/>
                        <a:pt x="52099" y="40500"/>
                        <a:pt x="52099" y="26049"/>
                      </a:cubicBezTo>
                      <a:cubicBezTo>
                        <a:pt x="51908" y="11789"/>
                        <a:pt x="40310" y="0"/>
                        <a:pt x="26049" y="0"/>
                      </a:cubicBezTo>
                      <a:close/>
                      <a:moveTo>
                        <a:pt x="26049" y="35366"/>
                      </a:moveTo>
                      <a:cubicBezTo>
                        <a:pt x="20915" y="35366"/>
                        <a:pt x="16732" y="31183"/>
                        <a:pt x="16732" y="26049"/>
                      </a:cubicBezTo>
                      <a:cubicBezTo>
                        <a:pt x="16732" y="20915"/>
                        <a:pt x="20915" y="16732"/>
                        <a:pt x="26049" y="16732"/>
                      </a:cubicBezTo>
                      <a:cubicBezTo>
                        <a:pt x="31183" y="16732"/>
                        <a:pt x="35366" y="20915"/>
                        <a:pt x="35366" y="26049"/>
                      </a:cubicBezTo>
                      <a:cubicBezTo>
                        <a:pt x="35366" y="31183"/>
                        <a:pt x="31183" y="35366"/>
                        <a:pt x="26049" y="35366"/>
                      </a:cubicBezTo>
                      <a:close/>
                    </a:path>
                  </a:pathLst>
                </a:custGeom>
                <a:grpFill/>
                <a:ln w="1878" cap="flat">
                  <a:noFill/>
                  <a:prstDash val="solid"/>
                  <a:miter/>
                </a:ln>
              </p:spPr>
              <p:txBody>
                <a:bodyPr rtlCol="0" anchor="ctr"/>
                <a:lstStyle/>
                <a:p>
                  <a:endParaRPr lang="en-GB" noProof="0" dirty="0"/>
                </a:p>
              </p:txBody>
            </p:sp>
            <p:sp>
              <p:nvSpPr>
                <p:cNvPr id="20" name="Freihandform: Form 19">
                  <a:extLst>
                    <a:ext uri="{FF2B5EF4-FFF2-40B4-BE49-F238E27FC236}">
                      <a16:creationId xmlns:a16="http://schemas.microsoft.com/office/drawing/2014/main" id="{17BE56CC-706E-323B-32DF-413EA73D4042}"/>
                    </a:ext>
                  </a:extLst>
                </p:cNvPr>
                <p:cNvSpPr/>
                <p:nvPr/>
              </p:nvSpPr>
              <p:spPr>
                <a:xfrm>
                  <a:off x="2288786" y="4381984"/>
                  <a:ext cx="52098" cy="52098"/>
                </a:xfrm>
                <a:custGeom>
                  <a:avLst/>
                  <a:gdLst>
                    <a:gd name="connsiteX0" fmla="*/ 26049 w 52098"/>
                    <a:gd name="connsiteY0" fmla="*/ 0 h 52098"/>
                    <a:gd name="connsiteX1" fmla="*/ 0 w 52098"/>
                    <a:gd name="connsiteY1" fmla="*/ 26049 h 52098"/>
                    <a:gd name="connsiteX2" fmla="*/ 26049 w 52098"/>
                    <a:gd name="connsiteY2" fmla="*/ 52099 h 52098"/>
                    <a:gd name="connsiteX3" fmla="*/ 52099 w 52098"/>
                    <a:gd name="connsiteY3" fmla="*/ 26049 h 52098"/>
                    <a:gd name="connsiteX4" fmla="*/ 26049 w 52098"/>
                    <a:gd name="connsiteY4" fmla="*/ 0 h 52098"/>
                    <a:gd name="connsiteX5" fmla="*/ 26049 w 52098"/>
                    <a:gd name="connsiteY5" fmla="*/ 35366 h 52098"/>
                    <a:gd name="connsiteX6" fmla="*/ 16732 w 52098"/>
                    <a:gd name="connsiteY6" fmla="*/ 26049 h 52098"/>
                    <a:gd name="connsiteX7" fmla="*/ 26049 w 52098"/>
                    <a:gd name="connsiteY7" fmla="*/ 16732 h 52098"/>
                    <a:gd name="connsiteX8" fmla="*/ 35366 w 52098"/>
                    <a:gd name="connsiteY8" fmla="*/ 26049 h 52098"/>
                    <a:gd name="connsiteX9" fmla="*/ 26049 w 52098"/>
                    <a:gd name="connsiteY9" fmla="*/ 35366 h 52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098" h="52098">
                      <a:moveTo>
                        <a:pt x="26049" y="0"/>
                      </a:moveTo>
                      <a:cubicBezTo>
                        <a:pt x="11789" y="0"/>
                        <a:pt x="0" y="11599"/>
                        <a:pt x="0" y="26049"/>
                      </a:cubicBezTo>
                      <a:cubicBezTo>
                        <a:pt x="0" y="40310"/>
                        <a:pt x="11599" y="52099"/>
                        <a:pt x="26049" y="52099"/>
                      </a:cubicBezTo>
                      <a:cubicBezTo>
                        <a:pt x="40310" y="52099"/>
                        <a:pt x="52099" y="40500"/>
                        <a:pt x="52099" y="26049"/>
                      </a:cubicBezTo>
                      <a:cubicBezTo>
                        <a:pt x="51908" y="11789"/>
                        <a:pt x="40310" y="0"/>
                        <a:pt x="26049" y="0"/>
                      </a:cubicBezTo>
                      <a:close/>
                      <a:moveTo>
                        <a:pt x="26049" y="35366"/>
                      </a:moveTo>
                      <a:cubicBezTo>
                        <a:pt x="20915" y="35366"/>
                        <a:pt x="16732" y="31183"/>
                        <a:pt x="16732" y="26049"/>
                      </a:cubicBezTo>
                      <a:cubicBezTo>
                        <a:pt x="16732" y="20915"/>
                        <a:pt x="20915" y="16732"/>
                        <a:pt x="26049" y="16732"/>
                      </a:cubicBezTo>
                      <a:cubicBezTo>
                        <a:pt x="31183" y="16732"/>
                        <a:pt x="35366" y="20915"/>
                        <a:pt x="35366" y="26049"/>
                      </a:cubicBezTo>
                      <a:cubicBezTo>
                        <a:pt x="35366" y="31183"/>
                        <a:pt x="31183" y="35366"/>
                        <a:pt x="26049" y="35366"/>
                      </a:cubicBezTo>
                      <a:close/>
                    </a:path>
                  </a:pathLst>
                </a:custGeom>
                <a:grpFill/>
                <a:ln w="1878" cap="flat">
                  <a:noFill/>
                  <a:prstDash val="solid"/>
                  <a:miter/>
                </a:ln>
              </p:spPr>
              <p:txBody>
                <a:bodyPr rtlCol="0" anchor="ctr"/>
                <a:lstStyle/>
                <a:p>
                  <a:endParaRPr lang="en-GB" noProof="0" dirty="0"/>
                </a:p>
              </p:txBody>
            </p:sp>
            <p:sp>
              <p:nvSpPr>
                <p:cNvPr id="22" name="Freihandform: Form 21">
                  <a:extLst>
                    <a:ext uri="{FF2B5EF4-FFF2-40B4-BE49-F238E27FC236}">
                      <a16:creationId xmlns:a16="http://schemas.microsoft.com/office/drawing/2014/main" id="{7E86407E-1525-DA94-6BDB-EBB432F15DEE}"/>
                    </a:ext>
                  </a:extLst>
                </p:cNvPr>
                <p:cNvSpPr/>
                <p:nvPr/>
              </p:nvSpPr>
              <p:spPr>
                <a:xfrm>
                  <a:off x="1890251" y="4151914"/>
                  <a:ext cx="539429" cy="317345"/>
                </a:xfrm>
                <a:custGeom>
                  <a:avLst/>
                  <a:gdLst>
                    <a:gd name="connsiteX0" fmla="*/ 530113 w 539429"/>
                    <a:gd name="connsiteY0" fmla="*/ 214669 h 317345"/>
                    <a:gd name="connsiteX1" fmla="*/ 530113 w 539429"/>
                    <a:gd name="connsiteY1" fmla="*/ 150782 h 317345"/>
                    <a:gd name="connsiteX2" fmla="*/ 524218 w 539429"/>
                    <a:gd name="connsiteY2" fmla="*/ 128725 h 317345"/>
                    <a:gd name="connsiteX3" fmla="*/ 477254 w 539429"/>
                    <a:gd name="connsiteY3" fmla="*/ 48296 h 317345"/>
                    <a:gd name="connsiteX4" fmla="*/ 439606 w 539429"/>
                    <a:gd name="connsiteY4" fmla="*/ 26620 h 317345"/>
                    <a:gd name="connsiteX5" fmla="*/ 380282 w 539429"/>
                    <a:gd name="connsiteY5" fmla="*/ 26620 h 317345"/>
                    <a:gd name="connsiteX6" fmla="*/ 363169 w 539429"/>
                    <a:gd name="connsiteY6" fmla="*/ 43732 h 317345"/>
                    <a:gd name="connsiteX7" fmla="*/ 363169 w 539429"/>
                    <a:gd name="connsiteY7" fmla="*/ 194704 h 317345"/>
                    <a:gd name="connsiteX8" fmla="*/ 344345 w 539429"/>
                    <a:gd name="connsiteY8" fmla="*/ 194704 h 317345"/>
                    <a:gd name="connsiteX9" fmla="*/ 344345 w 539429"/>
                    <a:gd name="connsiteY9" fmla="*/ 26049 h 317345"/>
                    <a:gd name="connsiteX10" fmla="*/ 318296 w 539429"/>
                    <a:gd name="connsiteY10" fmla="*/ 0 h 317345"/>
                    <a:gd name="connsiteX11" fmla="*/ 26049 w 539429"/>
                    <a:gd name="connsiteY11" fmla="*/ 0 h 317345"/>
                    <a:gd name="connsiteX12" fmla="*/ 0 w 539429"/>
                    <a:gd name="connsiteY12" fmla="*/ 26049 h 317345"/>
                    <a:gd name="connsiteX13" fmla="*/ 0 w 539429"/>
                    <a:gd name="connsiteY13" fmla="*/ 238246 h 317345"/>
                    <a:gd name="connsiteX14" fmla="*/ 26049 w 539429"/>
                    <a:gd name="connsiteY14" fmla="*/ 264296 h 317345"/>
                    <a:gd name="connsiteX15" fmla="*/ 89176 w 539429"/>
                    <a:gd name="connsiteY15" fmla="*/ 264296 h 317345"/>
                    <a:gd name="connsiteX16" fmla="*/ 150021 w 539429"/>
                    <a:gd name="connsiteY16" fmla="*/ 317345 h 317345"/>
                    <a:gd name="connsiteX17" fmla="*/ 210866 w 539429"/>
                    <a:gd name="connsiteY17" fmla="*/ 264296 h 317345"/>
                    <a:gd name="connsiteX18" fmla="*/ 364120 w 539429"/>
                    <a:gd name="connsiteY18" fmla="*/ 264296 h 317345"/>
                    <a:gd name="connsiteX19" fmla="*/ 424965 w 539429"/>
                    <a:gd name="connsiteY19" fmla="*/ 317345 h 317345"/>
                    <a:gd name="connsiteX20" fmla="*/ 485810 w 539429"/>
                    <a:gd name="connsiteY20" fmla="*/ 264296 h 317345"/>
                    <a:gd name="connsiteX21" fmla="*/ 522317 w 539429"/>
                    <a:gd name="connsiteY21" fmla="*/ 264296 h 317345"/>
                    <a:gd name="connsiteX22" fmla="*/ 539430 w 539429"/>
                    <a:gd name="connsiteY22" fmla="*/ 247183 h 317345"/>
                    <a:gd name="connsiteX23" fmla="*/ 539430 w 539429"/>
                    <a:gd name="connsiteY23" fmla="*/ 229500 h 317345"/>
                    <a:gd name="connsiteX24" fmla="*/ 530113 w 539429"/>
                    <a:gd name="connsiteY24" fmla="*/ 214669 h 317345"/>
                    <a:gd name="connsiteX25" fmla="*/ 16542 w 539429"/>
                    <a:gd name="connsiteY25" fmla="*/ 175880 h 317345"/>
                    <a:gd name="connsiteX26" fmla="*/ 35366 w 539429"/>
                    <a:gd name="connsiteY26" fmla="*/ 175880 h 317345"/>
                    <a:gd name="connsiteX27" fmla="*/ 35366 w 539429"/>
                    <a:gd name="connsiteY27" fmla="*/ 202880 h 317345"/>
                    <a:gd name="connsiteX28" fmla="*/ 26049 w 539429"/>
                    <a:gd name="connsiteY28" fmla="*/ 212197 h 317345"/>
                    <a:gd name="connsiteX29" fmla="*/ 16542 w 539429"/>
                    <a:gd name="connsiteY29" fmla="*/ 212197 h 317345"/>
                    <a:gd name="connsiteX30" fmla="*/ 16542 w 539429"/>
                    <a:gd name="connsiteY30" fmla="*/ 175880 h 317345"/>
                    <a:gd name="connsiteX31" fmla="*/ 149831 w 539429"/>
                    <a:gd name="connsiteY31" fmla="*/ 300803 h 317345"/>
                    <a:gd name="connsiteX32" fmla="*/ 105148 w 539429"/>
                    <a:gd name="connsiteY32" fmla="*/ 256120 h 317345"/>
                    <a:gd name="connsiteX33" fmla="*/ 105148 w 539429"/>
                    <a:gd name="connsiteY33" fmla="*/ 256120 h 317345"/>
                    <a:gd name="connsiteX34" fmla="*/ 105148 w 539429"/>
                    <a:gd name="connsiteY34" fmla="*/ 256120 h 317345"/>
                    <a:gd name="connsiteX35" fmla="*/ 149831 w 539429"/>
                    <a:gd name="connsiteY35" fmla="*/ 211437 h 317345"/>
                    <a:gd name="connsiteX36" fmla="*/ 194704 w 539429"/>
                    <a:gd name="connsiteY36" fmla="*/ 256120 h 317345"/>
                    <a:gd name="connsiteX37" fmla="*/ 149831 w 539429"/>
                    <a:gd name="connsiteY37" fmla="*/ 300803 h 317345"/>
                    <a:gd name="connsiteX38" fmla="*/ 327803 w 539429"/>
                    <a:gd name="connsiteY38" fmla="*/ 247754 h 317345"/>
                    <a:gd name="connsiteX39" fmla="*/ 210486 w 539429"/>
                    <a:gd name="connsiteY39" fmla="*/ 247754 h 317345"/>
                    <a:gd name="connsiteX40" fmla="*/ 149641 w 539429"/>
                    <a:gd name="connsiteY40" fmla="*/ 194704 h 317345"/>
                    <a:gd name="connsiteX41" fmla="*/ 88796 w 539429"/>
                    <a:gd name="connsiteY41" fmla="*/ 247754 h 317345"/>
                    <a:gd name="connsiteX42" fmla="*/ 26049 w 539429"/>
                    <a:gd name="connsiteY42" fmla="*/ 247754 h 317345"/>
                    <a:gd name="connsiteX43" fmla="*/ 16732 w 539429"/>
                    <a:gd name="connsiteY43" fmla="*/ 238437 h 317345"/>
                    <a:gd name="connsiteX44" fmla="*/ 16732 w 539429"/>
                    <a:gd name="connsiteY44" fmla="*/ 229120 h 317345"/>
                    <a:gd name="connsiteX45" fmla="*/ 26049 w 539429"/>
                    <a:gd name="connsiteY45" fmla="*/ 229120 h 317345"/>
                    <a:gd name="connsiteX46" fmla="*/ 52099 w 539429"/>
                    <a:gd name="connsiteY46" fmla="*/ 203070 h 317345"/>
                    <a:gd name="connsiteX47" fmla="*/ 52099 w 539429"/>
                    <a:gd name="connsiteY47" fmla="*/ 167704 h 317345"/>
                    <a:gd name="connsiteX48" fmla="*/ 43732 w 539429"/>
                    <a:gd name="connsiteY48" fmla="*/ 159338 h 317345"/>
                    <a:gd name="connsiteX49" fmla="*/ 16542 w 539429"/>
                    <a:gd name="connsiteY49" fmla="*/ 159338 h 317345"/>
                    <a:gd name="connsiteX50" fmla="*/ 16542 w 539429"/>
                    <a:gd name="connsiteY50" fmla="*/ 26049 h 317345"/>
                    <a:gd name="connsiteX51" fmla="*/ 25859 w 539429"/>
                    <a:gd name="connsiteY51" fmla="*/ 16732 h 317345"/>
                    <a:gd name="connsiteX52" fmla="*/ 318296 w 539429"/>
                    <a:gd name="connsiteY52" fmla="*/ 16732 h 317345"/>
                    <a:gd name="connsiteX53" fmla="*/ 327613 w 539429"/>
                    <a:gd name="connsiteY53" fmla="*/ 26049 h 317345"/>
                    <a:gd name="connsiteX54" fmla="*/ 327613 w 539429"/>
                    <a:gd name="connsiteY54" fmla="*/ 247754 h 317345"/>
                    <a:gd name="connsiteX55" fmla="*/ 363169 w 539429"/>
                    <a:gd name="connsiteY55" fmla="*/ 247754 h 317345"/>
                    <a:gd name="connsiteX56" fmla="*/ 344345 w 539429"/>
                    <a:gd name="connsiteY56" fmla="*/ 247754 h 317345"/>
                    <a:gd name="connsiteX57" fmla="*/ 344345 w 539429"/>
                    <a:gd name="connsiteY57" fmla="*/ 211246 h 317345"/>
                    <a:gd name="connsiteX58" fmla="*/ 363169 w 539429"/>
                    <a:gd name="connsiteY58" fmla="*/ 211246 h 317345"/>
                    <a:gd name="connsiteX59" fmla="*/ 363169 w 539429"/>
                    <a:gd name="connsiteY59" fmla="*/ 247754 h 317345"/>
                    <a:gd name="connsiteX60" fmla="*/ 379711 w 539429"/>
                    <a:gd name="connsiteY60" fmla="*/ 43923 h 317345"/>
                    <a:gd name="connsiteX61" fmla="*/ 380282 w 539429"/>
                    <a:gd name="connsiteY61" fmla="*/ 43352 h 317345"/>
                    <a:gd name="connsiteX62" fmla="*/ 439606 w 539429"/>
                    <a:gd name="connsiteY62" fmla="*/ 43352 h 317345"/>
                    <a:gd name="connsiteX63" fmla="*/ 462993 w 539429"/>
                    <a:gd name="connsiteY63" fmla="*/ 56852 h 317345"/>
                    <a:gd name="connsiteX64" fmla="*/ 466035 w 539429"/>
                    <a:gd name="connsiteY64" fmla="*/ 62176 h 317345"/>
                    <a:gd name="connsiteX65" fmla="*/ 379711 w 539429"/>
                    <a:gd name="connsiteY65" fmla="*/ 62176 h 317345"/>
                    <a:gd name="connsiteX66" fmla="*/ 379711 w 539429"/>
                    <a:gd name="connsiteY66" fmla="*/ 43923 h 317345"/>
                    <a:gd name="connsiteX67" fmla="*/ 379711 w 539429"/>
                    <a:gd name="connsiteY67" fmla="*/ 78718 h 317345"/>
                    <a:gd name="connsiteX68" fmla="*/ 475732 w 539429"/>
                    <a:gd name="connsiteY68" fmla="*/ 78718 h 317345"/>
                    <a:gd name="connsiteX69" fmla="*/ 509768 w 539429"/>
                    <a:gd name="connsiteY69" fmla="*/ 137092 h 317345"/>
                    <a:gd name="connsiteX70" fmla="*/ 513380 w 539429"/>
                    <a:gd name="connsiteY70" fmla="*/ 150782 h 317345"/>
                    <a:gd name="connsiteX71" fmla="*/ 513380 w 539429"/>
                    <a:gd name="connsiteY71" fmla="*/ 159528 h 317345"/>
                    <a:gd name="connsiteX72" fmla="*/ 497218 w 539429"/>
                    <a:gd name="connsiteY72" fmla="*/ 159528 h 317345"/>
                    <a:gd name="connsiteX73" fmla="*/ 484289 w 539429"/>
                    <a:gd name="connsiteY73" fmla="*/ 154204 h 317345"/>
                    <a:gd name="connsiteX74" fmla="*/ 473261 w 539429"/>
                    <a:gd name="connsiteY74" fmla="*/ 143176 h 317345"/>
                    <a:gd name="connsiteX75" fmla="*/ 448732 w 539429"/>
                    <a:gd name="connsiteY75" fmla="*/ 132908 h 317345"/>
                    <a:gd name="connsiteX76" fmla="*/ 379521 w 539429"/>
                    <a:gd name="connsiteY76" fmla="*/ 132908 h 317345"/>
                    <a:gd name="connsiteX77" fmla="*/ 379521 w 539429"/>
                    <a:gd name="connsiteY77" fmla="*/ 78718 h 317345"/>
                    <a:gd name="connsiteX78" fmla="*/ 424585 w 539429"/>
                    <a:gd name="connsiteY78" fmla="*/ 300803 h 317345"/>
                    <a:gd name="connsiteX79" fmla="*/ 379901 w 539429"/>
                    <a:gd name="connsiteY79" fmla="*/ 255930 h 317345"/>
                    <a:gd name="connsiteX80" fmla="*/ 424585 w 539429"/>
                    <a:gd name="connsiteY80" fmla="*/ 211246 h 317345"/>
                    <a:gd name="connsiteX81" fmla="*/ 469268 w 539429"/>
                    <a:gd name="connsiteY81" fmla="*/ 255930 h 317345"/>
                    <a:gd name="connsiteX82" fmla="*/ 424585 w 539429"/>
                    <a:gd name="connsiteY82" fmla="*/ 300803 h 317345"/>
                    <a:gd name="connsiteX83" fmla="*/ 486951 w 539429"/>
                    <a:gd name="connsiteY83" fmla="*/ 229500 h 317345"/>
                    <a:gd name="connsiteX84" fmla="*/ 486951 w 539429"/>
                    <a:gd name="connsiteY84" fmla="*/ 247754 h 317345"/>
                    <a:gd name="connsiteX85" fmla="*/ 485239 w 539429"/>
                    <a:gd name="connsiteY85" fmla="*/ 247754 h 317345"/>
                    <a:gd name="connsiteX86" fmla="*/ 424394 w 539429"/>
                    <a:gd name="connsiteY86" fmla="*/ 194704 h 317345"/>
                    <a:gd name="connsiteX87" fmla="*/ 379711 w 539429"/>
                    <a:gd name="connsiteY87" fmla="*/ 214099 h 317345"/>
                    <a:gd name="connsiteX88" fmla="*/ 379711 w 539429"/>
                    <a:gd name="connsiteY88" fmla="*/ 149261 h 317345"/>
                    <a:gd name="connsiteX89" fmla="*/ 448923 w 539429"/>
                    <a:gd name="connsiteY89" fmla="*/ 149261 h 317345"/>
                    <a:gd name="connsiteX90" fmla="*/ 461852 w 539429"/>
                    <a:gd name="connsiteY90" fmla="*/ 154585 h 317345"/>
                    <a:gd name="connsiteX91" fmla="*/ 472880 w 539429"/>
                    <a:gd name="connsiteY91" fmla="*/ 165613 h 317345"/>
                    <a:gd name="connsiteX92" fmla="*/ 497408 w 539429"/>
                    <a:gd name="connsiteY92" fmla="*/ 175880 h 317345"/>
                    <a:gd name="connsiteX93" fmla="*/ 513570 w 539429"/>
                    <a:gd name="connsiteY93" fmla="*/ 175880 h 317345"/>
                    <a:gd name="connsiteX94" fmla="*/ 513570 w 539429"/>
                    <a:gd name="connsiteY94" fmla="*/ 212387 h 317345"/>
                    <a:gd name="connsiteX95" fmla="*/ 504254 w 539429"/>
                    <a:gd name="connsiteY95" fmla="*/ 212387 h 317345"/>
                    <a:gd name="connsiteX96" fmla="*/ 486951 w 539429"/>
                    <a:gd name="connsiteY96" fmla="*/ 229500 h 317345"/>
                    <a:gd name="connsiteX97" fmla="*/ 522317 w 539429"/>
                    <a:gd name="connsiteY97" fmla="*/ 247183 h 317345"/>
                    <a:gd name="connsiteX98" fmla="*/ 521746 w 539429"/>
                    <a:gd name="connsiteY98" fmla="*/ 247754 h 317345"/>
                    <a:gd name="connsiteX99" fmla="*/ 503493 w 539429"/>
                    <a:gd name="connsiteY99" fmla="*/ 247754 h 317345"/>
                    <a:gd name="connsiteX100" fmla="*/ 503493 w 539429"/>
                    <a:gd name="connsiteY100" fmla="*/ 229500 h 317345"/>
                    <a:gd name="connsiteX101" fmla="*/ 504063 w 539429"/>
                    <a:gd name="connsiteY101" fmla="*/ 228930 h 317345"/>
                    <a:gd name="connsiteX102" fmla="*/ 521746 w 539429"/>
                    <a:gd name="connsiteY102" fmla="*/ 228930 h 317345"/>
                    <a:gd name="connsiteX103" fmla="*/ 522317 w 539429"/>
                    <a:gd name="connsiteY103" fmla="*/ 229500 h 317345"/>
                    <a:gd name="connsiteX104" fmla="*/ 522317 w 539429"/>
                    <a:gd name="connsiteY104" fmla="*/ 247183 h 317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539429" h="317345">
                      <a:moveTo>
                        <a:pt x="530113" y="214669"/>
                      </a:moveTo>
                      <a:lnTo>
                        <a:pt x="530113" y="150782"/>
                      </a:lnTo>
                      <a:cubicBezTo>
                        <a:pt x="530113" y="142986"/>
                        <a:pt x="528021" y="135380"/>
                        <a:pt x="524218" y="128725"/>
                      </a:cubicBezTo>
                      <a:lnTo>
                        <a:pt x="477254" y="48296"/>
                      </a:lnTo>
                      <a:cubicBezTo>
                        <a:pt x="469458" y="34986"/>
                        <a:pt x="455007" y="26620"/>
                        <a:pt x="439606" y="26620"/>
                      </a:cubicBezTo>
                      <a:lnTo>
                        <a:pt x="380282" y="26620"/>
                      </a:lnTo>
                      <a:cubicBezTo>
                        <a:pt x="370775" y="26620"/>
                        <a:pt x="363169" y="34225"/>
                        <a:pt x="363169" y="43732"/>
                      </a:cubicBezTo>
                      <a:lnTo>
                        <a:pt x="363169" y="194704"/>
                      </a:lnTo>
                      <a:lnTo>
                        <a:pt x="344345" y="194704"/>
                      </a:lnTo>
                      <a:lnTo>
                        <a:pt x="344345" y="26049"/>
                      </a:lnTo>
                      <a:cubicBezTo>
                        <a:pt x="344345" y="11789"/>
                        <a:pt x="332746" y="0"/>
                        <a:pt x="318296" y="0"/>
                      </a:cubicBezTo>
                      <a:lnTo>
                        <a:pt x="26049" y="0"/>
                      </a:lnTo>
                      <a:cubicBezTo>
                        <a:pt x="11789" y="0"/>
                        <a:pt x="0" y="11599"/>
                        <a:pt x="0" y="26049"/>
                      </a:cubicBezTo>
                      <a:lnTo>
                        <a:pt x="0" y="238246"/>
                      </a:lnTo>
                      <a:cubicBezTo>
                        <a:pt x="0" y="252507"/>
                        <a:pt x="11599" y="264296"/>
                        <a:pt x="26049" y="264296"/>
                      </a:cubicBezTo>
                      <a:lnTo>
                        <a:pt x="89176" y="264296"/>
                      </a:lnTo>
                      <a:cubicBezTo>
                        <a:pt x="93169" y="294148"/>
                        <a:pt x="118838" y="317345"/>
                        <a:pt x="150021" y="317345"/>
                      </a:cubicBezTo>
                      <a:cubicBezTo>
                        <a:pt x="181014" y="317345"/>
                        <a:pt x="206683" y="294148"/>
                        <a:pt x="210866" y="264296"/>
                      </a:cubicBezTo>
                      <a:lnTo>
                        <a:pt x="364120" y="264296"/>
                      </a:lnTo>
                      <a:cubicBezTo>
                        <a:pt x="368113" y="294148"/>
                        <a:pt x="393972" y="317345"/>
                        <a:pt x="424965" y="317345"/>
                      </a:cubicBezTo>
                      <a:cubicBezTo>
                        <a:pt x="455958" y="317345"/>
                        <a:pt x="481627" y="294148"/>
                        <a:pt x="485810" y="264296"/>
                      </a:cubicBezTo>
                      <a:lnTo>
                        <a:pt x="522317" y="264296"/>
                      </a:lnTo>
                      <a:cubicBezTo>
                        <a:pt x="531824" y="264296"/>
                        <a:pt x="539430" y="256690"/>
                        <a:pt x="539430" y="247183"/>
                      </a:cubicBezTo>
                      <a:lnTo>
                        <a:pt x="539430" y="229500"/>
                      </a:lnTo>
                      <a:cubicBezTo>
                        <a:pt x="539049" y="223225"/>
                        <a:pt x="535437" y="217521"/>
                        <a:pt x="530113" y="214669"/>
                      </a:cubicBezTo>
                      <a:close/>
                      <a:moveTo>
                        <a:pt x="16542" y="175880"/>
                      </a:moveTo>
                      <a:lnTo>
                        <a:pt x="35366" y="175880"/>
                      </a:lnTo>
                      <a:lnTo>
                        <a:pt x="35366" y="202880"/>
                      </a:lnTo>
                      <a:cubicBezTo>
                        <a:pt x="35366" y="208014"/>
                        <a:pt x="31183" y="212197"/>
                        <a:pt x="26049" y="212197"/>
                      </a:cubicBezTo>
                      <a:lnTo>
                        <a:pt x="16542" y="212197"/>
                      </a:lnTo>
                      <a:lnTo>
                        <a:pt x="16542" y="175880"/>
                      </a:lnTo>
                      <a:close/>
                      <a:moveTo>
                        <a:pt x="149831" y="300803"/>
                      </a:moveTo>
                      <a:cubicBezTo>
                        <a:pt x="125113" y="300803"/>
                        <a:pt x="105148" y="280648"/>
                        <a:pt x="105148" y="256120"/>
                      </a:cubicBezTo>
                      <a:lnTo>
                        <a:pt x="105148" y="256120"/>
                      </a:lnTo>
                      <a:lnTo>
                        <a:pt x="105148" y="256120"/>
                      </a:lnTo>
                      <a:cubicBezTo>
                        <a:pt x="105148" y="231401"/>
                        <a:pt x="125303" y="211437"/>
                        <a:pt x="149831" y="211437"/>
                      </a:cubicBezTo>
                      <a:cubicBezTo>
                        <a:pt x="174549" y="211437"/>
                        <a:pt x="194704" y="231592"/>
                        <a:pt x="194704" y="256120"/>
                      </a:cubicBezTo>
                      <a:cubicBezTo>
                        <a:pt x="194514" y="280838"/>
                        <a:pt x="174549" y="300803"/>
                        <a:pt x="149831" y="300803"/>
                      </a:cubicBezTo>
                      <a:close/>
                      <a:moveTo>
                        <a:pt x="327803" y="247754"/>
                      </a:moveTo>
                      <a:lnTo>
                        <a:pt x="210486" y="247754"/>
                      </a:lnTo>
                      <a:cubicBezTo>
                        <a:pt x="206493" y="217901"/>
                        <a:pt x="180634" y="194704"/>
                        <a:pt x="149641" y="194704"/>
                      </a:cubicBezTo>
                      <a:cubicBezTo>
                        <a:pt x="118648" y="194704"/>
                        <a:pt x="92979" y="217901"/>
                        <a:pt x="88796" y="247754"/>
                      </a:cubicBezTo>
                      <a:lnTo>
                        <a:pt x="26049" y="247754"/>
                      </a:lnTo>
                      <a:cubicBezTo>
                        <a:pt x="20915" y="247754"/>
                        <a:pt x="16732" y="243570"/>
                        <a:pt x="16732" y="238437"/>
                      </a:cubicBezTo>
                      <a:lnTo>
                        <a:pt x="16732" y="229120"/>
                      </a:lnTo>
                      <a:lnTo>
                        <a:pt x="26049" y="229120"/>
                      </a:lnTo>
                      <a:cubicBezTo>
                        <a:pt x="40310" y="229120"/>
                        <a:pt x="52099" y="217521"/>
                        <a:pt x="52099" y="203070"/>
                      </a:cubicBezTo>
                      <a:lnTo>
                        <a:pt x="52099" y="167704"/>
                      </a:lnTo>
                      <a:cubicBezTo>
                        <a:pt x="52099" y="163141"/>
                        <a:pt x="48296" y="159338"/>
                        <a:pt x="43732" y="159338"/>
                      </a:cubicBezTo>
                      <a:lnTo>
                        <a:pt x="16542" y="159338"/>
                      </a:lnTo>
                      <a:lnTo>
                        <a:pt x="16542" y="26049"/>
                      </a:lnTo>
                      <a:cubicBezTo>
                        <a:pt x="16542" y="20915"/>
                        <a:pt x="20725" y="16732"/>
                        <a:pt x="25859" y="16732"/>
                      </a:cubicBezTo>
                      <a:lnTo>
                        <a:pt x="318296" y="16732"/>
                      </a:lnTo>
                      <a:cubicBezTo>
                        <a:pt x="323430" y="16732"/>
                        <a:pt x="327613" y="20915"/>
                        <a:pt x="327613" y="26049"/>
                      </a:cubicBezTo>
                      <a:lnTo>
                        <a:pt x="327613" y="247754"/>
                      </a:lnTo>
                      <a:close/>
                      <a:moveTo>
                        <a:pt x="363169" y="247754"/>
                      </a:moveTo>
                      <a:lnTo>
                        <a:pt x="344345" y="247754"/>
                      </a:lnTo>
                      <a:lnTo>
                        <a:pt x="344345" y="211246"/>
                      </a:lnTo>
                      <a:lnTo>
                        <a:pt x="363169" y="211246"/>
                      </a:lnTo>
                      <a:lnTo>
                        <a:pt x="363169" y="247754"/>
                      </a:lnTo>
                      <a:close/>
                      <a:moveTo>
                        <a:pt x="379711" y="43923"/>
                      </a:moveTo>
                      <a:cubicBezTo>
                        <a:pt x="379711" y="43542"/>
                        <a:pt x="379901" y="43352"/>
                        <a:pt x="380282" y="43352"/>
                      </a:cubicBezTo>
                      <a:lnTo>
                        <a:pt x="439606" y="43352"/>
                      </a:lnTo>
                      <a:cubicBezTo>
                        <a:pt x="449303" y="43352"/>
                        <a:pt x="458239" y="48486"/>
                        <a:pt x="462993" y="56852"/>
                      </a:cubicBezTo>
                      <a:lnTo>
                        <a:pt x="466035" y="62176"/>
                      </a:lnTo>
                      <a:lnTo>
                        <a:pt x="379711" y="62176"/>
                      </a:lnTo>
                      <a:lnTo>
                        <a:pt x="379711" y="43923"/>
                      </a:lnTo>
                      <a:close/>
                      <a:moveTo>
                        <a:pt x="379711" y="78718"/>
                      </a:moveTo>
                      <a:lnTo>
                        <a:pt x="475732" y="78718"/>
                      </a:lnTo>
                      <a:lnTo>
                        <a:pt x="509768" y="137092"/>
                      </a:lnTo>
                      <a:cubicBezTo>
                        <a:pt x="512239" y="141275"/>
                        <a:pt x="513380" y="146028"/>
                        <a:pt x="513380" y="150782"/>
                      </a:cubicBezTo>
                      <a:lnTo>
                        <a:pt x="513380" y="159528"/>
                      </a:lnTo>
                      <a:lnTo>
                        <a:pt x="497218" y="159528"/>
                      </a:lnTo>
                      <a:cubicBezTo>
                        <a:pt x="492275" y="159528"/>
                        <a:pt x="487711" y="157627"/>
                        <a:pt x="484289" y="154204"/>
                      </a:cubicBezTo>
                      <a:lnTo>
                        <a:pt x="473261" y="143176"/>
                      </a:lnTo>
                      <a:cubicBezTo>
                        <a:pt x="466606" y="136521"/>
                        <a:pt x="457859" y="132908"/>
                        <a:pt x="448732" y="132908"/>
                      </a:cubicBezTo>
                      <a:lnTo>
                        <a:pt x="379521" y="132908"/>
                      </a:lnTo>
                      <a:lnTo>
                        <a:pt x="379521" y="78718"/>
                      </a:lnTo>
                      <a:close/>
                      <a:moveTo>
                        <a:pt x="424585" y="300803"/>
                      </a:moveTo>
                      <a:cubicBezTo>
                        <a:pt x="399866" y="300803"/>
                        <a:pt x="379901" y="280648"/>
                        <a:pt x="379901" y="255930"/>
                      </a:cubicBezTo>
                      <a:cubicBezTo>
                        <a:pt x="379901" y="231211"/>
                        <a:pt x="400056" y="211246"/>
                        <a:pt x="424585" y="211246"/>
                      </a:cubicBezTo>
                      <a:cubicBezTo>
                        <a:pt x="449303" y="211246"/>
                        <a:pt x="469268" y="231401"/>
                        <a:pt x="469268" y="255930"/>
                      </a:cubicBezTo>
                      <a:cubicBezTo>
                        <a:pt x="469268" y="280838"/>
                        <a:pt x="449303" y="300803"/>
                        <a:pt x="424585" y="300803"/>
                      </a:cubicBezTo>
                      <a:close/>
                      <a:moveTo>
                        <a:pt x="486951" y="229500"/>
                      </a:moveTo>
                      <a:lnTo>
                        <a:pt x="486951" y="247754"/>
                      </a:lnTo>
                      <a:lnTo>
                        <a:pt x="485239" y="247754"/>
                      </a:lnTo>
                      <a:cubicBezTo>
                        <a:pt x="481247" y="217901"/>
                        <a:pt x="455387" y="194704"/>
                        <a:pt x="424394" y="194704"/>
                      </a:cubicBezTo>
                      <a:cubicBezTo>
                        <a:pt x="406711" y="194704"/>
                        <a:pt x="390739" y="202120"/>
                        <a:pt x="379711" y="214099"/>
                      </a:cubicBezTo>
                      <a:lnTo>
                        <a:pt x="379711" y="149261"/>
                      </a:lnTo>
                      <a:lnTo>
                        <a:pt x="448923" y="149261"/>
                      </a:lnTo>
                      <a:cubicBezTo>
                        <a:pt x="453866" y="149261"/>
                        <a:pt x="458430" y="151162"/>
                        <a:pt x="461852" y="154585"/>
                      </a:cubicBezTo>
                      <a:lnTo>
                        <a:pt x="472880" y="165613"/>
                      </a:lnTo>
                      <a:cubicBezTo>
                        <a:pt x="479535" y="172268"/>
                        <a:pt x="488282" y="175880"/>
                        <a:pt x="497408" y="175880"/>
                      </a:cubicBezTo>
                      <a:lnTo>
                        <a:pt x="513570" y="175880"/>
                      </a:lnTo>
                      <a:lnTo>
                        <a:pt x="513570" y="212387"/>
                      </a:lnTo>
                      <a:lnTo>
                        <a:pt x="504254" y="212387"/>
                      </a:lnTo>
                      <a:cubicBezTo>
                        <a:pt x="494747" y="212387"/>
                        <a:pt x="486951" y="220183"/>
                        <a:pt x="486951" y="229500"/>
                      </a:cubicBezTo>
                      <a:close/>
                      <a:moveTo>
                        <a:pt x="522317" y="247183"/>
                      </a:moveTo>
                      <a:cubicBezTo>
                        <a:pt x="522317" y="247563"/>
                        <a:pt x="522127" y="247754"/>
                        <a:pt x="521746" y="247754"/>
                      </a:cubicBezTo>
                      <a:lnTo>
                        <a:pt x="503493" y="247754"/>
                      </a:lnTo>
                      <a:lnTo>
                        <a:pt x="503493" y="229500"/>
                      </a:lnTo>
                      <a:cubicBezTo>
                        <a:pt x="503493" y="229120"/>
                        <a:pt x="503683" y="228930"/>
                        <a:pt x="504063" y="228930"/>
                      </a:cubicBezTo>
                      <a:lnTo>
                        <a:pt x="521746" y="228930"/>
                      </a:lnTo>
                      <a:cubicBezTo>
                        <a:pt x="522127" y="228930"/>
                        <a:pt x="522317" y="229120"/>
                        <a:pt x="522317" y="229500"/>
                      </a:cubicBezTo>
                      <a:lnTo>
                        <a:pt x="522317" y="247183"/>
                      </a:lnTo>
                      <a:close/>
                    </a:path>
                  </a:pathLst>
                </a:custGeom>
                <a:grpFill/>
                <a:ln w="1878" cap="flat">
                  <a:noFill/>
                  <a:prstDash val="solid"/>
                  <a:miter/>
                </a:ln>
              </p:spPr>
              <p:txBody>
                <a:bodyPr rtlCol="0" anchor="ctr"/>
                <a:lstStyle/>
                <a:p>
                  <a:endParaRPr lang="en-GB" noProof="0" dirty="0"/>
                </a:p>
              </p:txBody>
            </p:sp>
          </p:grpSp>
        </p:grpSp>
      </p:grpSp>
      <p:grpSp>
        <p:nvGrpSpPr>
          <p:cNvPr id="28" name="Gruppieren 27">
            <a:extLst>
              <a:ext uri="{FF2B5EF4-FFF2-40B4-BE49-F238E27FC236}">
                <a16:creationId xmlns:a16="http://schemas.microsoft.com/office/drawing/2014/main" id="{DFA2DEAB-5188-5404-CDCC-DF74368CEB7D}"/>
              </a:ext>
            </a:extLst>
          </p:cNvPr>
          <p:cNvGrpSpPr/>
          <p:nvPr/>
        </p:nvGrpSpPr>
        <p:grpSpPr>
          <a:xfrm>
            <a:off x="5975737" y="1974442"/>
            <a:ext cx="525837" cy="273398"/>
            <a:chOff x="5975737" y="2528742"/>
            <a:chExt cx="525837" cy="273398"/>
          </a:xfrm>
        </p:grpSpPr>
        <p:grpSp>
          <p:nvGrpSpPr>
            <p:cNvPr id="27" name="Gruppieren 26">
              <a:extLst>
                <a:ext uri="{FF2B5EF4-FFF2-40B4-BE49-F238E27FC236}">
                  <a16:creationId xmlns:a16="http://schemas.microsoft.com/office/drawing/2014/main" id="{CF568A24-8077-CFD7-0495-57694B3AB542}"/>
                </a:ext>
              </a:extLst>
            </p:cNvPr>
            <p:cNvGrpSpPr/>
            <p:nvPr/>
          </p:nvGrpSpPr>
          <p:grpSpPr>
            <a:xfrm>
              <a:off x="5975737" y="2528742"/>
              <a:ext cx="525837" cy="273398"/>
              <a:chOff x="5975737" y="2528742"/>
              <a:chExt cx="525837" cy="273398"/>
            </a:xfrm>
          </p:grpSpPr>
          <p:grpSp>
            <p:nvGrpSpPr>
              <p:cNvPr id="212" name="Grafik 164">
                <a:extLst>
                  <a:ext uri="{FF2B5EF4-FFF2-40B4-BE49-F238E27FC236}">
                    <a16:creationId xmlns:a16="http://schemas.microsoft.com/office/drawing/2014/main" id="{9EA1002F-26C8-3AEF-DA6F-651FF4E83332}"/>
                  </a:ext>
                </a:extLst>
              </p:cNvPr>
              <p:cNvGrpSpPr/>
              <p:nvPr/>
            </p:nvGrpSpPr>
            <p:grpSpPr>
              <a:xfrm rot="10800000">
                <a:off x="6298922" y="2638908"/>
                <a:ext cx="202652" cy="163232"/>
                <a:chOff x="4059000" y="3629342"/>
                <a:chExt cx="276692" cy="163488"/>
              </a:xfrm>
              <a:solidFill>
                <a:schemeClr val="bg1"/>
              </a:solidFill>
            </p:grpSpPr>
            <p:grpSp>
              <p:nvGrpSpPr>
                <p:cNvPr id="213" name="Grafik 164">
                  <a:extLst>
                    <a:ext uri="{FF2B5EF4-FFF2-40B4-BE49-F238E27FC236}">
                      <a16:creationId xmlns:a16="http://schemas.microsoft.com/office/drawing/2014/main" id="{BC2D9CFE-A86B-19EB-09C9-A8F6C50AF92A}"/>
                    </a:ext>
                  </a:extLst>
                </p:cNvPr>
                <p:cNvGrpSpPr/>
                <p:nvPr/>
              </p:nvGrpSpPr>
              <p:grpSpPr>
                <a:xfrm>
                  <a:off x="4059000" y="3629342"/>
                  <a:ext cx="276692" cy="163488"/>
                  <a:chOff x="4059000" y="3629342"/>
                  <a:chExt cx="276692" cy="163488"/>
                </a:xfrm>
                <a:grpFill/>
              </p:grpSpPr>
              <p:grpSp>
                <p:nvGrpSpPr>
                  <p:cNvPr id="214" name="Grafik 164">
                    <a:extLst>
                      <a:ext uri="{FF2B5EF4-FFF2-40B4-BE49-F238E27FC236}">
                        <a16:creationId xmlns:a16="http://schemas.microsoft.com/office/drawing/2014/main" id="{9F6B79EC-ECC9-07A3-3F7D-B623BDC9D7D5}"/>
                      </a:ext>
                    </a:extLst>
                  </p:cNvPr>
                  <p:cNvGrpSpPr/>
                  <p:nvPr/>
                </p:nvGrpSpPr>
                <p:grpSpPr>
                  <a:xfrm>
                    <a:off x="4059000" y="3629342"/>
                    <a:ext cx="276692" cy="163488"/>
                    <a:chOff x="4059000" y="3629342"/>
                    <a:chExt cx="276692" cy="163488"/>
                  </a:xfrm>
                  <a:grpFill/>
                </p:grpSpPr>
                <p:sp>
                  <p:nvSpPr>
                    <p:cNvPr id="215" name="Freihandform: Form 214">
                      <a:extLst>
                        <a:ext uri="{FF2B5EF4-FFF2-40B4-BE49-F238E27FC236}">
                          <a16:creationId xmlns:a16="http://schemas.microsoft.com/office/drawing/2014/main" id="{CAB16D4B-6BD1-E21B-9610-1C7442743C68}"/>
                        </a:ext>
                      </a:extLst>
                    </p:cNvPr>
                    <p:cNvSpPr/>
                    <p:nvPr/>
                  </p:nvSpPr>
                  <p:spPr>
                    <a:xfrm rot="-2699514">
                      <a:off x="4059000" y="362934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16" name="Freihandform: Form 215">
                      <a:extLst>
                        <a:ext uri="{FF2B5EF4-FFF2-40B4-BE49-F238E27FC236}">
                          <a16:creationId xmlns:a16="http://schemas.microsoft.com/office/drawing/2014/main" id="{8A47136E-E43D-1215-A111-6F88D1873752}"/>
                        </a:ext>
                      </a:extLst>
                    </p:cNvPr>
                    <p:cNvSpPr/>
                    <p:nvPr/>
                  </p:nvSpPr>
                  <p:spPr>
                    <a:xfrm rot="-2700000">
                      <a:off x="4176983" y="3750810"/>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17" name="Freihandform: Form 216">
                      <a:extLst>
                        <a:ext uri="{FF2B5EF4-FFF2-40B4-BE49-F238E27FC236}">
                          <a16:creationId xmlns:a16="http://schemas.microsoft.com/office/drawing/2014/main" id="{5050E978-456A-AE0A-1C4F-41546C450A7C}"/>
                        </a:ext>
                      </a:extLst>
                    </p:cNvPr>
                    <p:cNvSpPr/>
                    <p:nvPr/>
                  </p:nvSpPr>
                  <p:spPr>
                    <a:xfrm rot="-2700486">
                      <a:off x="4138571" y="3707435"/>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18" name="Freihandform: Form 217">
                      <a:extLst>
                        <a:ext uri="{FF2B5EF4-FFF2-40B4-BE49-F238E27FC236}">
                          <a16:creationId xmlns:a16="http://schemas.microsoft.com/office/drawing/2014/main" id="{0CCC9482-6868-2DB4-4CE1-E7614FEB1416}"/>
                        </a:ext>
                      </a:extLst>
                    </p:cNvPr>
                    <p:cNvSpPr/>
                    <p:nvPr/>
                  </p:nvSpPr>
                  <p:spPr>
                    <a:xfrm>
                      <a:off x="4099764" y="3666795"/>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19" name="Freihandform: Form 218">
                      <a:extLst>
                        <a:ext uri="{FF2B5EF4-FFF2-40B4-BE49-F238E27FC236}">
                          <a16:creationId xmlns:a16="http://schemas.microsoft.com/office/drawing/2014/main" id="{3D231CD3-A0DA-D05E-FB33-42FF224C7D28}"/>
                        </a:ext>
                      </a:extLst>
                    </p:cNvPr>
                    <p:cNvSpPr/>
                    <p:nvPr/>
                  </p:nvSpPr>
                  <p:spPr>
                    <a:xfrm rot="-2700486">
                      <a:off x="4293672" y="3632801"/>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20" name="Freihandform: Form 219">
                      <a:extLst>
                        <a:ext uri="{FF2B5EF4-FFF2-40B4-BE49-F238E27FC236}">
                          <a16:creationId xmlns:a16="http://schemas.microsoft.com/office/drawing/2014/main" id="{1CF7D400-E9DA-D658-76B1-150F24E44631}"/>
                        </a:ext>
                      </a:extLst>
                    </p:cNvPr>
                    <p:cNvSpPr/>
                    <p:nvPr/>
                  </p:nvSpPr>
                  <p:spPr>
                    <a:xfrm rot="-2699514">
                      <a:off x="4218148" y="362934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21" name="Freihandform: Form 220">
                      <a:extLst>
                        <a:ext uri="{FF2B5EF4-FFF2-40B4-BE49-F238E27FC236}">
                          <a16:creationId xmlns:a16="http://schemas.microsoft.com/office/drawing/2014/main" id="{E8424483-0923-52CA-BF10-472385919FB3}"/>
                        </a:ext>
                      </a:extLst>
                    </p:cNvPr>
                    <p:cNvSpPr/>
                    <p:nvPr/>
                  </p:nvSpPr>
                  <p:spPr>
                    <a:xfrm rot="-2700486">
                      <a:off x="4253529" y="367459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22" name="Freihandform: Form 221">
                      <a:extLst>
                        <a:ext uri="{FF2B5EF4-FFF2-40B4-BE49-F238E27FC236}">
                          <a16:creationId xmlns:a16="http://schemas.microsoft.com/office/drawing/2014/main" id="{47F4B631-993F-B99B-8AF7-8D8E592CFC80}"/>
                        </a:ext>
                      </a:extLst>
                    </p:cNvPr>
                    <p:cNvSpPr/>
                    <p:nvPr/>
                  </p:nvSpPr>
                  <p:spPr>
                    <a:xfrm>
                      <a:off x="4172588" y="3661851"/>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23" name="Freihandform: Form 222">
                      <a:extLst>
                        <a:ext uri="{FF2B5EF4-FFF2-40B4-BE49-F238E27FC236}">
                          <a16:creationId xmlns:a16="http://schemas.microsoft.com/office/drawing/2014/main" id="{F8A309AD-E950-8834-95E1-3FC65D9324B1}"/>
                        </a:ext>
                      </a:extLst>
                    </p:cNvPr>
                    <p:cNvSpPr/>
                    <p:nvPr/>
                  </p:nvSpPr>
                  <p:spPr>
                    <a:xfrm>
                      <a:off x="4211567" y="3711668"/>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grpSp>
            </p:grpSp>
          </p:grpSp>
          <p:grpSp>
            <p:nvGrpSpPr>
              <p:cNvPr id="19" name="Gruppieren 18">
                <a:extLst>
                  <a:ext uri="{FF2B5EF4-FFF2-40B4-BE49-F238E27FC236}">
                    <a16:creationId xmlns:a16="http://schemas.microsoft.com/office/drawing/2014/main" id="{C6AC347C-5333-208B-977B-21E8F086035C}"/>
                  </a:ext>
                </a:extLst>
              </p:cNvPr>
              <p:cNvGrpSpPr/>
              <p:nvPr/>
            </p:nvGrpSpPr>
            <p:grpSpPr>
              <a:xfrm>
                <a:off x="5975737" y="2528742"/>
                <a:ext cx="488172" cy="253674"/>
                <a:chOff x="5975737" y="2528742"/>
                <a:chExt cx="488172" cy="253674"/>
              </a:xfrm>
            </p:grpSpPr>
            <p:grpSp>
              <p:nvGrpSpPr>
                <p:cNvPr id="172" name="Grafik 164">
                  <a:extLst>
                    <a:ext uri="{FF2B5EF4-FFF2-40B4-BE49-F238E27FC236}">
                      <a16:creationId xmlns:a16="http://schemas.microsoft.com/office/drawing/2014/main" id="{17C218AD-F479-DD43-9C36-FAD862A26FC1}"/>
                    </a:ext>
                  </a:extLst>
                </p:cNvPr>
                <p:cNvGrpSpPr/>
                <p:nvPr/>
              </p:nvGrpSpPr>
              <p:grpSpPr>
                <a:xfrm rot="10800000">
                  <a:off x="5975737" y="2619184"/>
                  <a:ext cx="202652" cy="163232"/>
                  <a:chOff x="4059000" y="3629342"/>
                  <a:chExt cx="276692" cy="163488"/>
                </a:xfrm>
                <a:solidFill>
                  <a:schemeClr val="accent3">
                    <a:lumMod val="75000"/>
                  </a:schemeClr>
                </a:solidFill>
              </p:grpSpPr>
              <p:grpSp>
                <p:nvGrpSpPr>
                  <p:cNvPr id="173" name="Grafik 164">
                    <a:extLst>
                      <a:ext uri="{FF2B5EF4-FFF2-40B4-BE49-F238E27FC236}">
                        <a16:creationId xmlns:a16="http://schemas.microsoft.com/office/drawing/2014/main" id="{31B99E1A-E455-D4E1-A7B3-64AA18EDA1D4}"/>
                      </a:ext>
                    </a:extLst>
                  </p:cNvPr>
                  <p:cNvGrpSpPr/>
                  <p:nvPr/>
                </p:nvGrpSpPr>
                <p:grpSpPr>
                  <a:xfrm>
                    <a:off x="4059000" y="3629342"/>
                    <a:ext cx="276692" cy="163488"/>
                    <a:chOff x="4059000" y="3629342"/>
                    <a:chExt cx="276692" cy="163488"/>
                  </a:xfrm>
                  <a:grpFill/>
                </p:grpSpPr>
                <p:grpSp>
                  <p:nvGrpSpPr>
                    <p:cNvPr id="174" name="Grafik 164">
                      <a:extLst>
                        <a:ext uri="{FF2B5EF4-FFF2-40B4-BE49-F238E27FC236}">
                          <a16:creationId xmlns:a16="http://schemas.microsoft.com/office/drawing/2014/main" id="{1A2C9A22-D3A0-1C47-DAE1-62AD321F73D1}"/>
                        </a:ext>
                      </a:extLst>
                    </p:cNvPr>
                    <p:cNvGrpSpPr/>
                    <p:nvPr/>
                  </p:nvGrpSpPr>
                  <p:grpSpPr>
                    <a:xfrm>
                      <a:off x="4059000" y="3629342"/>
                      <a:ext cx="276692" cy="163488"/>
                      <a:chOff x="4059000" y="3629342"/>
                      <a:chExt cx="276692" cy="163488"/>
                    </a:xfrm>
                    <a:grpFill/>
                  </p:grpSpPr>
                  <p:sp>
                    <p:nvSpPr>
                      <p:cNvPr id="175" name="Freihandform: Form 174">
                        <a:extLst>
                          <a:ext uri="{FF2B5EF4-FFF2-40B4-BE49-F238E27FC236}">
                            <a16:creationId xmlns:a16="http://schemas.microsoft.com/office/drawing/2014/main" id="{3266208F-3A0D-BE4B-F9ED-AFDB4CAD497B}"/>
                          </a:ext>
                        </a:extLst>
                      </p:cNvPr>
                      <p:cNvSpPr/>
                      <p:nvPr/>
                    </p:nvSpPr>
                    <p:spPr>
                      <a:xfrm rot="-2699514">
                        <a:off x="4059000" y="362934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176" name="Freihandform: Form 175">
                        <a:extLst>
                          <a:ext uri="{FF2B5EF4-FFF2-40B4-BE49-F238E27FC236}">
                            <a16:creationId xmlns:a16="http://schemas.microsoft.com/office/drawing/2014/main" id="{80FF3225-66B7-89EB-229E-DDB4FC632DEE}"/>
                          </a:ext>
                        </a:extLst>
                      </p:cNvPr>
                      <p:cNvSpPr/>
                      <p:nvPr/>
                    </p:nvSpPr>
                    <p:spPr>
                      <a:xfrm rot="-2700000">
                        <a:off x="4176983" y="3750810"/>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177" name="Freihandform: Form 176">
                        <a:extLst>
                          <a:ext uri="{FF2B5EF4-FFF2-40B4-BE49-F238E27FC236}">
                            <a16:creationId xmlns:a16="http://schemas.microsoft.com/office/drawing/2014/main" id="{56CE23BB-49F9-271A-21DD-C8C045EB3419}"/>
                          </a:ext>
                        </a:extLst>
                      </p:cNvPr>
                      <p:cNvSpPr/>
                      <p:nvPr/>
                    </p:nvSpPr>
                    <p:spPr>
                      <a:xfrm rot="-2700486">
                        <a:off x="4138571" y="3707435"/>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178" name="Freihandform: Form 177">
                        <a:extLst>
                          <a:ext uri="{FF2B5EF4-FFF2-40B4-BE49-F238E27FC236}">
                            <a16:creationId xmlns:a16="http://schemas.microsoft.com/office/drawing/2014/main" id="{F915829D-C6C9-A481-35C9-F16293B70700}"/>
                          </a:ext>
                        </a:extLst>
                      </p:cNvPr>
                      <p:cNvSpPr/>
                      <p:nvPr/>
                    </p:nvSpPr>
                    <p:spPr>
                      <a:xfrm>
                        <a:off x="4099764" y="3666795"/>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179" name="Freihandform: Form 178">
                        <a:extLst>
                          <a:ext uri="{FF2B5EF4-FFF2-40B4-BE49-F238E27FC236}">
                            <a16:creationId xmlns:a16="http://schemas.microsoft.com/office/drawing/2014/main" id="{3161AFEE-2F26-C7F5-38CF-6137EE9FEB1B}"/>
                          </a:ext>
                        </a:extLst>
                      </p:cNvPr>
                      <p:cNvSpPr/>
                      <p:nvPr/>
                    </p:nvSpPr>
                    <p:spPr>
                      <a:xfrm rot="-2700486">
                        <a:off x="4293672" y="3632801"/>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180" name="Freihandform: Form 179">
                        <a:extLst>
                          <a:ext uri="{FF2B5EF4-FFF2-40B4-BE49-F238E27FC236}">
                            <a16:creationId xmlns:a16="http://schemas.microsoft.com/office/drawing/2014/main" id="{92AC6C00-1C3D-CB3C-1E92-A69BA1F4CE9F}"/>
                          </a:ext>
                        </a:extLst>
                      </p:cNvPr>
                      <p:cNvSpPr/>
                      <p:nvPr/>
                    </p:nvSpPr>
                    <p:spPr>
                      <a:xfrm rot="-2699514">
                        <a:off x="4218148" y="362934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181" name="Freihandform: Form 180">
                        <a:extLst>
                          <a:ext uri="{FF2B5EF4-FFF2-40B4-BE49-F238E27FC236}">
                            <a16:creationId xmlns:a16="http://schemas.microsoft.com/office/drawing/2014/main" id="{BB153B6A-229E-4757-22A1-4AFA42AB73C1}"/>
                          </a:ext>
                        </a:extLst>
                      </p:cNvPr>
                      <p:cNvSpPr/>
                      <p:nvPr/>
                    </p:nvSpPr>
                    <p:spPr>
                      <a:xfrm rot="-2700486">
                        <a:off x="4253529" y="367459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182" name="Freihandform: Form 181">
                        <a:extLst>
                          <a:ext uri="{FF2B5EF4-FFF2-40B4-BE49-F238E27FC236}">
                            <a16:creationId xmlns:a16="http://schemas.microsoft.com/office/drawing/2014/main" id="{842C183E-B4A4-AA51-ED52-D783B84044D2}"/>
                          </a:ext>
                        </a:extLst>
                      </p:cNvPr>
                      <p:cNvSpPr/>
                      <p:nvPr/>
                    </p:nvSpPr>
                    <p:spPr>
                      <a:xfrm>
                        <a:off x="4172588" y="3661851"/>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183" name="Freihandform: Form 182">
                        <a:extLst>
                          <a:ext uri="{FF2B5EF4-FFF2-40B4-BE49-F238E27FC236}">
                            <a16:creationId xmlns:a16="http://schemas.microsoft.com/office/drawing/2014/main" id="{2487260B-5599-D077-3085-34E337047DC9}"/>
                          </a:ext>
                        </a:extLst>
                      </p:cNvPr>
                      <p:cNvSpPr/>
                      <p:nvPr/>
                    </p:nvSpPr>
                    <p:spPr>
                      <a:xfrm>
                        <a:off x="4211567" y="3711668"/>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grpSp>
              </p:grpSp>
            </p:grpSp>
            <p:grpSp>
              <p:nvGrpSpPr>
                <p:cNvPr id="184" name="Grafik 164">
                  <a:extLst>
                    <a:ext uri="{FF2B5EF4-FFF2-40B4-BE49-F238E27FC236}">
                      <a16:creationId xmlns:a16="http://schemas.microsoft.com/office/drawing/2014/main" id="{960250FA-EF41-908E-16BF-58F4880136F2}"/>
                    </a:ext>
                  </a:extLst>
                </p:cNvPr>
                <p:cNvGrpSpPr/>
                <p:nvPr/>
              </p:nvGrpSpPr>
              <p:grpSpPr>
                <a:xfrm rot="10800000">
                  <a:off x="6050998" y="2528742"/>
                  <a:ext cx="202652" cy="163232"/>
                  <a:chOff x="4059000" y="3629342"/>
                  <a:chExt cx="276692" cy="163488"/>
                </a:xfrm>
                <a:solidFill>
                  <a:srgbClr val="5CB68A"/>
                </a:solidFill>
              </p:grpSpPr>
              <p:grpSp>
                <p:nvGrpSpPr>
                  <p:cNvPr id="185" name="Grafik 164">
                    <a:extLst>
                      <a:ext uri="{FF2B5EF4-FFF2-40B4-BE49-F238E27FC236}">
                        <a16:creationId xmlns:a16="http://schemas.microsoft.com/office/drawing/2014/main" id="{F09DCA9D-862D-2D9C-BED9-1B0E29A2D757}"/>
                      </a:ext>
                    </a:extLst>
                  </p:cNvPr>
                  <p:cNvGrpSpPr/>
                  <p:nvPr/>
                </p:nvGrpSpPr>
                <p:grpSpPr>
                  <a:xfrm>
                    <a:off x="4059000" y="3629342"/>
                    <a:ext cx="276692" cy="163488"/>
                    <a:chOff x="4059000" y="3629342"/>
                    <a:chExt cx="276692" cy="163488"/>
                  </a:xfrm>
                  <a:grpFill/>
                </p:grpSpPr>
                <p:grpSp>
                  <p:nvGrpSpPr>
                    <p:cNvPr id="186" name="Grafik 164">
                      <a:extLst>
                        <a:ext uri="{FF2B5EF4-FFF2-40B4-BE49-F238E27FC236}">
                          <a16:creationId xmlns:a16="http://schemas.microsoft.com/office/drawing/2014/main" id="{08BA2D7E-02B9-2316-6B2C-B1AF23CCE54A}"/>
                        </a:ext>
                      </a:extLst>
                    </p:cNvPr>
                    <p:cNvGrpSpPr/>
                    <p:nvPr/>
                  </p:nvGrpSpPr>
                  <p:grpSpPr>
                    <a:xfrm>
                      <a:off x="4059000" y="3629342"/>
                      <a:ext cx="276692" cy="163488"/>
                      <a:chOff x="4059000" y="3629342"/>
                      <a:chExt cx="276692" cy="163488"/>
                    </a:xfrm>
                    <a:grpFill/>
                  </p:grpSpPr>
                  <p:sp>
                    <p:nvSpPr>
                      <p:cNvPr id="187" name="Freihandform: Form 186">
                        <a:extLst>
                          <a:ext uri="{FF2B5EF4-FFF2-40B4-BE49-F238E27FC236}">
                            <a16:creationId xmlns:a16="http://schemas.microsoft.com/office/drawing/2014/main" id="{AA926A04-90D6-936F-EE0F-4AC3DB4B57C0}"/>
                          </a:ext>
                        </a:extLst>
                      </p:cNvPr>
                      <p:cNvSpPr/>
                      <p:nvPr/>
                    </p:nvSpPr>
                    <p:spPr>
                      <a:xfrm rot="-2699514">
                        <a:off x="4059000" y="362934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188" name="Freihandform: Form 187">
                        <a:extLst>
                          <a:ext uri="{FF2B5EF4-FFF2-40B4-BE49-F238E27FC236}">
                            <a16:creationId xmlns:a16="http://schemas.microsoft.com/office/drawing/2014/main" id="{F051481A-A2C7-9497-9A9A-191EDD78F616}"/>
                          </a:ext>
                        </a:extLst>
                      </p:cNvPr>
                      <p:cNvSpPr/>
                      <p:nvPr/>
                    </p:nvSpPr>
                    <p:spPr>
                      <a:xfrm rot="-2700000">
                        <a:off x="4176983" y="3750810"/>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189" name="Freihandform: Form 188">
                        <a:extLst>
                          <a:ext uri="{FF2B5EF4-FFF2-40B4-BE49-F238E27FC236}">
                            <a16:creationId xmlns:a16="http://schemas.microsoft.com/office/drawing/2014/main" id="{6B0CB62D-55B4-3431-88B5-9FA12A7E23CC}"/>
                          </a:ext>
                        </a:extLst>
                      </p:cNvPr>
                      <p:cNvSpPr/>
                      <p:nvPr/>
                    </p:nvSpPr>
                    <p:spPr>
                      <a:xfrm rot="-2700486">
                        <a:off x="4138571" y="3707435"/>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190" name="Freihandform: Form 189">
                        <a:extLst>
                          <a:ext uri="{FF2B5EF4-FFF2-40B4-BE49-F238E27FC236}">
                            <a16:creationId xmlns:a16="http://schemas.microsoft.com/office/drawing/2014/main" id="{9FA72357-5990-0A00-2396-A9ECADCBB951}"/>
                          </a:ext>
                        </a:extLst>
                      </p:cNvPr>
                      <p:cNvSpPr/>
                      <p:nvPr/>
                    </p:nvSpPr>
                    <p:spPr>
                      <a:xfrm>
                        <a:off x="4099764" y="3666795"/>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191" name="Freihandform: Form 190">
                        <a:extLst>
                          <a:ext uri="{FF2B5EF4-FFF2-40B4-BE49-F238E27FC236}">
                            <a16:creationId xmlns:a16="http://schemas.microsoft.com/office/drawing/2014/main" id="{238479FC-7C8F-CB5D-91BB-CDBF591A62A8}"/>
                          </a:ext>
                        </a:extLst>
                      </p:cNvPr>
                      <p:cNvSpPr/>
                      <p:nvPr/>
                    </p:nvSpPr>
                    <p:spPr>
                      <a:xfrm rot="-2700486">
                        <a:off x="4293672" y="3632801"/>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192" name="Freihandform: Form 191">
                        <a:extLst>
                          <a:ext uri="{FF2B5EF4-FFF2-40B4-BE49-F238E27FC236}">
                            <a16:creationId xmlns:a16="http://schemas.microsoft.com/office/drawing/2014/main" id="{022314B0-AC97-4340-4B4A-B1F33ACB2DA2}"/>
                          </a:ext>
                        </a:extLst>
                      </p:cNvPr>
                      <p:cNvSpPr/>
                      <p:nvPr/>
                    </p:nvSpPr>
                    <p:spPr>
                      <a:xfrm rot="-2699514">
                        <a:off x="4218148" y="362934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193" name="Freihandform: Form 192">
                        <a:extLst>
                          <a:ext uri="{FF2B5EF4-FFF2-40B4-BE49-F238E27FC236}">
                            <a16:creationId xmlns:a16="http://schemas.microsoft.com/office/drawing/2014/main" id="{A4A31F6C-73C3-95A9-F7D7-A49A6C9BE0DD}"/>
                          </a:ext>
                        </a:extLst>
                      </p:cNvPr>
                      <p:cNvSpPr/>
                      <p:nvPr/>
                    </p:nvSpPr>
                    <p:spPr>
                      <a:xfrm rot="-2700486">
                        <a:off x="4253529" y="367459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194" name="Freihandform: Form 193">
                        <a:extLst>
                          <a:ext uri="{FF2B5EF4-FFF2-40B4-BE49-F238E27FC236}">
                            <a16:creationId xmlns:a16="http://schemas.microsoft.com/office/drawing/2014/main" id="{D88A166C-DD29-A7A5-C0BB-192A4546C0C8}"/>
                          </a:ext>
                        </a:extLst>
                      </p:cNvPr>
                      <p:cNvSpPr/>
                      <p:nvPr/>
                    </p:nvSpPr>
                    <p:spPr>
                      <a:xfrm>
                        <a:off x="4172588" y="3661851"/>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11" name="Freihandform: Form 210">
                        <a:extLst>
                          <a:ext uri="{FF2B5EF4-FFF2-40B4-BE49-F238E27FC236}">
                            <a16:creationId xmlns:a16="http://schemas.microsoft.com/office/drawing/2014/main" id="{0EC228B9-DC3D-06E4-0FBC-EEF8B1FE25F7}"/>
                          </a:ext>
                        </a:extLst>
                      </p:cNvPr>
                      <p:cNvSpPr/>
                      <p:nvPr/>
                    </p:nvSpPr>
                    <p:spPr>
                      <a:xfrm>
                        <a:off x="4211567" y="3711668"/>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grpSp>
              </p:grpSp>
            </p:grpSp>
            <p:grpSp>
              <p:nvGrpSpPr>
                <p:cNvPr id="224" name="Grafik 164">
                  <a:extLst>
                    <a:ext uri="{FF2B5EF4-FFF2-40B4-BE49-F238E27FC236}">
                      <a16:creationId xmlns:a16="http://schemas.microsoft.com/office/drawing/2014/main" id="{A4AF9708-C12C-F48E-9D05-2B311EFD05EA}"/>
                    </a:ext>
                  </a:extLst>
                </p:cNvPr>
                <p:cNvGrpSpPr/>
                <p:nvPr/>
              </p:nvGrpSpPr>
              <p:grpSpPr>
                <a:xfrm rot="10800000">
                  <a:off x="6261257" y="2562735"/>
                  <a:ext cx="202652" cy="163232"/>
                  <a:chOff x="4059000" y="3629342"/>
                  <a:chExt cx="276692" cy="163488"/>
                </a:xfrm>
                <a:solidFill>
                  <a:schemeClr val="bg1"/>
                </a:solidFill>
              </p:grpSpPr>
              <p:grpSp>
                <p:nvGrpSpPr>
                  <p:cNvPr id="225" name="Grafik 164">
                    <a:extLst>
                      <a:ext uri="{FF2B5EF4-FFF2-40B4-BE49-F238E27FC236}">
                        <a16:creationId xmlns:a16="http://schemas.microsoft.com/office/drawing/2014/main" id="{8CF848B4-FCAB-B2FA-77DE-F763BD91C27C}"/>
                      </a:ext>
                    </a:extLst>
                  </p:cNvPr>
                  <p:cNvGrpSpPr/>
                  <p:nvPr/>
                </p:nvGrpSpPr>
                <p:grpSpPr>
                  <a:xfrm>
                    <a:off x="4059000" y="3629342"/>
                    <a:ext cx="276692" cy="163488"/>
                    <a:chOff x="4059000" y="3629342"/>
                    <a:chExt cx="276692" cy="163488"/>
                  </a:xfrm>
                  <a:grpFill/>
                </p:grpSpPr>
                <p:grpSp>
                  <p:nvGrpSpPr>
                    <p:cNvPr id="226" name="Grafik 164">
                      <a:extLst>
                        <a:ext uri="{FF2B5EF4-FFF2-40B4-BE49-F238E27FC236}">
                          <a16:creationId xmlns:a16="http://schemas.microsoft.com/office/drawing/2014/main" id="{4AD072E6-57A6-8986-1916-1D048AEDA19E}"/>
                        </a:ext>
                      </a:extLst>
                    </p:cNvPr>
                    <p:cNvGrpSpPr/>
                    <p:nvPr/>
                  </p:nvGrpSpPr>
                  <p:grpSpPr>
                    <a:xfrm>
                      <a:off x="4059000" y="3629342"/>
                      <a:ext cx="276692" cy="163488"/>
                      <a:chOff x="4059000" y="3629342"/>
                      <a:chExt cx="276692" cy="163488"/>
                    </a:xfrm>
                    <a:grpFill/>
                  </p:grpSpPr>
                  <p:sp>
                    <p:nvSpPr>
                      <p:cNvPr id="227" name="Freihandform: Form 226">
                        <a:extLst>
                          <a:ext uri="{FF2B5EF4-FFF2-40B4-BE49-F238E27FC236}">
                            <a16:creationId xmlns:a16="http://schemas.microsoft.com/office/drawing/2014/main" id="{357D2FC0-326E-341F-E285-0B2251E2F892}"/>
                          </a:ext>
                        </a:extLst>
                      </p:cNvPr>
                      <p:cNvSpPr/>
                      <p:nvPr/>
                    </p:nvSpPr>
                    <p:spPr>
                      <a:xfrm rot="-2699514">
                        <a:off x="4059000" y="362934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28" name="Freihandform: Form 227">
                        <a:extLst>
                          <a:ext uri="{FF2B5EF4-FFF2-40B4-BE49-F238E27FC236}">
                            <a16:creationId xmlns:a16="http://schemas.microsoft.com/office/drawing/2014/main" id="{4BE5F97A-2708-B3CC-553A-7BA6B6C35114}"/>
                          </a:ext>
                        </a:extLst>
                      </p:cNvPr>
                      <p:cNvSpPr/>
                      <p:nvPr/>
                    </p:nvSpPr>
                    <p:spPr>
                      <a:xfrm rot="-2700000">
                        <a:off x="4176983" y="3750810"/>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29" name="Freihandform: Form 228">
                        <a:extLst>
                          <a:ext uri="{FF2B5EF4-FFF2-40B4-BE49-F238E27FC236}">
                            <a16:creationId xmlns:a16="http://schemas.microsoft.com/office/drawing/2014/main" id="{4ECBD635-34FC-4C38-5B69-215F8CC54615}"/>
                          </a:ext>
                        </a:extLst>
                      </p:cNvPr>
                      <p:cNvSpPr/>
                      <p:nvPr/>
                    </p:nvSpPr>
                    <p:spPr>
                      <a:xfrm rot="-2700486">
                        <a:off x="4138571" y="3707435"/>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30" name="Freihandform: Form 229">
                        <a:extLst>
                          <a:ext uri="{FF2B5EF4-FFF2-40B4-BE49-F238E27FC236}">
                            <a16:creationId xmlns:a16="http://schemas.microsoft.com/office/drawing/2014/main" id="{A8E23D28-24CD-9128-547D-284B39F60291}"/>
                          </a:ext>
                        </a:extLst>
                      </p:cNvPr>
                      <p:cNvSpPr/>
                      <p:nvPr/>
                    </p:nvSpPr>
                    <p:spPr>
                      <a:xfrm>
                        <a:off x="4099764" y="3666795"/>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31" name="Freihandform: Form 230">
                        <a:extLst>
                          <a:ext uri="{FF2B5EF4-FFF2-40B4-BE49-F238E27FC236}">
                            <a16:creationId xmlns:a16="http://schemas.microsoft.com/office/drawing/2014/main" id="{02243D4D-2E51-8C62-85EE-2B3376DA977D}"/>
                          </a:ext>
                        </a:extLst>
                      </p:cNvPr>
                      <p:cNvSpPr/>
                      <p:nvPr/>
                    </p:nvSpPr>
                    <p:spPr>
                      <a:xfrm rot="-2700486">
                        <a:off x="4293672" y="3632801"/>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32" name="Freihandform: Form 231">
                        <a:extLst>
                          <a:ext uri="{FF2B5EF4-FFF2-40B4-BE49-F238E27FC236}">
                            <a16:creationId xmlns:a16="http://schemas.microsoft.com/office/drawing/2014/main" id="{436EC406-4E42-ADC0-64AE-D031362E670E}"/>
                          </a:ext>
                        </a:extLst>
                      </p:cNvPr>
                      <p:cNvSpPr/>
                      <p:nvPr/>
                    </p:nvSpPr>
                    <p:spPr>
                      <a:xfrm rot="-2699514">
                        <a:off x="4218148" y="362934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33" name="Freihandform: Form 232">
                        <a:extLst>
                          <a:ext uri="{FF2B5EF4-FFF2-40B4-BE49-F238E27FC236}">
                            <a16:creationId xmlns:a16="http://schemas.microsoft.com/office/drawing/2014/main" id="{639A1932-4402-8CBD-D29D-E2F0BFEF4A4B}"/>
                          </a:ext>
                        </a:extLst>
                      </p:cNvPr>
                      <p:cNvSpPr/>
                      <p:nvPr/>
                    </p:nvSpPr>
                    <p:spPr>
                      <a:xfrm rot="-2700486">
                        <a:off x="4253529" y="367459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34" name="Freihandform: Form 233">
                        <a:extLst>
                          <a:ext uri="{FF2B5EF4-FFF2-40B4-BE49-F238E27FC236}">
                            <a16:creationId xmlns:a16="http://schemas.microsoft.com/office/drawing/2014/main" id="{E1F095A6-82B5-3BA8-4C3F-E73DCF2A525A}"/>
                          </a:ext>
                        </a:extLst>
                      </p:cNvPr>
                      <p:cNvSpPr/>
                      <p:nvPr/>
                    </p:nvSpPr>
                    <p:spPr>
                      <a:xfrm>
                        <a:off x="4172588" y="3661851"/>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38" name="Freihandform: Form 237">
                        <a:extLst>
                          <a:ext uri="{FF2B5EF4-FFF2-40B4-BE49-F238E27FC236}">
                            <a16:creationId xmlns:a16="http://schemas.microsoft.com/office/drawing/2014/main" id="{9B30C383-DF40-7DCA-0278-21D9DDE302A8}"/>
                          </a:ext>
                        </a:extLst>
                      </p:cNvPr>
                      <p:cNvSpPr/>
                      <p:nvPr/>
                    </p:nvSpPr>
                    <p:spPr>
                      <a:xfrm>
                        <a:off x="4211567" y="3711668"/>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grpSp>
              </p:grpSp>
            </p:grpSp>
            <p:grpSp>
              <p:nvGrpSpPr>
                <p:cNvPr id="239" name="Grafik 164">
                  <a:extLst>
                    <a:ext uri="{FF2B5EF4-FFF2-40B4-BE49-F238E27FC236}">
                      <a16:creationId xmlns:a16="http://schemas.microsoft.com/office/drawing/2014/main" id="{56061DA4-F72E-1D89-6AA9-D3418671EB65}"/>
                    </a:ext>
                  </a:extLst>
                </p:cNvPr>
                <p:cNvGrpSpPr/>
                <p:nvPr/>
              </p:nvGrpSpPr>
              <p:grpSpPr>
                <a:xfrm rot="10800000">
                  <a:off x="6086063" y="2616713"/>
                  <a:ext cx="178658" cy="163639"/>
                  <a:chOff x="4059000" y="3629342"/>
                  <a:chExt cx="276692" cy="163488"/>
                </a:xfrm>
                <a:solidFill>
                  <a:srgbClr val="009252"/>
                </a:solidFill>
              </p:grpSpPr>
              <p:grpSp>
                <p:nvGrpSpPr>
                  <p:cNvPr id="240" name="Grafik 164">
                    <a:extLst>
                      <a:ext uri="{FF2B5EF4-FFF2-40B4-BE49-F238E27FC236}">
                        <a16:creationId xmlns:a16="http://schemas.microsoft.com/office/drawing/2014/main" id="{5A44E480-A63F-B288-28F0-5F9498F37BA2}"/>
                      </a:ext>
                    </a:extLst>
                  </p:cNvPr>
                  <p:cNvGrpSpPr/>
                  <p:nvPr/>
                </p:nvGrpSpPr>
                <p:grpSpPr>
                  <a:xfrm>
                    <a:off x="4059000" y="3629342"/>
                    <a:ext cx="276692" cy="163488"/>
                    <a:chOff x="4059000" y="3629342"/>
                    <a:chExt cx="276692" cy="163488"/>
                  </a:xfrm>
                  <a:grpFill/>
                </p:grpSpPr>
                <p:grpSp>
                  <p:nvGrpSpPr>
                    <p:cNvPr id="267" name="Grafik 164">
                      <a:extLst>
                        <a:ext uri="{FF2B5EF4-FFF2-40B4-BE49-F238E27FC236}">
                          <a16:creationId xmlns:a16="http://schemas.microsoft.com/office/drawing/2014/main" id="{0978D974-6946-8B99-33C8-88DAF8379824}"/>
                        </a:ext>
                      </a:extLst>
                    </p:cNvPr>
                    <p:cNvGrpSpPr/>
                    <p:nvPr/>
                  </p:nvGrpSpPr>
                  <p:grpSpPr>
                    <a:xfrm>
                      <a:off x="4059000" y="3629342"/>
                      <a:ext cx="276692" cy="163488"/>
                      <a:chOff x="4059000" y="3629342"/>
                      <a:chExt cx="276692" cy="163488"/>
                    </a:xfrm>
                    <a:grpFill/>
                  </p:grpSpPr>
                  <p:sp>
                    <p:nvSpPr>
                      <p:cNvPr id="268" name="Freihandform: Form 267">
                        <a:extLst>
                          <a:ext uri="{FF2B5EF4-FFF2-40B4-BE49-F238E27FC236}">
                            <a16:creationId xmlns:a16="http://schemas.microsoft.com/office/drawing/2014/main" id="{4F0971A3-2A86-93AD-7E57-02AD82298961}"/>
                          </a:ext>
                        </a:extLst>
                      </p:cNvPr>
                      <p:cNvSpPr/>
                      <p:nvPr/>
                    </p:nvSpPr>
                    <p:spPr>
                      <a:xfrm rot="-2699514">
                        <a:off x="4059000" y="362934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69" name="Freihandform: Form 268">
                        <a:extLst>
                          <a:ext uri="{FF2B5EF4-FFF2-40B4-BE49-F238E27FC236}">
                            <a16:creationId xmlns:a16="http://schemas.microsoft.com/office/drawing/2014/main" id="{6F5EDA5A-C9C8-CB82-CFAB-5C647260DA3D}"/>
                          </a:ext>
                        </a:extLst>
                      </p:cNvPr>
                      <p:cNvSpPr/>
                      <p:nvPr/>
                    </p:nvSpPr>
                    <p:spPr>
                      <a:xfrm rot="-2700000">
                        <a:off x="4176983" y="3750810"/>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81" name="Freihandform: Form 280">
                        <a:extLst>
                          <a:ext uri="{FF2B5EF4-FFF2-40B4-BE49-F238E27FC236}">
                            <a16:creationId xmlns:a16="http://schemas.microsoft.com/office/drawing/2014/main" id="{50D46CFE-645A-0770-4E25-007D9129D11B}"/>
                          </a:ext>
                        </a:extLst>
                      </p:cNvPr>
                      <p:cNvSpPr/>
                      <p:nvPr/>
                    </p:nvSpPr>
                    <p:spPr>
                      <a:xfrm rot="-2700486">
                        <a:off x="4138571" y="3707435"/>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82" name="Freihandform: Form 281">
                        <a:extLst>
                          <a:ext uri="{FF2B5EF4-FFF2-40B4-BE49-F238E27FC236}">
                            <a16:creationId xmlns:a16="http://schemas.microsoft.com/office/drawing/2014/main" id="{729FA84A-4480-6B4F-0820-852B09A99B88}"/>
                          </a:ext>
                        </a:extLst>
                      </p:cNvPr>
                      <p:cNvSpPr/>
                      <p:nvPr/>
                    </p:nvSpPr>
                    <p:spPr>
                      <a:xfrm>
                        <a:off x="4099764" y="3666795"/>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283" name="Freihandform: Form 282">
                        <a:extLst>
                          <a:ext uri="{FF2B5EF4-FFF2-40B4-BE49-F238E27FC236}">
                            <a16:creationId xmlns:a16="http://schemas.microsoft.com/office/drawing/2014/main" id="{023C352A-BD89-3CD1-BA20-F42E3822EAA2}"/>
                          </a:ext>
                        </a:extLst>
                      </p:cNvPr>
                      <p:cNvSpPr/>
                      <p:nvPr/>
                    </p:nvSpPr>
                    <p:spPr>
                      <a:xfrm rot="-2700486">
                        <a:off x="4293672" y="3632801"/>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302" name="Freihandform: Form 301">
                        <a:extLst>
                          <a:ext uri="{FF2B5EF4-FFF2-40B4-BE49-F238E27FC236}">
                            <a16:creationId xmlns:a16="http://schemas.microsoft.com/office/drawing/2014/main" id="{70DB9A59-9744-C18B-4A6A-D8AF978CBAEF}"/>
                          </a:ext>
                        </a:extLst>
                      </p:cNvPr>
                      <p:cNvSpPr/>
                      <p:nvPr/>
                    </p:nvSpPr>
                    <p:spPr>
                      <a:xfrm rot="-2699514">
                        <a:off x="4218148" y="362934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321" name="Freihandform: Form 320">
                        <a:extLst>
                          <a:ext uri="{FF2B5EF4-FFF2-40B4-BE49-F238E27FC236}">
                            <a16:creationId xmlns:a16="http://schemas.microsoft.com/office/drawing/2014/main" id="{85B4D1C9-83B4-7FC5-C5DC-C627CE27A3DB}"/>
                          </a:ext>
                        </a:extLst>
                      </p:cNvPr>
                      <p:cNvSpPr/>
                      <p:nvPr/>
                    </p:nvSpPr>
                    <p:spPr>
                      <a:xfrm rot="-2700486">
                        <a:off x="4253529" y="367459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322" name="Freihandform: Form 321">
                        <a:extLst>
                          <a:ext uri="{FF2B5EF4-FFF2-40B4-BE49-F238E27FC236}">
                            <a16:creationId xmlns:a16="http://schemas.microsoft.com/office/drawing/2014/main" id="{B9E5C975-8564-BE14-A641-9DE34BBC1EC2}"/>
                          </a:ext>
                        </a:extLst>
                      </p:cNvPr>
                      <p:cNvSpPr/>
                      <p:nvPr/>
                    </p:nvSpPr>
                    <p:spPr>
                      <a:xfrm>
                        <a:off x="4172588" y="3661851"/>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323" name="Freihandform: Form 322">
                        <a:extLst>
                          <a:ext uri="{FF2B5EF4-FFF2-40B4-BE49-F238E27FC236}">
                            <a16:creationId xmlns:a16="http://schemas.microsoft.com/office/drawing/2014/main" id="{6C51E7AC-7212-5724-D08E-66738113DA49}"/>
                          </a:ext>
                        </a:extLst>
                      </p:cNvPr>
                      <p:cNvSpPr/>
                      <p:nvPr/>
                    </p:nvSpPr>
                    <p:spPr>
                      <a:xfrm>
                        <a:off x="4211567" y="3711668"/>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grpSp>
              </p:grpSp>
            </p:grpSp>
          </p:grpSp>
        </p:grpSp>
        <p:grpSp>
          <p:nvGrpSpPr>
            <p:cNvPr id="354" name="Grafik 164">
              <a:extLst>
                <a:ext uri="{FF2B5EF4-FFF2-40B4-BE49-F238E27FC236}">
                  <a16:creationId xmlns:a16="http://schemas.microsoft.com/office/drawing/2014/main" id="{1C873874-E9C6-CE9A-0E1F-693E768DE0BF}"/>
                </a:ext>
              </a:extLst>
            </p:cNvPr>
            <p:cNvGrpSpPr/>
            <p:nvPr/>
          </p:nvGrpSpPr>
          <p:grpSpPr>
            <a:xfrm rot="10800000">
              <a:off x="6213737" y="2617034"/>
              <a:ext cx="178658" cy="163639"/>
              <a:chOff x="4059000" y="3629342"/>
              <a:chExt cx="276692" cy="163488"/>
            </a:xfrm>
            <a:solidFill>
              <a:schemeClr val="bg1"/>
            </a:solidFill>
          </p:grpSpPr>
          <p:grpSp>
            <p:nvGrpSpPr>
              <p:cNvPr id="355" name="Grafik 164">
                <a:extLst>
                  <a:ext uri="{FF2B5EF4-FFF2-40B4-BE49-F238E27FC236}">
                    <a16:creationId xmlns:a16="http://schemas.microsoft.com/office/drawing/2014/main" id="{C70C38D4-210D-04A1-5C0C-4DAE097931A5}"/>
                  </a:ext>
                </a:extLst>
              </p:cNvPr>
              <p:cNvGrpSpPr/>
              <p:nvPr/>
            </p:nvGrpSpPr>
            <p:grpSpPr>
              <a:xfrm>
                <a:off x="4059000" y="3629342"/>
                <a:ext cx="276692" cy="163488"/>
                <a:chOff x="4059000" y="3629342"/>
                <a:chExt cx="276692" cy="163488"/>
              </a:xfrm>
              <a:grpFill/>
            </p:grpSpPr>
            <p:grpSp>
              <p:nvGrpSpPr>
                <p:cNvPr id="356" name="Grafik 164">
                  <a:extLst>
                    <a:ext uri="{FF2B5EF4-FFF2-40B4-BE49-F238E27FC236}">
                      <a16:creationId xmlns:a16="http://schemas.microsoft.com/office/drawing/2014/main" id="{CA85F1F4-E639-DF93-1BB3-F10B712F9C7D}"/>
                    </a:ext>
                  </a:extLst>
                </p:cNvPr>
                <p:cNvGrpSpPr/>
                <p:nvPr/>
              </p:nvGrpSpPr>
              <p:grpSpPr>
                <a:xfrm>
                  <a:off x="4059000" y="3629342"/>
                  <a:ext cx="276692" cy="163488"/>
                  <a:chOff x="4059000" y="3629342"/>
                  <a:chExt cx="276692" cy="163488"/>
                </a:xfrm>
                <a:grpFill/>
              </p:grpSpPr>
              <p:sp>
                <p:nvSpPr>
                  <p:cNvPr id="357" name="Freihandform: Form 356">
                    <a:extLst>
                      <a:ext uri="{FF2B5EF4-FFF2-40B4-BE49-F238E27FC236}">
                        <a16:creationId xmlns:a16="http://schemas.microsoft.com/office/drawing/2014/main" id="{2BD3E800-A058-BF63-6954-6D033322F2DB}"/>
                      </a:ext>
                    </a:extLst>
                  </p:cNvPr>
                  <p:cNvSpPr/>
                  <p:nvPr/>
                </p:nvSpPr>
                <p:spPr>
                  <a:xfrm rot="-2699514">
                    <a:off x="4059000" y="362934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358" name="Freihandform: Form 357">
                    <a:extLst>
                      <a:ext uri="{FF2B5EF4-FFF2-40B4-BE49-F238E27FC236}">
                        <a16:creationId xmlns:a16="http://schemas.microsoft.com/office/drawing/2014/main" id="{77ED7E52-01DF-4870-5B81-DA526DDB082E}"/>
                      </a:ext>
                    </a:extLst>
                  </p:cNvPr>
                  <p:cNvSpPr/>
                  <p:nvPr/>
                </p:nvSpPr>
                <p:spPr>
                  <a:xfrm rot="-2700000">
                    <a:off x="4176983" y="3750810"/>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359" name="Freihandform: Form 358">
                    <a:extLst>
                      <a:ext uri="{FF2B5EF4-FFF2-40B4-BE49-F238E27FC236}">
                        <a16:creationId xmlns:a16="http://schemas.microsoft.com/office/drawing/2014/main" id="{5A891ECF-C465-39E9-66F0-0B59E10492C6}"/>
                      </a:ext>
                    </a:extLst>
                  </p:cNvPr>
                  <p:cNvSpPr/>
                  <p:nvPr/>
                </p:nvSpPr>
                <p:spPr>
                  <a:xfrm rot="-2700486">
                    <a:off x="4138571" y="3707435"/>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360" name="Freihandform: Form 359">
                    <a:extLst>
                      <a:ext uri="{FF2B5EF4-FFF2-40B4-BE49-F238E27FC236}">
                        <a16:creationId xmlns:a16="http://schemas.microsoft.com/office/drawing/2014/main" id="{82F0EC9C-E39B-A30D-172C-FCD97F6A99C2}"/>
                      </a:ext>
                    </a:extLst>
                  </p:cNvPr>
                  <p:cNvSpPr/>
                  <p:nvPr/>
                </p:nvSpPr>
                <p:spPr>
                  <a:xfrm>
                    <a:off x="4099764" y="3666795"/>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361" name="Freihandform: Form 360">
                    <a:extLst>
                      <a:ext uri="{FF2B5EF4-FFF2-40B4-BE49-F238E27FC236}">
                        <a16:creationId xmlns:a16="http://schemas.microsoft.com/office/drawing/2014/main" id="{A6CB2319-2B1F-F4A8-78AC-CE368929AF36}"/>
                      </a:ext>
                    </a:extLst>
                  </p:cNvPr>
                  <p:cNvSpPr/>
                  <p:nvPr/>
                </p:nvSpPr>
                <p:spPr>
                  <a:xfrm rot="-2700486">
                    <a:off x="4293672" y="3632801"/>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362" name="Freihandform: Form 361">
                    <a:extLst>
                      <a:ext uri="{FF2B5EF4-FFF2-40B4-BE49-F238E27FC236}">
                        <a16:creationId xmlns:a16="http://schemas.microsoft.com/office/drawing/2014/main" id="{698BA840-4F5C-01EC-DCC2-CA51975DA2FD}"/>
                      </a:ext>
                    </a:extLst>
                  </p:cNvPr>
                  <p:cNvSpPr/>
                  <p:nvPr/>
                </p:nvSpPr>
                <p:spPr>
                  <a:xfrm rot="-2699514">
                    <a:off x="4218148" y="362934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363" name="Freihandform: Form 362">
                    <a:extLst>
                      <a:ext uri="{FF2B5EF4-FFF2-40B4-BE49-F238E27FC236}">
                        <a16:creationId xmlns:a16="http://schemas.microsoft.com/office/drawing/2014/main" id="{BA1DD45A-3500-BE4C-EE3C-A9FC10EA9F09}"/>
                      </a:ext>
                    </a:extLst>
                  </p:cNvPr>
                  <p:cNvSpPr/>
                  <p:nvPr/>
                </p:nvSpPr>
                <p:spPr>
                  <a:xfrm rot="-2700486">
                    <a:off x="4253529" y="3674592"/>
                    <a:ext cx="42020" cy="42020"/>
                  </a:xfrm>
                  <a:custGeom>
                    <a:avLst/>
                    <a:gdLst>
                      <a:gd name="connsiteX0" fmla="*/ 0 w 42020"/>
                      <a:gd name="connsiteY0" fmla="*/ 0 h 42020"/>
                      <a:gd name="connsiteX1" fmla="*/ 42021 w 42020"/>
                      <a:gd name="connsiteY1" fmla="*/ 0 h 42020"/>
                      <a:gd name="connsiteX2" fmla="*/ 42021 w 42020"/>
                      <a:gd name="connsiteY2" fmla="*/ 42021 h 42020"/>
                      <a:gd name="connsiteX3" fmla="*/ 0 w 42020"/>
                      <a:gd name="connsiteY3" fmla="*/ 42021 h 42020"/>
                    </a:gdLst>
                    <a:ahLst/>
                    <a:cxnLst>
                      <a:cxn ang="0">
                        <a:pos x="connsiteX0" y="connsiteY0"/>
                      </a:cxn>
                      <a:cxn ang="0">
                        <a:pos x="connsiteX1" y="connsiteY1"/>
                      </a:cxn>
                      <a:cxn ang="0">
                        <a:pos x="connsiteX2" y="connsiteY2"/>
                      </a:cxn>
                      <a:cxn ang="0">
                        <a:pos x="connsiteX3" y="connsiteY3"/>
                      </a:cxn>
                    </a:cxnLst>
                    <a:rect l="l" t="t" r="r" b="b"/>
                    <a:pathLst>
                      <a:path w="42020" h="42020">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364" name="Freihandform: Form 363">
                    <a:extLst>
                      <a:ext uri="{FF2B5EF4-FFF2-40B4-BE49-F238E27FC236}">
                        <a16:creationId xmlns:a16="http://schemas.microsoft.com/office/drawing/2014/main" id="{9C1BEAC1-07B7-D283-9C70-B26C0BED6B2A}"/>
                      </a:ext>
                    </a:extLst>
                  </p:cNvPr>
                  <p:cNvSpPr/>
                  <p:nvPr/>
                </p:nvSpPr>
                <p:spPr>
                  <a:xfrm>
                    <a:off x="4172588" y="3661851"/>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sp>
                <p:nvSpPr>
                  <p:cNvPr id="365" name="Freihandform: Form 364">
                    <a:extLst>
                      <a:ext uri="{FF2B5EF4-FFF2-40B4-BE49-F238E27FC236}">
                        <a16:creationId xmlns:a16="http://schemas.microsoft.com/office/drawing/2014/main" id="{F869BB9F-9347-5702-AFB2-BABB284CBA90}"/>
                      </a:ext>
                    </a:extLst>
                  </p:cNvPr>
                  <p:cNvSpPr/>
                  <p:nvPr/>
                </p:nvSpPr>
                <p:spPr>
                  <a:xfrm>
                    <a:off x="4211567" y="3711668"/>
                    <a:ext cx="42021" cy="42021"/>
                  </a:xfrm>
                  <a:custGeom>
                    <a:avLst/>
                    <a:gdLst>
                      <a:gd name="connsiteX0" fmla="*/ 0 w 42021"/>
                      <a:gd name="connsiteY0" fmla="*/ 0 h 42021"/>
                      <a:gd name="connsiteX1" fmla="*/ 42021 w 42021"/>
                      <a:gd name="connsiteY1" fmla="*/ 0 h 42021"/>
                      <a:gd name="connsiteX2" fmla="*/ 42021 w 42021"/>
                      <a:gd name="connsiteY2" fmla="*/ 42021 h 42021"/>
                      <a:gd name="connsiteX3" fmla="*/ 0 w 42021"/>
                      <a:gd name="connsiteY3" fmla="*/ 42021 h 42021"/>
                    </a:gdLst>
                    <a:ahLst/>
                    <a:cxnLst>
                      <a:cxn ang="0">
                        <a:pos x="connsiteX0" y="connsiteY0"/>
                      </a:cxn>
                      <a:cxn ang="0">
                        <a:pos x="connsiteX1" y="connsiteY1"/>
                      </a:cxn>
                      <a:cxn ang="0">
                        <a:pos x="connsiteX2" y="connsiteY2"/>
                      </a:cxn>
                      <a:cxn ang="0">
                        <a:pos x="connsiteX3" y="connsiteY3"/>
                      </a:cxn>
                    </a:cxnLst>
                    <a:rect l="l" t="t" r="r" b="b"/>
                    <a:pathLst>
                      <a:path w="42021" h="42021">
                        <a:moveTo>
                          <a:pt x="0" y="0"/>
                        </a:moveTo>
                        <a:lnTo>
                          <a:pt x="42021" y="0"/>
                        </a:lnTo>
                        <a:lnTo>
                          <a:pt x="42021" y="42021"/>
                        </a:lnTo>
                        <a:lnTo>
                          <a:pt x="0" y="42021"/>
                        </a:lnTo>
                        <a:close/>
                      </a:path>
                    </a:pathLst>
                  </a:custGeom>
                  <a:grpFill/>
                  <a:ln w="1878" cap="flat">
                    <a:noFill/>
                    <a:prstDash val="solid"/>
                    <a:miter/>
                  </a:ln>
                </p:spPr>
                <p:txBody>
                  <a:bodyPr rtlCol="0" anchor="ctr"/>
                  <a:lstStyle/>
                  <a:p>
                    <a:endParaRPr lang="en-GB" noProof="0" dirty="0"/>
                  </a:p>
                </p:txBody>
              </p:sp>
            </p:grpSp>
          </p:grpSp>
        </p:grpSp>
      </p:grpSp>
      <p:sp>
        <p:nvSpPr>
          <p:cNvPr id="378" name="Text Box 25">
            <a:extLst>
              <a:ext uri="{FF2B5EF4-FFF2-40B4-BE49-F238E27FC236}">
                <a16:creationId xmlns:a16="http://schemas.microsoft.com/office/drawing/2014/main" id="{9392F5F3-9524-D729-C03B-9354F1B1BE62}"/>
              </a:ext>
            </a:extLst>
          </p:cNvPr>
          <p:cNvSpPr txBox="1">
            <a:spLocks noChangeArrowheads="1"/>
          </p:cNvSpPr>
          <p:nvPr/>
        </p:nvSpPr>
        <p:spPr bwMode="auto">
          <a:xfrm>
            <a:off x="1408322" y="3073830"/>
            <a:ext cx="1114572" cy="268149"/>
          </a:xfrm>
          <a:prstGeom prst="rect">
            <a:avLst/>
          </a:prstGeom>
          <a:noFill/>
          <a:ln w="12700">
            <a:noFill/>
            <a:miter lim="800000"/>
            <a:headEnd/>
            <a:tailEnd/>
          </a:ln>
        </p:spPr>
        <p:txBody>
          <a:bodyPr lIns="62308" tIns="29908" rIns="62308" bIns="29908">
            <a:spAutoFit/>
          </a:bodyPr>
          <a:lstStyle/>
          <a:p>
            <a:pPr>
              <a:spcBef>
                <a:spcPct val="50000"/>
              </a:spcBef>
            </a:pPr>
            <a:r>
              <a:rPr kumimoji="1" lang="en-GB" sz="675" noProof="0" dirty="0">
                <a:solidFill>
                  <a:srgbClr val="41474C"/>
                </a:solidFill>
                <a:latin typeface="Calibri" panose="020F0502020204030204" pitchFamily="34" charset="0"/>
                <a:cs typeface="Arial" charset="0"/>
              </a:rPr>
              <a:t>Recycling</a:t>
            </a:r>
            <a:br>
              <a:rPr kumimoji="1" lang="en-GB" sz="675" noProof="0" dirty="0">
                <a:solidFill>
                  <a:srgbClr val="41474C"/>
                </a:solidFill>
                <a:latin typeface="Calibri" panose="020F0502020204030204" pitchFamily="34" charset="0"/>
                <a:cs typeface="Arial" charset="0"/>
              </a:rPr>
            </a:br>
            <a:r>
              <a:rPr kumimoji="1" lang="en-GB" sz="675" noProof="0" dirty="0">
                <a:solidFill>
                  <a:srgbClr val="41474C"/>
                </a:solidFill>
                <a:latin typeface="Calibri" panose="020F0502020204030204" pitchFamily="34" charset="0"/>
                <a:cs typeface="Arial" charset="0"/>
              </a:rPr>
              <a:t>yards (MRF)</a:t>
            </a:r>
            <a:endParaRPr lang="en-GB" sz="675" noProof="0" dirty="0"/>
          </a:p>
        </p:txBody>
      </p:sp>
      <p:grpSp>
        <p:nvGrpSpPr>
          <p:cNvPr id="414" name="Grafik 42">
            <a:extLst>
              <a:ext uri="{FF2B5EF4-FFF2-40B4-BE49-F238E27FC236}">
                <a16:creationId xmlns:a16="http://schemas.microsoft.com/office/drawing/2014/main" id="{E273B469-65DE-BABA-3E88-5B37EFEB65DD}"/>
              </a:ext>
            </a:extLst>
          </p:cNvPr>
          <p:cNvGrpSpPr>
            <a:grpSpLocks noChangeAspect="1"/>
          </p:cNvGrpSpPr>
          <p:nvPr/>
        </p:nvGrpSpPr>
        <p:grpSpPr>
          <a:xfrm>
            <a:off x="3333825" y="2074854"/>
            <a:ext cx="360000" cy="360000"/>
            <a:chOff x="1890251" y="3930400"/>
            <a:chExt cx="540000" cy="540000"/>
          </a:xfrm>
          <a:solidFill>
            <a:schemeClr val="accent1"/>
          </a:solidFill>
        </p:grpSpPr>
        <p:grpSp>
          <p:nvGrpSpPr>
            <p:cNvPr id="415" name="Grafik 42">
              <a:extLst>
                <a:ext uri="{FF2B5EF4-FFF2-40B4-BE49-F238E27FC236}">
                  <a16:creationId xmlns:a16="http://schemas.microsoft.com/office/drawing/2014/main" id="{15E2A2EC-53C0-F3FB-806A-B6F5BA5956E7}"/>
                </a:ext>
              </a:extLst>
            </p:cNvPr>
            <p:cNvGrpSpPr/>
            <p:nvPr/>
          </p:nvGrpSpPr>
          <p:grpSpPr>
            <a:xfrm>
              <a:off x="1890251" y="3930400"/>
              <a:ext cx="539429" cy="538859"/>
              <a:chOff x="1890251" y="3930400"/>
              <a:chExt cx="539429" cy="538859"/>
            </a:xfrm>
            <a:grpFill/>
          </p:grpSpPr>
          <p:grpSp>
            <p:nvGrpSpPr>
              <p:cNvPr id="416" name="Grafik 42">
                <a:extLst>
                  <a:ext uri="{FF2B5EF4-FFF2-40B4-BE49-F238E27FC236}">
                    <a16:creationId xmlns:a16="http://schemas.microsoft.com/office/drawing/2014/main" id="{C164D9D1-4C04-E0AD-9B6F-47EA22996834}"/>
                  </a:ext>
                </a:extLst>
              </p:cNvPr>
              <p:cNvGrpSpPr/>
              <p:nvPr/>
            </p:nvGrpSpPr>
            <p:grpSpPr>
              <a:xfrm>
                <a:off x="1890251" y="4151914"/>
                <a:ext cx="539429" cy="317345"/>
                <a:chOff x="1890251" y="4151914"/>
                <a:chExt cx="539429" cy="317345"/>
              </a:xfrm>
              <a:grpFill/>
            </p:grpSpPr>
            <p:sp>
              <p:nvSpPr>
                <p:cNvPr id="417" name="Freihandform: Form 416">
                  <a:extLst>
                    <a:ext uri="{FF2B5EF4-FFF2-40B4-BE49-F238E27FC236}">
                      <a16:creationId xmlns:a16="http://schemas.microsoft.com/office/drawing/2014/main" id="{FEBC2A30-1F23-64F0-0607-4D08403A0FC0}"/>
                    </a:ext>
                  </a:extLst>
                </p:cNvPr>
                <p:cNvSpPr/>
                <p:nvPr/>
              </p:nvSpPr>
              <p:spPr>
                <a:xfrm>
                  <a:off x="2014032" y="4381984"/>
                  <a:ext cx="52098" cy="52098"/>
                </a:xfrm>
                <a:custGeom>
                  <a:avLst/>
                  <a:gdLst>
                    <a:gd name="connsiteX0" fmla="*/ 26049 w 52098"/>
                    <a:gd name="connsiteY0" fmla="*/ 0 h 52098"/>
                    <a:gd name="connsiteX1" fmla="*/ 0 w 52098"/>
                    <a:gd name="connsiteY1" fmla="*/ 26049 h 52098"/>
                    <a:gd name="connsiteX2" fmla="*/ 26049 w 52098"/>
                    <a:gd name="connsiteY2" fmla="*/ 52099 h 52098"/>
                    <a:gd name="connsiteX3" fmla="*/ 52099 w 52098"/>
                    <a:gd name="connsiteY3" fmla="*/ 26049 h 52098"/>
                    <a:gd name="connsiteX4" fmla="*/ 26049 w 52098"/>
                    <a:gd name="connsiteY4" fmla="*/ 0 h 52098"/>
                    <a:gd name="connsiteX5" fmla="*/ 26049 w 52098"/>
                    <a:gd name="connsiteY5" fmla="*/ 35366 h 52098"/>
                    <a:gd name="connsiteX6" fmla="*/ 16732 w 52098"/>
                    <a:gd name="connsiteY6" fmla="*/ 26049 h 52098"/>
                    <a:gd name="connsiteX7" fmla="*/ 26049 w 52098"/>
                    <a:gd name="connsiteY7" fmla="*/ 16732 h 52098"/>
                    <a:gd name="connsiteX8" fmla="*/ 35366 w 52098"/>
                    <a:gd name="connsiteY8" fmla="*/ 26049 h 52098"/>
                    <a:gd name="connsiteX9" fmla="*/ 26049 w 52098"/>
                    <a:gd name="connsiteY9" fmla="*/ 35366 h 52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098" h="52098">
                      <a:moveTo>
                        <a:pt x="26049" y="0"/>
                      </a:moveTo>
                      <a:cubicBezTo>
                        <a:pt x="11789" y="0"/>
                        <a:pt x="0" y="11599"/>
                        <a:pt x="0" y="26049"/>
                      </a:cubicBezTo>
                      <a:cubicBezTo>
                        <a:pt x="0" y="40310"/>
                        <a:pt x="11599" y="52099"/>
                        <a:pt x="26049" y="52099"/>
                      </a:cubicBezTo>
                      <a:cubicBezTo>
                        <a:pt x="40310" y="52099"/>
                        <a:pt x="52099" y="40500"/>
                        <a:pt x="52099" y="26049"/>
                      </a:cubicBezTo>
                      <a:cubicBezTo>
                        <a:pt x="51908" y="11789"/>
                        <a:pt x="40310" y="0"/>
                        <a:pt x="26049" y="0"/>
                      </a:cubicBezTo>
                      <a:close/>
                      <a:moveTo>
                        <a:pt x="26049" y="35366"/>
                      </a:moveTo>
                      <a:cubicBezTo>
                        <a:pt x="20915" y="35366"/>
                        <a:pt x="16732" y="31183"/>
                        <a:pt x="16732" y="26049"/>
                      </a:cubicBezTo>
                      <a:cubicBezTo>
                        <a:pt x="16732" y="20915"/>
                        <a:pt x="20915" y="16732"/>
                        <a:pt x="26049" y="16732"/>
                      </a:cubicBezTo>
                      <a:cubicBezTo>
                        <a:pt x="31183" y="16732"/>
                        <a:pt x="35366" y="20915"/>
                        <a:pt x="35366" y="26049"/>
                      </a:cubicBezTo>
                      <a:cubicBezTo>
                        <a:pt x="35366" y="31183"/>
                        <a:pt x="31183" y="35366"/>
                        <a:pt x="26049" y="35366"/>
                      </a:cubicBezTo>
                      <a:close/>
                    </a:path>
                  </a:pathLst>
                </a:custGeom>
                <a:grpFill/>
                <a:ln w="1878" cap="flat">
                  <a:noFill/>
                  <a:prstDash val="solid"/>
                  <a:miter/>
                </a:ln>
              </p:spPr>
              <p:txBody>
                <a:bodyPr rtlCol="0" anchor="ctr"/>
                <a:lstStyle/>
                <a:p>
                  <a:endParaRPr lang="en-GB" noProof="0" dirty="0"/>
                </a:p>
              </p:txBody>
            </p:sp>
            <p:sp>
              <p:nvSpPr>
                <p:cNvPr id="418" name="Freihandform: Form 417">
                  <a:extLst>
                    <a:ext uri="{FF2B5EF4-FFF2-40B4-BE49-F238E27FC236}">
                      <a16:creationId xmlns:a16="http://schemas.microsoft.com/office/drawing/2014/main" id="{BA19CD3F-F9E8-6F66-DAD1-301AE9C8F4A1}"/>
                    </a:ext>
                  </a:extLst>
                </p:cNvPr>
                <p:cNvSpPr/>
                <p:nvPr/>
              </p:nvSpPr>
              <p:spPr>
                <a:xfrm>
                  <a:off x="2288786" y="4381984"/>
                  <a:ext cx="52098" cy="52098"/>
                </a:xfrm>
                <a:custGeom>
                  <a:avLst/>
                  <a:gdLst>
                    <a:gd name="connsiteX0" fmla="*/ 26049 w 52098"/>
                    <a:gd name="connsiteY0" fmla="*/ 0 h 52098"/>
                    <a:gd name="connsiteX1" fmla="*/ 0 w 52098"/>
                    <a:gd name="connsiteY1" fmla="*/ 26049 h 52098"/>
                    <a:gd name="connsiteX2" fmla="*/ 26049 w 52098"/>
                    <a:gd name="connsiteY2" fmla="*/ 52099 h 52098"/>
                    <a:gd name="connsiteX3" fmla="*/ 52099 w 52098"/>
                    <a:gd name="connsiteY3" fmla="*/ 26049 h 52098"/>
                    <a:gd name="connsiteX4" fmla="*/ 26049 w 52098"/>
                    <a:gd name="connsiteY4" fmla="*/ 0 h 52098"/>
                    <a:gd name="connsiteX5" fmla="*/ 26049 w 52098"/>
                    <a:gd name="connsiteY5" fmla="*/ 35366 h 52098"/>
                    <a:gd name="connsiteX6" fmla="*/ 16732 w 52098"/>
                    <a:gd name="connsiteY6" fmla="*/ 26049 h 52098"/>
                    <a:gd name="connsiteX7" fmla="*/ 26049 w 52098"/>
                    <a:gd name="connsiteY7" fmla="*/ 16732 h 52098"/>
                    <a:gd name="connsiteX8" fmla="*/ 35366 w 52098"/>
                    <a:gd name="connsiteY8" fmla="*/ 26049 h 52098"/>
                    <a:gd name="connsiteX9" fmla="*/ 26049 w 52098"/>
                    <a:gd name="connsiteY9" fmla="*/ 35366 h 52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098" h="52098">
                      <a:moveTo>
                        <a:pt x="26049" y="0"/>
                      </a:moveTo>
                      <a:cubicBezTo>
                        <a:pt x="11789" y="0"/>
                        <a:pt x="0" y="11599"/>
                        <a:pt x="0" y="26049"/>
                      </a:cubicBezTo>
                      <a:cubicBezTo>
                        <a:pt x="0" y="40310"/>
                        <a:pt x="11599" y="52099"/>
                        <a:pt x="26049" y="52099"/>
                      </a:cubicBezTo>
                      <a:cubicBezTo>
                        <a:pt x="40310" y="52099"/>
                        <a:pt x="52099" y="40500"/>
                        <a:pt x="52099" y="26049"/>
                      </a:cubicBezTo>
                      <a:cubicBezTo>
                        <a:pt x="51908" y="11789"/>
                        <a:pt x="40310" y="0"/>
                        <a:pt x="26049" y="0"/>
                      </a:cubicBezTo>
                      <a:close/>
                      <a:moveTo>
                        <a:pt x="26049" y="35366"/>
                      </a:moveTo>
                      <a:cubicBezTo>
                        <a:pt x="20915" y="35366"/>
                        <a:pt x="16732" y="31183"/>
                        <a:pt x="16732" y="26049"/>
                      </a:cubicBezTo>
                      <a:cubicBezTo>
                        <a:pt x="16732" y="20915"/>
                        <a:pt x="20915" y="16732"/>
                        <a:pt x="26049" y="16732"/>
                      </a:cubicBezTo>
                      <a:cubicBezTo>
                        <a:pt x="31183" y="16732"/>
                        <a:pt x="35366" y="20915"/>
                        <a:pt x="35366" y="26049"/>
                      </a:cubicBezTo>
                      <a:cubicBezTo>
                        <a:pt x="35366" y="31183"/>
                        <a:pt x="31183" y="35366"/>
                        <a:pt x="26049" y="35366"/>
                      </a:cubicBezTo>
                      <a:close/>
                    </a:path>
                  </a:pathLst>
                </a:custGeom>
                <a:grpFill/>
                <a:ln w="1878" cap="flat">
                  <a:noFill/>
                  <a:prstDash val="solid"/>
                  <a:miter/>
                </a:ln>
              </p:spPr>
              <p:txBody>
                <a:bodyPr rtlCol="0" anchor="ctr"/>
                <a:lstStyle/>
                <a:p>
                  <a:endParaRPr lang="en-GB" noProof="0" dirty="0"/>
                </a:p>
              </p:txBody>
            </p:sp>
            <p:sp>
              <p:nvSpPr>
                <p:cNvPr id="419" name="Freihandform: Form 418">
                  <a:extLst>
                    <a:ext uri="{FF2B5EF4-FFF2-40B4-BE49-F238E27FC236}">
                      <a16:creationId xmlns:a16="http://schemas.microsoft.com/office/drawing/2014/main" id="{F121FEB9-FA20-5ABE-FA19-453B7D8A13AC}"/>
                    </a:ext>
                  </a:extLst>
                </p:cNvPr>
                <p:cNvSpPr/>
                <p:nvPr/>
              </p:nvSpPr>
              <p:spPr>
                <a:xfrm>
                  <a:off x="1890251" y="4151914"/>
                  <a:ext cx="539429" cy="317345"/>
                </a:xfrm>
                <a:custGeom>
                  <a:avLst/>
                  <a:gdLst>
                    <a:gd name="connsiteX0" fmla="*/ 530113 w 539429"/>
                    <a:gd name="connsiteY0" fmla="*/ 214669 h 317345"/>
                    <a:gd name="connsiteX1" fmla="*/ 530113 w 539429"/>
                    <a:gd name="connsiteY1" fmla="*/ 150782 h 317345"/>
                    <a:gd name="connsiteX2" fmla="*/ 524218 w 539429"/>
                    <a:gd name="connsiteY2" fmla="*/ 128725 h 317345"/>
                    <a:gd name="connsiteX3" fmla="*/ 477254 w 539429"/>
                    <a:gd name="connsiteY3" fmla="*/ 48296 h 317345"/>
                    <a:gd name="connsiteX4" fmla="*/ 439606 w 539429"/>
                    <a:gd name="connsiteY4" fmla="*/ 26620 h 317345"/>
                    <a:gd name="connsiteX5" fmla="*/ 380282 w 539429"/>
                    <a:gd name="connsiteY5" fmla="*/ 26620 h 317345"/>
                    <a:gd name="connsiteX6" fmla="*/ 363169 w 539429"/>
                    <a:gd name="connsiteY6" fmla="*/ 43732 h 317345"/>
                    <a:gd name="connsiteX7" fmla="*/ 363169 w 539429"/>
                    <a:gd name="connsiteY7" fmla="*/ 194704 h 317345"/>
                    <a:gd name="connsiteX8" fmla="*/ 344345 w 539429"/>
                    <a:gd name="connsiteY8" fmla="*/ 194704 h 317345"/>
                    <a:gd name="connsiteX9" fmla="*/ 344345 w 539429"/>
                    <a:gd name="connsiteY9" fmla="*/ 26049 h 317345"/>
                    <a:gd name="connsiteX10" fmla="*/ 318296 w 539429"/>
                    <a:gd name="connsiteY10" fmla="*/ 0 h 317345"/>
                    <a:gd name="connsiteX11" fmla="*/ 26049 w 539429"/>
                    <a:gd name="connsiteY11" fmla="*/ 0 h 317345"/>
                    <a:gd name="connsiteX12" fmla="*/ 0 w 539429"/>
                    <a:gd name="connsiteY12" fmla="*/ 26049 h 317345"/>
                    <a:gd name="connsiteX13" fmla="*/ 0 w 539429"/>
                    <a:gd name="connsiteY13" fmla="*/ 238246 h 317345"/>
                    <a:gd name="connsiteX14" fmla="*/ 26049 w 539429"/>
                    <a:gd name="connsiteY14" fmla="*/ 264296 h 317345"/>
                    <a:gd name="connsiteX15" fmla="*/ 89176 w 539429"/>
                    <a:gd name="connsiteY15" fmla="*/ 264296 h 317345"/>
                    <a:gd name="connsiteX16" fmla="*/ 150021 w 539429"/>
                    <a:gd name="connsiteY16" fmla="*/ 317345 h 317345"/>
                    <a:gd name="connsiteX17" fmla="*/ 210866 w 539429"/>
                    <a:gd name="connsiteY17" fmla="*/ 264296 h 317345"/>
                    <a:gd name="connsiteX18" fmla="*/ 364120 w 539429"/>
                    <a:gd name="connsiteY18" fmla="*/ 264296 h 317345"/>
                    <a:gd name="connsiteX19" fmla="*/ 424965 w 539429"/>
                    <a:gd name="connsiteY19" fmla="*/ 317345 h 317345"/>
                    <a:gd name="connsiteX20" fmla="*/ 485810 w 539429"/>
                    <a:gd name="connsiteY20" fmla="*/ 264296 h 317345"/>
                    <a:gd name="connsiteX21" fmla="*/ 522317 w 539429"/>
                    <a:gd name="connsiteY21" fmla="*/ 264296 h 317345"/>
                    <a:gd name="connsiteX22" fmla="*/ 539430 w 539429"/>
                    <a:gd name="connsiteY22" fmla="*/ 247183 h 317345"/>
                    <a:gd name="connsiteX23" fmla="*/ 539430 w 539429"/>
                    <a:gd name="connsiteY23" fmla="*/ 229500 h 317345"/>
                    <a:gd name="connsiteX24" fmla="*/ 530113 w 539429"/>
                    <a:gd name="connsiteY24" fmla="*/ 214669 h 317345"/>
                    <a:gd name="connsiteX25" fmla="*/ 16542 w 539429"/>
                    <a:gd name="connsiteY25" fmla="*/ 175880 h 317345"/>
                    <a:gd name="connsiteX26" fmla="*/ 35366 w 539429"/>
                    <a:gd name="connsiteY26" fmla="*/ 175880 h 317345"/>
                    <a:gd name="connsiteX27" fmla="*/ 35366 w 539429"/>
                    <a:gd name="connsiteY27" fmla="*/ 202880 h 317345"/>
                    <a:gd name="connsiteX28" fmla="*/ 26049 w 539429"/>
                    <a:gd name="connsiteY28" fmla="*/ 212197 h 317345"/>
                    <a:gd name="connsiteX29" fmla="*/ 16542 w 539429"/>
                    <a:gd name="connsiteY29" fmla="*/ 212197 h 317345"/>
                    <a:gd name="connsiteX30" fmla="*/ 16542 w 539429"/>
                    <a:gd name="connsiteY30" fmla="*/ 175880 h 317345"/>
                    <a:gd name="connsiteX31" fmla="*/ 149831 w 539429"/>
                    <a:gd name="connsiteY31" fmla="*/ 300803 h 317345"/>
                    <a:gd name="connsiteX32" fmla="*/ 105148 w 539429"/>
                    <a:gd name="connsiteY32" fmla="*/ 256120 h 317345"/>
                    <a:gd name="connsiteX33" fmla="*/ 105148 w 539429"/>
                    <a:gd name="connsiteY33" fmla="*/ 256120 h 317345"/>
                    <a:gd name="connsiteX34" fmla="*/ 105148 w 539429"/>
                    <a:gd name="connsiteY34" fmla="*/ 256120 h 317345"/>
                    <a:gd name="connsiteX35" fmla="*/ 149831 w 539429"/>
                    <a:gd name="connsiteY35" fmla="*/ 211437 h 317345"/>
                    <a:gd name="connsiteX36" fmla="*/ 194704 w 539429"/>
                    <a:gd name="connsiteY36" fmla="*/ 256120 h 317345"/>
                    <a:gd name="connsiteX37" fmla="*/ 149831 w 539429"/>
                    <a:gd name="connsiteY37" fmla="*/ 300803 h 317345"/>
                    <a:gd name="connsiteX38" fmla="*/ 327803 w 539429"/>
                    <a:gd name="connsiteY38" fmla="*/ 247754 h 317345"/>
                    <a:gd name="connsiteX39" fmla="*/ 210486 w 539429"/>
                    <a:gd name="connsiteY39" fmla="*/ 247754 h 317345"/>
                    <a:gd name="connsiteX40" fmla="*/ 149641 w 539429"/>
                    <a:gd name="connsiteY40" fmla="*/ 194704 h 317345"/>
                    <a:gd name="connsiteX41" fmla="*/ 88796 w 539429"/>
                    <a:gd name="connsiteY41" fmla="*/ 247754 h 317345"/>
                    <a:gd name="connsiteX42" fmla="*/ 26049 w 539429"/>
                    <a:gd name="connsiteY42" fmla="*/ 247754 h 317345"/>
                    <a:gd name="connsiteX43" fmla="*/ 16732 w 539429"/>
                    <a:gd name="connsiteY43" fmla="*/ 238437 h 317345"/>
                    <a:gd name="connsiteX44" fmla="*/ 16732 w 539429"/>
                    <a:gd name="connsiteY44" fmla="*/ 229120 h 317345"/>
                    <a:gd name="connsiteX45" fmla="*/ 26049 w 539429"/>
                    <a:gd name="connsiteY45" fmla="*/ 229120 h 317345"/>
                    <a:gd name="connsiteX46" fmla="*/ 52099 w 539429"/>
                    <a:gd name="connsiteY46" fmla="*/ 203070 h 317345"/>
                    <a:gd name="connsiteX47" fmla="*/ 52099 w 539429"/>
                    <a:gd name="connsiteY47" fmla="*/ 167704 h 317345"/>
                    <a:gd name="connsiteX48" fmla="*/ 43732 w 539429"/>
                    <a:gd name="connsiteY48" fmla="*/ 159338 h 317345"/>
                    <a:gd name="connsiteX49" fmla="*/ 16542 w 539429"/>
                    <a:gd name="connsiteY49" fmla="*/ 159338 h 317345"/>
                    <a:gd name="connsiteX50" fmla="*/ 16542 w 539429"/>
                    <a:gd name="connsiteY50" fmla="*/ 26049 h 317345"/>
                    <a:gd name="connsiteX51" fmla="*/ 25859 w 539429"/>
                    <a:gd name="connsiteY51" fmla="*/ 16732 h 317345"/>
                    <a:gd name="connsiteX52" fmla="*/ 318296 w 539429"/>
                    <a:gd name="connsiteY52" fmla="*/ 16732 h 317345"/>
                    <a:gd name="connsiteX53" fmla="*/ 327613 w 539429"/>
                    <a:gd name="connsiteY53" fmla="*/ 26049 h 317345"/>
                    <a:gd name="connsiteX54" fmla="*/ 327613 w 539429"/>
                    <a:gd name="connsiteY54" fmla="*/ 247754 h 317345"/>
                    <a:gd name="connsiteX55" fmla="*/ 363169 w 539429"/>
                    <a:gd name="connsiteY55" fmla="*/ 247754 h 317345"/>
                    <a:gd name="connsiteX56" fmla="*/ 344345 w 539429"/>
                    <a:gd name="connsiteY56" fmla="*/ 247754 h 317345"/>
                    <a:gd name="connsiteX57" fmla="*/ 344345 w 539429"/>
                    <a:gd name="connsiteY57" fmla="*/ 211246 h 317345"/>
                    <a:gd name="connsiteX58" fmla="*/ 363169 w 539429"/>
                    <a:gd name="connsiteY58" fmla="*/ 211246 h 317345"/>
                    <a:gd name="connsiteX59" fmla="*/ 363169 w 539429"/>
                    <a:gd name="connsiteY59" fmla="*/ 247754 h 317345"/>
                    <a:gd name="connsiteX60" fmla="*/ 379711 w 539429"/>
                    <a:gd name="connsiteY60" fmla="*/ 43923 h 317345"/>
                    <a:gd name="connsiteX61" fmla="*/ 380282 w 539429"/>
                    <a:gd name="connsiteY61" fmla="*/ 43352 h 317345"/>
                    <a:gd name="connsiteX62" fmla="*/ 439606 w 539429"/>
                    <a:gd name="connsiteY62" fmla="*/ 43352 h 317345"/>
                    <a:gd name="connsiteX63" fmla="*/ 462993 w 539429"/>
                    <a:gd name="connsiteY63" fmla="*/ 56852 h 317345"/>
                    <a:gd name="connsiteX64" fmla="*/ 466035 w 539429"/>
                    <a:gd name="connsiteY64" fmla="*/ 62176 h 317345"/>
                    <a:gd name="connsiteX65" fmla="*/ 379711 w 539429"/>
                    <a:gd name="connsiteY65" fmla="*/ 62176 h 317345"/>
                    <a:gd name="connsiteX66" fmla="*/ 379711 w 539429"/>
                    <a:gd name="connsiteY66" fmla="*/ 43923 h 317345"/>
                    <a:gd name="connsiteX67" fmla="*/ 379711 w 539429"/>
                    <a:gd name="connsiteY67" fmla="*/ 78718 h 317345"/>
                    <a:gd name="connsiteX68" fmla="*/ 475732 w 539429"/>
                    <a:gd name="connsiteY68" fmla="*/ 78718 h 317345"/>
                    <a:gd name="connsiteX69" fmla="*/ 509768 w 539429"/>
                    <a:gd name="connsiteY69" fmla="*/ 137092 h 317345"/>
                    <a:gd name="connsiteX70" fmla="*/ 513380 w 539429"/>
                    <a:gd name="connsiteY70" fmla="*/ 150782 h 317345"/>
                    <a:gd name="connsiteX71" fmla="*/ 513380 w 539429"/>
                    <a:gd name="connsiteY71" fmla="*/ 159528 h 317345"/>
                    <a:gd name="connsiteX72" fmla="*/ 497218 w 539429"/>
                    <a:gd name="connsiteY72" fmla="*/ 159528 h 317345"/>
                    <a:gd name="connsiteX73" fmla="*/ 484289 w 539429"/>
                    <a:gd name="connsiteY73" fmla="*/ 154204 h 317345"/>
                    <a:gd name="connsiteX74" fmla="*/ 473261 w 539429"/>
                    <a:gd name="connsiteY74" fmla="*/ 143176 h 317345"/>
                    <a:gd name="connsiteX75" fmla="*/ 448732 w 539429"/>
                    <a:gd name="connsiteY75" fmla="*/ 132908 h 317345"/>
                    <a:gd name="connsiteX76" fmla="*/ 379521 w 539429"/>
                    <a:gd name="connsiteY76" fmla="*/ 132908 h 317345"/>
                    <a:gd name="connsiteX77" fmla="*/ 379521 w 539429"/>
                    <a:gd name="connsiteY77" fmla="*/ 78718 h 317345"/>
                    <a:gd name="connsiteX78" fmla="*/ 424585 w 539429"/>
                    <a:gd name="connsiteY78" fmla="*/ 300803 h 317345"/>
                    <a:gd name="connsiteX79" fmla="*/ 379901 w 539429"/>
                    <a:gd name="connsiteY79" fmla="*/ 255930 h 317345"/>
                    <a:gd name="connsiteX80" fmla="*/ 424585 w 539429"/>
                    <a:gd name="connsiteY80" fmla="*/ 211246 h 317345"/>
                    <a:gd name="connsiteX81" fmla="*/ 469268 w 539429"/>
                    <a:gd name="connsiteY81" fmla="*/ 255930 h 317345"/>
                    <a:gd name="connsiteX82" fmla="*/ 424585 w 539429"/>
                    <a:gd name="connsiteY82" fmla="*/ 300803 h 317345"/>
                    <a:gd name="connsiteX83" fmla="*/ 486951 w 539429"/>
                    <a:gd name="connsiteY83" fmla="*/ 229500 h 317345"/>
                    <a:gd name="connsiteX84" fmla="*/ 486951 w 539429"/>
                    <a:gd name="connsiteY84" fmla="*/ 247754 h 317345"/>
                    <a:gd name="connsiteX85" fmla="*/ 485239 w 539429"/>
                    <a:gd name="connsiteY85" fmla="*/ 247754 h 317345"/>
                    <a:gd name="connsiteX86" fmla="*/ 424394 w 539429"/>
                    <a:gd name="connsiteY86" fmla="*/ 194704 h 317345"/>
                    <a:gd name="connsiteX87" fmla="*/ 379711 w 539429"/>
                    <a:gd name="connsiteY87" fmla="*/ 214099 h 317345"/>
                    <a:gd name="connsiteX88" fmla="*/ 379711 w 539429"/>
                    <a:gd name="connsiteY88" fmla="*/ 149261 h 317345"/>
                    <a:gd name="connsiteX89" fmla="*/ 448923 w 539429"/>
                    <a:gd name="connsiteY89" fmla="*/ 149261 h 317345"/>
                    <a:gd name="connsiteX90" fmla="*/ 461852 w 539429"/>
                    <a:gd name="connsiteY90" fmla="*/ 154585 h 317345"/>
                    <a:gd name="connsiteX91" fmla="*/ 472880 w 539429"/>
                    <a:gd name="connsiteY91" fmla="*/ 165613 h 317345"/>
                    <a:gd name="connsiteX92" fmla="*/ 497408 w 539429"/>
                    <a:gd name="connsiteY92" fmla="*/ 175880 h 317345"/>
                    <a:gd name="connsiteX93" fmla="*/ 513570 w 539429"/>
                    <a:gd name="connsiteY93" fmla="*/ 175880 h 317345"/>
                    <a:gd name="connsiteX94" fmla="*/ 513570 w 539429"/>
                    <a:gd name="connsiteY94" fmla="*/ 212387 h 317345"/>
                    <a:gd name="connsiteX95" fmla="*/ 504254 w 539429"/>
                    <a:gd name="connsiteY95" fmla="*/ 212387 h 317345"/>
                    <a:gd name="connsiteX96" fmla="*/ 486951 w 539429"/>
                    <a:gd name="connsiteY96" fmla="*/ 229500 h 317345"/>
                    <a:gd name="connsiteX97" fmla="*/ 522317 w 539429"/>
                    <a:gd name="connsiteY97" fmla="*/ 247183 h 317345"/>
                    <a:gd name="connsiteX98" fmla="*/ 521746 w 539429"/>
                    <a:gd name="connsiteY98" fmla="*/ 247754 h 317345"/>
                    <a:gd name="connsiteX99" fmla="*/ 503493 w 539429"/>
                    <a:gd name="connsiteY99" fmla="*/ 247754 h 317345"/>
                    <a:gd name="connsiteX100" fmla="*/ 503493 w 539429"/>
                    <a:gd name="connsiteY100" fmla="*/ 229500 h 317345"/>
                    <a:gd name="connsiteX101" fmla="*/ 504063 w 539429"/>
                    <a:gd name="connsiteY101" fmla="*/ 228930 h 317345"/>
                    <a:gd name="connsiteX102" fmla="*/ 521746 w 539429"/>
                    <a:gd name="connsiteY102" fmla="*/ 228930 h 317345"/>
                    <a:gd name="connsiteX103" fmla="*/ 522317 w 539429"/>
                    <a:gd name="connsiteY103" fmla="*/ 229500 h 317345"/>
                    <a:gd name="connsiteX104" fmla="*/ 522317 w 539429"/>
                    <a:gd name="connsiteY104" fmla="*/ 247183 h 317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539429" h="317345">
                      <a:moveTo>
                        <a:pt x="530113" y="214669"/>
                      </a:moveTo>
                      <a:lnTo>
                        <a:pt x="530113" y="150782"/>
                      </a:lnTo>
                      <a:cubicBezTo>
                        <a:pt x="530113" y="142986"/>
                        <a:pt x="528021" y="135380"/>
                        <a:pt x="524218" y="128725"/>
                      </a:cubicBezTo>
                      <a:lnTo>
                        <a:pt x="477254" y="48296"/>
                      </a:lnTo>
                      <a:cubicBezTo>
                        <a:pt x="469458" y="34986"/>
                        <a:pt x="455007" y="26620"/>
                        <a:pt x="439606" y="26620"/>
                      </a:cubicBezTo>
                      <a:lnTo>
                        <a:pt x="380282" y="26620"/>
                      </a:lnTo>
                      <a:cubicBezTo>
                        <a:pt x="370775" y="26620"/>
                        <a:pt x="363169" y="34225"/>
                        <a:pt x="363169" y="43732"/>
                      </a:cubicBezTo>
                      <a:lnTo>
                        <a:pt x="363169" y="194704"/>
                      </a:lnTo>
                      <a:lnTo>
                        <a:pt x="344345" y="194704"/>
                      </a:lnTo>
                      <a:lnTo>
                        <a:pt x="344345" y="26049"/>
                      </a:lnTo>
                      <a:cubicBezTo>
                        <a:pt x="344345" y="11789"/>
                        <a:pt x="332746" y="0"/>
                        <a:pt x="318296" y="0"/>
                      </a:cubicBezTo>
                      <a:lnTo>
                        <a:pt x="26049" y="0"/>
                      </a:lnTo>
                      <a:cubicBezTo>
                        <a:pt x="11789" y="0"/>
                        <a:pt x="0" y="11599"/>
                        <a:pt x="0" y="26049"/>
                      </a:cubicBezTo>
                      <a:lnTo>
                        <a:pt x="0" y="238246"/>
                      </a:lnTo>
                      <a:cubicBezTo>
                        <a:pt x="0" y="252507"/>
                        <a:pt x="11599" y="264296"/>
                        <a:pt x="26049" y="264296"/>
                      </a:cubicBezTo>
                      <a:lnTo>
                        <a:pt x="89176" y="264296"/>
                      </a:lnTo>
                      <a:cubicBezTo>
                        <a:pt x="93169" y="294148"/>
                        <a:pt x="118838" y="317345"/>
                        <a:pt x="150021" y="317345"/>
                      </a:cubicBezTo>
                      <a:cubicBezTo>
                        <a:pt x="181014" y="317345"/>
                        <a:pt x="206683" y="294148"/>
                        <a:pt x="210866" y="264296"/>
                      </a:cubicBezTo>
                      <a:lnTo>
                        <a:pt x="364120" y="264296"/>
                      </a:lnTo>
                      <a:cubicBezTo>
                        <a:pt x="368113" y="294148"/>
                        <a:pt x="393972" y="317345"/>
                        <a:pt x="424965" y="317345"/>
                      </a:cubicBezTo>
                      <a:cubicBezTo>
                        <a:pt x="455958" y="317345"/>
                        <a:pt x="481627" y="294148"/>
                        <a:pt x="485810" y="264296"/>
                      </a:cubicBezTo>
                      <a:lnTo>
                        <a:pt x="522317" y="264296"/>
                      </a:lnTo>
                      <a:cubicBezTo>
                        <a:pt x="531824" y="264296"/>
                        <a:pt x="539430" y="256690"/>
                        <a:pt x="539430" y="247183"/>
                      </a:cubicBezTo>
                      <a:lnTo>
                        <a:pt x="539430" y="229500"/>
                      </a:lnTo>
                      <a:cubicBezTo>
                        <a:pt x="539049" y="223225"/>
                        <a:pt x="535437" y="217521"/>
                        <a:pt x="530113" y="214669"/>
                      </a:cubicBezTo>
                      <a:close/>
                      <a:moveTo>
                        <a:pt x="16542" y="175880"/>
                      </a:moveTo>
                      <a:lnTo>
                        <a:pt x="35366" y="175880"/>
                      </a:lnTo>
                      <a:lnTo>
                        <a:pt x="35366" y="202880"/>
                      </a:lnTo>
                      <a:cubicBezTo>
                        <a:pt x="35366" y="208014"/>
                        <a:pt x="31183" y="212197"/>
                        <a:pt x="26049" y="212197"/>
                      </a:cubicBezTo>
                      <a:lnTo>
                        <a:pt x="16542" y="212197"/>
                      </a:lnTo>
                      <a:lnTo>
                        <a:pt x="16542" y="175880"/>
                      </a:lnTo>
                      <a:close/>
                      <a:moveTo>
                        <a:pt x="149831" y="300803"/>
                      </a:moveTo>
                      <a:cubicBezTo>
                        <a:pt x="125113" y="300803"/>
                        <a:pt x="105148" y="280648"/>
                        <a:pt x="105148" y="256120"/>
                      </a:cubicBezTo>
                      <a:lnTo>
                        <a:pt x="105148" y="256120"/>
                      </a:lnTo>
                      <a:lnTo>
                        <a:pt x="105148" y="256120"/>
                      </a:lnTo>
                      <a:cubicBezTo>
                        <a:pt x="105148" y="231401"/>
                        <a:pt x="125303" y="211437"/>
                        <a:pt x="149831" y="211437"/>
                      </a:cubicBezTo>
                      <a:cubicBezTo>
                        <a:pt x="174549" y="211437"/>
                        <a:pt x="194704" y="231592"/>
                        <a:pt x="194704" y="256120"/>
                      </a:cubicBezTo>
                      <a:cubicBezTo>
                        <a:pt x="194514" y="280838"/>
                        <a:pt x="174549" y="300803"/>
                        <a:pt x="149831" y="300803"/>
                      </a:cubicBezTo>
                      <a:close/>
                      <a:moveTo>
                        <a:pt x="327803" y="247754"/>
                      </a:moveTo>
                      <a:lnTo>
                        <a:pt x="210486" y="247754"/>
                      </a:lnTo>
                      <a:cubicBezTo>
                        <a:pt x="206493" y="217901"/>
                        <a:pt x="180634" y="194704"/>
                        <a:pt x="149641" y="194704"/>
                      </a:cubicBezTo>
                      <a:cubicBezTo>
                        <a:pt x="118648" y="194704"/>
                        <a:pt x="92979" y="217901"/>
                        <a:pt x="88796" y="247754"/>
                      </a:cubicBezTo>
                      <a:lnTo>
                        <a:pt x="26049" y="247754"/>
                      </a:lnTo>
                      <a:cubicBezTo>
                        <a:pt x="20915" y="247754"/>
                        <a:pt x="16732" y="243570"/>
                        <a:pt x="16732" y="238437"/>
                      </a:cubicBezTo>
                      <a:lnTo>
                        <a:pt x="16732" y="229120"/>
                      </a:lnTo>
                      <a:lnTo>
                        <a:pt x="26049" y="229120"/>
                      </a:lnTo>
                      <a:cubicBezTo>
                        <a:pt x="40310" y="229120"/>
                        <a:pt x="52099" y="217521"/>
                        <a:pt x="52099" y="203070"/>
                      </a:cubicBezTo>
                      <a:lnTo>
                        <a:pt x="52099" y="167704"/>
                      </a:lnTo>
                      <a:cubicBezTo>
                        <a:pt x="52099" y="163141"/>
                        <a:pt x="48296" y="159338"/>
                        <a:pt x="43732" y="159338"/>
                      </a:cubicBezTo>
                      <a:lnTo>
                        <a:pt x="16542" y="159338"/>
                      </a:lnTo>
                      <a:lnTo>
                        <a:pt x="16542" y="26049"/>
                      </a:lnTo>
                      <a:cubicBezTo>
                        <a:pt x="16542" y="20915"/>
                        <a:pt x="20725" y="16732"/>
                        <a:pt x="25859" y="16732"/>
                      </a:cubicBezTo>
                      <a:lnTo>
                        <a:pt x="318296" y="16732"/>
                      </a:lnTo>
                      <a:cubicBezTo>
                        <a:pt x="323430" y="16732"/>
                        <a:pt x="327613" y="20915"/>
                        <a:pt x="327613" y="26049"/>
                      </a:cubicBezTo>
                      <a:lnTo>
                        <a:pt x="327613" y="247754"/>
                      </a:lnTo>
                      <a:close/>
                      <a:moveTo>
                        <a:pt x="363169" y="247754"/>
                      </a:moveTo>
                      <a:lnTo>
                        <a:pt x="344345" y="247754"/>
                      </a:lnTo>
                      <a:lnTo>
                        <a:pt x="344345" y="211246"/>
                      </a:lnTo>
                      <a:lnTo>
                        <a:pt x="363169" y="211246"/>
                      </a:lnTo>
                      <a:lnTo>
                        <a:pt x="363169" y="247754"/>
                      </a:lnTo>
                      <a:close/>
                      <a:moveTo>
                        <a:pt x="379711" y="43923"/>
                      </a:moveTo>
                      <a:cubicBezTo>
                        <a:pt x="379711" y="43542"/>
                        <a:pt x="379901" y="43352"/>
                        <a:pt x="380282" y="43352"/>
                      </a:cubicBezTo>
                      <a:lnTo>
                        <a:pt x="439606" y="43352"/>
                      </a:lnTo>
                      <a:cubicBezTo>
                        <a:pt x="449303" y="43352"/>
                        <a:pt x="458239" y="48486"/>
                        <a:pt x="462993" y="56852"/>
                      </a:cubicBezTo>
                      <a:lnTo>
                        <a:pt x="466035" y="62176"/>
                      </a:lnTo>
                      <a:lnTo>
                        <a:pt x="379711" y="62176"/>
                      </a:lnTo>
                      <a:lnTo>
                        <a:pt x="379711" y="43923"/>
                      </a:lnTo>
                      <a:close/>
                      <a:moveTo>
                        <a:pt x="379711" y="78718"/>
                      </a:moveTo>
                      <a:lnTo>
                        <a:pt x="475732" y="78718"/>
                      </a:lnTo>
                      <a:lnTo>
                        <a:pt x="509768" y="137092"/>
                      </a:lnTo>
                      <a:cubicBezTo>
                        <a:pt x="512239" y="141275"/>
                        <a:pt x="513380" y="146028"/>
                        <a:pt x="513380" y="150782"/>
                      </a:cubicBezTo>
                      <a:lnTo>
                        <a:pt x="513380" y="159528"/>
                      </a:lnTo>
                      <a:lnTo>
                        <a:pt x="497218" y="159528"/>
                      </a:lnTo>
                      <a:cubicBezTo>
                        <a:pt x="492275" y="159528"/>
                        <a:pt x="487711" y="157627"/>
                        <a:pt x="484289" y="154204"/>
                      </a:cubicBezTo>
                      <a:lnTo>
                        <a:pt x="473261" y="143176"/>
                      </a:lnTo>
                      <a:cubicBezTo>
                        <a:pt x="466606" y="136521"/>
                        <a:pt x="457859" y="132908"/>
                        <a:pt x="448732" y="132908"/>
                      </a:cubicBezTo>
                      <a:lnTo>
                        <a:pt x="379521" y="132908"/>
                      </a:lnTo>
                      <a:lnTo>
                        <a:pt x="379521" y="78718"/>
                      </a:lnTo>
                      <a:close/>
                      <a:moveTo>
                        <a:pt x="424585" y="300803"/>
                      </a:moveTo>
                      <a:cubicBezTo>
                        <a:pt x="399866" y="300803"/>
                        <a:pt x="379901" y="280648"/>
                        <a:pt x="379901" y="255930"/>
                      </a:cubicBezTo>
                      <a:cubicBezTo>
                        <a:pt x="379901" y="231211"/>
                        <a:pt x="400056" y="211246"/>
                        <a:pt x="424585" y="211246"/>
                      </a:cubicBezTo>
                      <a:cubicBezTo>
                        <a:pt x="449303" y="211246"/>
                        <a:pt x="469268" y="231401"/>
                        <a:pt x="469268" y="255930"/>
                      </a:cubicBezTo>
                      <a:cubicBezTo>
                        <a:pt x="469268" y="280838"/>
                        <a:pt x="449303" y="300803"/>
                        <a:pt x="424585" y="300803"/>
                      </a:cubicBezTo>
                      <a:close/>
                      <a:moveTo>
                        <a:pt x="486951" y="229500"/>
                      </a:moveTo>
                      <a:lnTo>
                        <a:pt x="486951" y="247754"/>
                      </a:lnTo>
                      <a:lnTo>
                        <a:pt x="485239" y="247754"/>
                      </a:lnTo>
                      <a:cubicBezTo>
                        <a:pt x="481247" y="217901"/>
                        <a:pt x="455387" y="194704"/>
                        <a:pt x="424394" y="194704"/>
                      </a:cubicBezTo>
                      <a:cubicBezTo>
                        <a:pt x="406711" y="194704"/>
                        <a:pt x="390739" y="202120"/>
                        <a:pt x="379711" y="214099"/>
                      </a:cubicBezTo>
                      <a:lnTo>
                        <a:pt x="379711" y="149261"/>
                      </a:lnTo>
                      <a:lnTo>
                        <a:pt x="448923" y="149261"/>
                      </a:lnTo>
                      <a:cubicBezTo>
                        <a:pt x="453866" y="149261"/>
                        <a:pt x="458430" y="151162"/>
                        <a:pt x="461852" y="154585"/>
                      </a:cubicBezTo>
                      <a:lnTo>
                        <a:pt x="472880" y="165613"/>
                      </a:lnTo>
                      <a:cubicBezTo>
                        <a:pt x="479535" y="172268"/>
                        <a:pt x="488282" y="175880"/>
                        <a:pt x="497408" y="175880"/>
                      </a:cubicBezTo>
                      <a:lnTo>
                        <a:pt x="513570" y="175880"/>
                      </a:lnTo>
                      <a:lnTo>
                        <a:pt x="513570" y="212387"/>
                      </a:lnTo>
                      <a:lnTo>
                        <a:pt x="504254" y="212387"/>
                      </a:lnTo>
                      <a:cubicBezTo>
                        <a:pt x="494747" y="212387"/>
                        <a:pt x="486951" y="220183"/>
                        <a:pt x="486951" y="229500"/>
                      </a:cubicBezTo>
                      <a:close/>
                      <a:moveTo>
                        <a:pt x="522317" y="247183"/>
                      </a:moveTo>
                      <a:cubicBezTo>
                        <a:pt x="522317" y="247563"/>
                        <a:pt x="522127" y="247754"/>
                        <a:pt x="521746" y="247754"/>
                      </a:cubicBezTo>
                      <a:lnTo>
                        <a:pt x="503493" y="247754"/>
                      </a:lnTo>
                      <a:lnTo>
                        <a:pt x="503493" y="229500"/>
                      </a:lnTo>
                      <a:cubicBezTo>
                        <a:pt x="503493" y="229120"/>
                        <a:pt x="503683" y="228930"/>
                        <a:pt x="504063" y="228930"/>
                      </a:cubicBezTo>
                      <a:lnTo>
                        <a:pt x="521746" y="228930"/>
                      </a:lnTo>
                      <a:cubicBezTo>
                        <a:pt x="522127" y="228930"/>
                        <a:pt x="522317" y="229120"/>
                        <a:pt x="522317" y="229500"/>
                      </a:cubicBezTo>
                      <a:lnTo>
                        <a:pt x="522317" y="247183"/>
                      </a:lnTo>
                      <a:close/>
                    </a:path>
                  </a:pathLst>
                </a:custGeom>
                <a:grpFill/>
                <a:ln w="1878" cap="flat">
                  <a:noFill/>
                  <a:prstDash val="solid"/>
                  <a:miter/>
                </a:ln>
              </p:spPr>
              <p:txBody>
                <a:bodyPr rtlCol="0" anchor="ctr"/>
                <a:lstStyle/>
                <a:p>
                  <a:endParaRPr lang="en-GB" noProof="0" dirty="0"/>
                </a:p>
              </p:txBody>
            </p:sp>
          </p:grpSp>
        </p:grpSp>
      </p:grpSp>
      <p:pic>
        <p:nvPicPr>
          <p:cNvPr id="420" name="Grafik 419">
            <a:extLst>
              <a:ext uri="{FF2B5EF4-FFF2-40B4-BE49-F238E27FC236}">
                <a16:creationId xmlns:a16="http://schemas.microsoft.com/office/drawing/2014/main" id="{6B51E645-597D-7EAF-0D66-973744736B6C}"/>
              </a:ext>
            </a:extLst>
          </p:cNvPr>
          <p:cNvPicPr>
            <a:picLocks noChangeAspect="1"/>
          </p:cNvPicPr>
          <p:nvPr/>
        </p:nvPicPr>
        <p:blipFill>
          <a:blip r:embed="rId3"/>
          <a:stretch>
            <a:fillRect/>
          </a:stretch>
        </p:blipFill>
        <p:spPr>
          <a:xfrm>
            <a:off x="3355475" y="2132740"/>
            <a:ext cx="193947" cy="89790"/>
          </a:xfrm>
          <a:prstGeom prst="rect">
            <a:avLst/>
          </a:prstGeom>
        </p:spPr>
      </p:pic>
      <p:grpSp>
        <p:nvGrpSpPr>
          <p:cNvPr id="10" name="Gruppieren 9">
            <a:extLst>
              <a:ext uri="{FF2B5EF4-FFF2-40B4-BE49-F238E27FC236}">
                <a16:creationId xmlns:a16="http://schemas.microsoft.com/office/drawing/2014/main" id="{34489DC5-3977-23E6-A76C-EF015451ABB8}"/>
              </a:ext>
            </a:extLst>
          </p:cNvPr>
          <p:cNvGrpSpPr/>
          <p:nvPr/>
        </p:nvGrpSpPr>
        <p:grpSpPr>
          <a:xfrm>
            <a:off x="3333612" y="2535569"/>
            <a:ext cx="360000" cy="360000"/>
            <a:chOff x="3326505" y="2872156"/>
            <a:chExt cx="360000" cy="360000"/>
          </a:xfrm>
        </p:grpSpPr>
        <p:grpSp>
          <p:nvGrpSpPr>
            <p:cNvPr id="284" name="Grafik 42">
              <a:extLst>
                <a:ext uri="{FF2B5EF4-FFF2-40B4-BE49-F238E27FC236}">
                  <a16:creationId xmlns:a16="http://schemas.microsoft.com/office/drawing/2014/main" id="{D81DFAD2-E47B-4F52-531F-12A93D262E13}"/>
                </a:ext>
              </a:extLst>
            </p:cNvPr>
            <p:cNvGrpSpPr>
              <a:grpSpLocks noChangeAspect="1"/>
            </p:cNvGrpSpPr>
            <p:nvPr/>
          </p:nvGrpSpPr>
          <p:grpSpPr>
            <a:xfrm>
              <a:off x="3326505" y="2872156"/>
              <a:ext cx="360000" cy="360000"/>
              <a:chOff x="1890251" y="3930400"/>
              <a:chExt cx="540000" cy="540000"/>
            </a:xfrm>
            <a:solidFill>
              <a:schemeClr val="accent1"/>
            </a:solidFill>
          </p:grpSpPr>
          <p:grpSp>
            <p:nvGrpSpPr>
              <p:cNvPr id="285" name="Grafik 42">
                <a:extLst>
                  <a:ext uri="{FF2B5EF4-FFF2-40B4-BE49-F238E27FC236}">
                    <a16:creationId xmlns:a16="http://schemas.microsoft.com/office/drawing/2014/main" id="{0FFCB52C-C101-3C5F-4D5C-25C24E64396B}"/>
                  </a:ext>
                </a:extLst>
              </p:cNvPr>
              <p:cNvGrpSpPr/>
              <p:nvPr/>
            </p:nvGrpSpPr>
            <p:grpSpPr>
              <a:xfrm>
                <a:off x="1890251" y="3930400"/>
                <a:ext cx="539429" cy="538859"/>
                <a:chOff x="1890251" y="3930400"/>
                <a:chExt cx="539429" cy="538859"/>
              </a:xfrm>
              <a:grpFill/>
            </p:grpSpPr>
            <p:grpSp>
              <p:nvGrpSpPr>
                <p:cNvPr id="286" name="Grafik 42">
                  <a:extLst>
                    <a:ext uri="{FF2B5EF4-FFF2-40B4-BE49-F238E27FC236}">
                      <a16:creationId xmlns:a16="http://schemas.microsoft.com/office/drawing/2014/main" id="{64B0A4DF-278B-8716-D15C-F78CCB495ABD}"/>
                    </a:ext>
                  </a:extLst>
                </p:cNvPr>
                <p:cNvGrpSpPr/>
                <p:nvPr/>
              </p:nvGrpSpPr>
              <p:grpSpPr>
                <a:xfrm>
                  <a:off x="1890251" y="4151914"/>
                  <a:ext cx="539429" cy="317345"/>
                  <a:chOff x="1890251" y="4151914"/>
                  <a:chExt cx="539429" cy="317345"/>
                </a:xfrm>
                <a:grpFill/>
              </p:grpSpPr>
              <p:sp>
                <p:nvSpPr>
                  <p:cNvPr id="287" name="Freihandform: Form 286">
                    <a:extLst>
                      <a:ext uri="{FF2B5EF4-FFF2-40B4-BE49-F238E27FC236}">
                        <a16:creationId xmlns:a16="http://schemas.microsoft.com/office/drawing/2014/main" id="{BE5DA627-48AB-E72F-7249-7A7D5B27BEA3}"/>
                      </a:ext>
                    </a:extLst>
                  </p:cNvPr>
                  <p:cNvSpPr/>
                  <p:nvPr/>
                </p:nvSpPr>
                <p:spPr>
                  <a:xfrm>
                    <a:off x="2014032" y="4381984"/>
                    <a:ext cx="52098" cy="52098"/>
                  </a:xfrm>
                  <a:custGeom>
                    <a:avLst/>
                    <a:gdLst>
                      <a:gd name="connsiteX0" fmla="*/ 26049 w 52098"/>
                      <a:gd name="connsiteY0" fmla="*/ 0 h 52098"/>
                      <a:gd name="connsiteX1" fmla="*/ 0 w 52098"/>
                      <a:gd name="connsiteY1" fmla="*/ 26049 h 52098"/>
                      <a:gd name="connsiteX2" fmla="*/ 26049 w 52098"/>
                      <a:gd name="connsiteY2" fmla="*/ 52099 h 52098"/>
                      <a:gd name="connsiteX3" fmla="*/ 52099 w 52098"/>
                      <a:gd name="connsiteY3" fmla="*/ 26049 h 52098"/>
                      <a:gd name="connsiteX4" fmla="*/ 26049 w 52098"/>
                      <a:gd name="connsiteY4" fmla="*/ 0 h 52098"/>
                      <a:gd name="connsiteX5" fmla="*/ 26049 w 52098"/>
                      <a:gd name="connsiteY5" fmla="*/ 35366 h 52098"/>
                      <a:gd name="connsiteX6" fmla="*/ 16732 w 52098"/>
                      <a:gd name="connsiteY6" fmla="*/ 26049 h 52098"/>
                      <a:gd name="connsiteX7" fmla="*/ 26049 w 52098"/>
                      <a:gd name="connsiteY7" fmla="*/ 16732 h 52098"/>
                      <a:gd name="connsiteX8" fmla="*/ 35366 w 52098"/>
                      <a:gd name="connsiteY8" fmla="*/ 26049 h 52098"/>
                      <a:gd name="connsiteX9" fmla="*/ 26049 w 52098"/>
                      <a:gd name="connsiteY9" fmla="*/ 35366 h 52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098" h="52098">
                        <a:moveTo>
                          <a:pt x="26049" y="0"/>
                        </a:moveTo>
                        <a:cubicBezTo>
                          <a:pt x="11789" y="0"/>
                          <a:pt x="0" y="11599"/>
                          <a:pt x="0" y="26049"/>
                        </a:cubicBezTo>
                        <a:cubicBezTo>
                          <a:pt x="0" y="40310"/>
                          <a:pt x="11599" y="52099"/>
                          <a:pt x="26049" y="52099"/>
                        </a:cubicBezTo>
                        <a:cubicBezTo>
                          <a:pt x="40310" y="52099"/>
                          <a:pt x="52099" y="40500"/>
                          <a:pt x="52099" y="26049"/>
                        </a:cubicBezTo>
                        <a:cubicBezTo>
                          <a:pt x="51908" y="11789"/>
                          <a:pt x="40310" y="0"/>
                          <a:pt x="26049" y="0"/>
                        </a:cubicBezTo>
                        <a:close/>
                        <a:moveTo>
                          <a:pt x="26049" y="35366"/>
                        </a:moveTo>
                        <a:cubicBezTo>
                          <a:pt x="20915" y="35366"/>
                          <a:pt x="16732" y="31183"/>
                          <a:pt x="16732" y="26049"/>
                        </a:cubicBezTo>
                        <a:cubicBezTo>
                          <a:pt x="16732" y="20915"/>
                          <a:pt x="20915" y="16732"/>
                          <a:pt x="26049" y="16732"/>
                        </a:cubicBezTo>
                        <a:cubicBezTo>
                          <a:pt x="31183" y="16732"/>
                          <a:pt x="35366" y="20915"/>
                          <a:pt x="35366" y="26049"/>
                        </a:cubicBezTo>
                        <a:cubicBezTo>
                          <a:pt x="35366" y="31183"/>
                          <a:pt x="31183" y="35366"/>
                          <a:pt x="26049" y="35366"/>
                        </a:cubicBezTo>
                        <a:close/>
                      </a:path>
                    </a:pathLst>
                  </a:custGeom>
                  <a:grpFill/>
                  <a:ln w="1878" cap="flat">
                    <a:noFill/>
                    <a:prstDash val="solid"/>
                    <a:miter/>
                  </a:ln>
                </p:spPr>
                <p:txBody>
                  <a:bodyPr rtlCol="0" anchor="ctr"/>
                  <a:lstStyle/>
                  <a:p>
                    <a:endParaRPr lang="en-GB" noProof="0" dirty="0"/>
                  </a:p>
                </p:txBody>
              </p:sp>
              <p:sp>
                <p:nvSpPr>
                  <p:cNvPr id="288" name="Freihandform: Form 287">
                    <a:extLst>
                      <a:ext uri="{FF2B5EF4-FFF2-40B4-BE49-F238E27FC236}">
                        <a16:creationId xmlns:a16="http://schemas.microsoft.com/office/drawing/2014/main" id="{22F19643-199A-173E-A84F-DBF1C01BE4D4}"/>
                      </a:ext>
                    </a:extLst>
                  </p:cNvPr>
                  <p:cNvSpPr/>
                  <p:nvPr/>
                </p:nvSpPr>
                <p:spPr>
                  <a:xfrm>
                    <a:off x="2288786" y="4381984"/>
                    <a:ext cx="52098" cy="52098"/>
                  </a:xfrm>
                  <a:custGeom>
                    <a:avLst/>
                    <a:gdLst>
                      <a:gd name="connsiteX0" fmla="*/ 26049 w 52098"/>
                      <a:gd name="connsiteY0" fmla="*/ 0 h 52098"/>
                      <a:gd name="connsiteX1" fmla="*/ 0 w 52098"/>
                      <a:gd name="connsiteY1" fmla="*/ 26049 h 52098"/>
                      <a:gd name="connsiteX2" fmla="*/ 26049 w 52098"/>
                      <a:gd name="connsiteY2" fmla="*/ 52099 h 52098"/>
                      <a:gd name="connsiteX3" fmla="*/ 52099 w 52098"/>
                      <a:gd name="connsiteY3" fmla="*/ 26049 h 52098"/>
                      <a:gd name="connsiteX4" fmla="*/ 26049 w 52098"/>
                      <a:gd name="connsiteY4" fmla="*/ 0 h 52098"/>
                      <a:gd name="connsiteX5" fmla="*/ 26049 w 52098"/>
                      <a:gd name="connsiteY5" fmla="*/ 35366 h 52098"/>
                      <a:gd name="connsiteX6" fmla="*/ 16732 w 52098"/>
                      <a:gd name="connsiteY6" fmla="*/ 26049 h 52098"/>
                      <a:gd name="connsiteX7" fmla="*/ 26049 w 52098"/>
                      <a:gd name="connsiteY7" fmla="*/ 16732 h 52098"/>
                      <a:gd name="connsiteX8" fmla="*/ 35366 w 52098"/>
                      <a:gd name="connsiteY8" fmla="*/ 26049 h 52098"/>
                      <a:gd name="connsiteX9" fmla="*/ 26049 w 52098"/>
                      <a:gd name="connsiteY9" fmla="*/ 35366 h 52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098" h="52098">
                        <a:moveTo>
                          <a:pt x="26049" y="0"/>
                        </a:moveTo>
                        <a:cubicBezTo>
                          <a:pt x="11789" y="0"/>
                          <a:pt x="0" y="11599"/>
                          <a:pt x="0" y="26049"/>
                        </a:cubicBezTo>
                        <a:cubicBezTo>
                          <a:pt x="0" y="40310"/>
                          <a:pt x="11599" y="52099"/>
                          <a:pt x="26049" y="52099"/>
                        </a:cubicBezTo>
                        <a:cubicBezTo>
                          <a:pt x="40310" y="52099"/>
                          <a:pt x="52099" y="40500"/>
                          <a:pt x="52099" y="26049"/>
                        </a:cubicBezTo>
                        <a:cubicBezTo>
                          <a:pt x="51908" y="11789"/>
                          <a:pt x="40310" y="0"/>
                          <a:pt x="26049" y="0"/>
                        </a:cubicBezTo>
                        <a:close/>
                        <a:moveTo>
                          <a:pt x="26049" y="35366"/>
                        </a:moveTo>
                        <a:cubicBezTo>
                          <a:pt x="20915" y="35366"/>
                          <a:pt x="16732" y="31183"/>
                          <a:pt x="16732" y="26049"/>
                        </a:cubicBezTo>
                        <a:cubicBezTo>
                          <a:pt x="16732" y="20915"/>
                          <a:pt x="20915" y="16732"/>
                          <a:pt x="26049" y="16732"/>
                        </a:cubicBezTo>
                        <a:cubicBezTo>
                          <a:pt x="31183" y="16732"/>
                          <a:pt x="35366" y="20915"/>
                          <a:pt x="35366" y="26049"/>
                        </a:cubicBezTo>
                        <a:cubicBezTo>
                          <a:pt x="35366" y="31183"/>
                          <a:pt x="31183" y="35366"/>
                          <a:pt x="26049" y="35366"/>
                        </a:cubicBezTo>
                        <a:close/>
                      </a:path>
                    </a:pathLst>
                  </a:custGeom>
                  <a:grpFill/>
                  <a:ln w="1878" cap="flat">
                    <a:noFill/>
                    <a:prstDash val="solid"/>
                    <a:miter/>
                  </a:ln>
                </p:spPr>
                <p:txBody>
                  <a:bodyPr rtlCol="0" anchor="ctr"/>
                  <a:lstStyle/>
                  <a:p>
                    <a:endParaRPr lang="en-GB" noProof="0" dirty="0"/>
                  </a:p>
                </p:txBody>
              </p:sp>
              <p:sp>
                <p:nvSpPr>
                  <p:cNvPr id="289" name="Freihandform: Form 288">
                    <a:extLst>
                      <a:ext uri="{FF2B5EF4-FFF2-40B4-BE49-F238E27FC236}">
                        <a16:creationId xmlns:a16="http://schemas.microsoft.com/office/drawing/2014/main" id="{EB831E60-6DAD-9786-6938-CB8309E577A7}"/>
                      </a:ext>
                    </a:extLst>
                  </p:cNvPr>
                  <p:cNvSpPr/>
                  <p:nvPr/>
                </p:nvSpPr>
                <p:spPr>
                  <a:xfrm>
                    <a:off x="1890251" y="4151914"/>
                    <a:ext cx="539429" cy="317345"/>
                  </a:xfrm>
                  <a:custGeom>
                    <a:avLst/>
                    <a:gdLst>
                      <a:gd name="connsiteX0" fmla="*/ 530113 w 539429"/>
                      <a:gd name="connsiteY0" fmla="*/ 214669 h 317345"/>
                      <a:gd name="connsiteX1" fmla="*/ 530113 w 539429"/>
                      <a:gd name="connsiteY1" fmla="*/ 150782 h 317345"/>
                      <a:gd name="connsiteX2" fmla="*/ 524218 w 539429"/>
                      <a:gd name="connsiteY2" fmla="*/ 128725 h 317345"/>
                      <a:gd name="connsiteX3" fmla="*/ 477254 w 539429"/>
                      <a:gd name="connsiteY3" fmla="*/ 48296 h 317345"/>
                      <a:gd name="connsiteX4" fmla="*/ 439606 w 539429"/>
                      <a:gd name="connsiteY4" fmla="*/ 26620 h 317345"/>
                      <a:gd name="connsiteX5" fmla="*/ 380282 w 539429"/>
                      <a:gd name="connsiteY5" fmla="*/ 26620 h 317345"/>
                      <a:gd name="connsiteX6" fmla="*/ 363169 w 539429"/>
                      <a:gd name="connsiteY6" fmla="*/ 43732 h 317345"/>
                      <a:gd name="connsiteX7" fmla="*/ 363169 w 539429"/>
                      <a:gd name="connsiteY7" fmla="*/ 194704 h 317345"/>
                      <a:gd name="connsiteX8" fmla="*/ 344345 w 539429"/>
                      <a:gd name="connsiteY8" fmla="*/ 194704 h 317345"/>
                      <a:gd name="connsiteX9" fmla="*/ 344345 w 539429"/>
                      <a:gd name="connsiteY9" fmla="*/ 26049 h 317345"/>
                      <a:gd name="connsiteX10" fmla="*/ 318296 w 539429"/>
                      <a:gd name="connsiteY10" fmla="*/ 0 h 317345"/>
                      <a:gd name="connsiteX11" fmla="*/ 26049 w 539429"/>
                      <a:gd name="connsiteY11" fmla="*/ 0 h 317345"/>
                      <a:gd name="connsiteX12" fmla="*/ 0 w 539429"/>
                      <a:gd name="connsiteY12" fmla="*/ 26049 h 317345"/>
                      <a:gd name="connsiteX13" fmla="*/ 0 w 539429"/>
                      <a:gd name="connsiteY13" fmla="*/ 238246 h 317345"/>
                      <a:gd name="connsiteX14" fmla="*/ 26049 w 539429"/>
                      <a:gd name="connsiteY14" fmla="*/ 264296 h 317345"/>
                      <a:gd name="connsiteX15" fmla="*/ 89176 w 539429"/>
                      <a:gd name="connsiteY15" fmla="*/ 264296 h 317345"/>
                      <a:gd name="connsiteX16" fmla="*/ 150021 w 539429"/>
                      <a:gd name="connsiteY16" fmla="*/ 317345 h 317345"/>
                      <a:gd name="connsiteX17" fmla="*/ 210866 w 539429"/>
                      <a:gd name="connsiteY17" fmla="*/ 264296 h 317345"/>
                      <a:gd name="connsiteX18" fmla="*/ 364120 w 539429"/>
                      <a:gd name="connsiteY18" fmla="*/ 264296 h 317345"/>
                      <a:gd name="connsiteX19" fmla="*/ 424965 w 539429"/>
                      <a:gd name="connsiteY19" fmla="*/ 317345 h 317345"/>
                      <a:gd name="connsiteX20" fmla="*/ 485810 w 539429"/>
                      <a:gd name="connsiteY20" fmla="*/ 264296 h 317345"/>
                      <a:gd name="connsiteX21" fmla="*/ 522317 w 539429"/>
                      <a:gd name="connsiteY21" fmla="*/ 264296 h 317345"/>
                      <a:gd name="connsiteX22" fmla="*/ 539430 w 539429"/>
                      <a:gd name="connsiteY22" fmla="*/ 247183 h 317345"/>
                      <a:gd name="connsiteX23" fmla="*/ 539430 w 539429"/>
                      <a:gd name="connsiteY23" fmla="*/ 229500 h 317345"/>
                      <a:gd name="connsiteX24" fmla="*/ 530113 w 539429"/>
                      <a:gd name="connsiteY24" fmla="*/ 214669 h 317345"/>
                      <a:gd name="connsiteX25" fmla="*/ 16542 w 539429"/>
                      <a:gd name="connsiteY25" fmla="*/ 175880 h 317345"/>
                      <a:gd name="connsiteX26" fmla="*/ 35366 w 539429"/>
                      <a:gd name="connsiteY26" fmla="*/ 175880 h 317345"/>
                      <a:gd name="connsiteX27" fmla="*/ 35366 w 539429"/>
                      <a:gd name="connsiteY27" fmla="*/ 202880 h 317345"/>
                      <a:gd name="connsiteX28" fmla="*/ 26049 w 539429"/>
                      <a:gd name="connsiteY28" fmla="*/ 212197 h 317345"/>
                      <a:gd name="connsiteX29" fmla="*/ 16542 w 539429"/>
                      <a:gd name="connsiteY29" fmla="*/ 212197 h 317345"/>
                      <a:gd name="connsiteX30" fmla="*/ 16542 w 539429"/>
                      <a:gd name="connsiteY30" fmla="*/ 175880 h 317345"/>
                      <a:gd name="connsiteX31" fmla="*/ 149831 w 539429"/>
                      <a:gd name="connsiteY31" fmla="*/ 300803 h 317345"/>
                      <a:gd name="connsiteX32" fmla="*/ 105148 w 539429"/>
                      <a:gd name="connsiteY32" fmla="*/ 256120 h 317345"/>
                      <a:gd name="connsiteX33" fmla="*/ 105148 w 539429"/>
                      <a:gd name="connsiteY33" fmla="*/ 256120 h 317345"/>
                      <a:gd name="connsiteX34" fmla="*/ 105148 w 539429"/>
                      <a:gd name="connsiteY34" fmla="*/ 256120 h 317345"/>
                      <a:gd name="connsiteX35" fmla="*/ 149831 w 539429"/>
                      <a:gd name="connsiteY35" fmla="*/ 211437 h 317345"/>
                      <a:gd name="connsiteX36" fmla="*/ 194704 w 539429"/>
                      <a:gd name="connsiteY36" fmla="*/ 256120 h 317345"/>
                      <a:gd name="connsiteX37" fmla="*/ 149831 w 539429"/>
                      <a:gd name="connsiteY37" fmla="*/ 300803 h 317345"/>
                      <a:gd name="connsiteX38" fmla="*/ 327803 w 539429"/>
                      <a:gd name="connsiteY38" fmla="*/ 247754 h 317345"/>
                      <a:gd name="connsiteX39" fmla="*/ 210486 w 539429"/>
                      <a:gd name="connsiteY39" fmla="*/ 247754 h 317345"/>
                      <a:gd name="connsiteX40" fmla="*/ 149641 w 539429"/>
                      <a:gd name="connsiteY40" fmla="*/ 194704 h 317345"/>
                      <a:gd name="connsiteX41" fmla="*/ 88796 w 539429"/>
                      <a:gd name="connsiteY41" fmla="*/ 247754 h 317345"/>
                      <a:gd name="connsiteX42" fmla="*/ 26049 w 539429"/>
                      <a:gd name="connsiteY42" fmla="*/ 247754 h 317345"/>
                      <a:gd name="connsiteX43" fmla="*/ 16732 w 539429"/>
                      <a:gd name="connsiteY43" fmla="*/ 238437 h 317345"/>
                      <a:gd name="connsiteX44" fmla="*/ 16732 w 539429"/>
                      <a:gd name="connsiteY44" fmla="*/ 229120 h 317345"/>
                      <a:gd name="connsiteX45" fmla="*/ 26049 w 539429"/>
                      <a:gd name="connsiteY45" fmla="*/ 229120 h 317345"/>
                      <a:gd name="connsiteX46" fmla="*/ 52099 w 539429"/>
                      <a:gd name="connsiteY46" fmla="*/ 203070 h 317345"/>
                      <a:gd name="connsiteX47" fmla="*/ 52099 w 539429"/>
                      <a:gd name="connsiteY47" fmla="*/ 167704 h 317345"/>
                      <a:gd name="connsiteX48" fmla="*/ 43732 w 539429"/>
                      <a:gd name="connsiteY48" fmla="*/ 159338 h 317345"/>
                      <a:gd name="connsiteX49" fmla="*/ 16542 w 539429"/>
                      <a:gd name="connsiteY49" fmla="*/ 159338 h 317345"/>
                      <a:gd name="connsiteX50" fmla="*/ 16542 w 539429"/>
                      <a:gd name="connsiteY50" fmla="*/ 26049 h 317345"/>
                      <a:gd name="connsiteX51" fmla="*/ 25859 w 539429"/>
                      <a:gd name="connsiteY51" fmla="*/ 16732 h 317345"/>
                      <a:gd name="connsiteX52" fmla="*/ 318296 w 539429"/>
                      <a:gd name="connsiteY52" fmla="*/ 16732 h 317345"/>
                      <a:gd name="connsiteX53" fmla="*/ 327613 w 539429"/>
                      <a:gd name="connsiteY53" fmla="*/ 26049 h 317345"/>
                      <a:gd name="connsiteX54" fmla="*/ 327613 w 539429"/>
                      <a:gd name="connsiteY54" fmla="*/ 247754 h 317345"/>
                      <a:gd name="connsiteX55" fmla="*/ 363169 w 539429"/>
                      <a:gd name="connsiteY55" fmla="*/ 247754 h 317345"/>
                      <a:gd name="connsiteX56" fmla="*/ 344345 w 539429"/>
                      <a:gd name="connsiteY56" fmla="*/ 247754 h 317345"/>
                      <a:gd name="connsiteX57" fmla="*/ 344345 w 539429"/>
                      <a:gd name="connsiteY57" fmla="*/ 211246 h 317345"/>
                      <a:gd name="connsiteX58" fmla="*/ 363169 w 539429"/>
                      <a:gd name="connsiteY58" fmla="*/ 211246 h 317345"/>
                      <a:gd name="connsiteX59" fmla="*/ 363169 w 539429"/>
                      <a:gd name="connsiteY59" fmla="*/ 247754 h 317345"/>
                      <a:gd name="connsiteX60" fmla="*/ 379711 w 539429"/>
                      <a:gd name="connsiteY60" fmla="*/ 43923 h 317345"/>
                      <a:gd name="connsiteX61" fmla="*/ 380282 w 539429"/>
                      <a:gd name="connsiteY61" fmla="*/ 43352 h 317345"/>
                      <a:gd name="connsiteX62" fmla="*/ 439606 w 539429"/>
                      <a:gd name="connsiteY62" fmla="*/ 43352 h 317345"/>
                      <a:gd name="connsiteX63" fmla="*/ 462993 w 539429"/>
                      <a:gd name="connsiteY63" fmla="*/ 56852 h 317345"/>
                      <a:gd name="connsiteX64" fmla="*/ 466035 w 539429"/>
                      <a:gd name="connsiteY64" fmla="*/ 62176 h 317345"/>
                      <a:gd name="connsiteX65" fmla="*/ 379711 w 539429"/>
                      <a:gd name="connsiteY65" fmla="*/ 62176 h 317345"/>
                      <a:gd name="connsiteX66" fmla="*/ 379711 w 539429"/>
                      <a:gd name="connsiteY66" fmla="*/ 43923 h 317345"/>
                      <a:gd name="connsiteX67" fmla="*/ 379711 w 539429"/>
                      <a:gd name="connsiteY67" fmla="*/ 78718 h 317345"/>
                      <a:gd name="connsiteX68" fmla="*/ 475732 w 539429"/>
                      <a:gd name="connsiteY68" fmla="*/ 78718 h 317345"/>
                      <a:gd name="connsiteX69" fmla="*/ 509768 w 539429"/>
                      <a:gd name="connsiteY69" fmla="*/ 137092 h 317345"/>
                      <a:gd name="connsiteX70" fmla="*/ 513380 w 539429"/>
                      <a:gd name="connsiteY70" fmla="*/ 150782 h 317345"/>
                      <a:gd name="connsiteX71" fmla="*/ 513380 w 539429"/>
                      <a:gd name="connsiteY71" fmla="*/ 159528 h 317345"/>
                      <a:gd name="connsiteX72" fmla="*/ 497218 w 539429"/>
                      <a:gd name="connsiteY72" fmla="*/ 159528 h 317345"/>
                      <a:gd name="connsiteX73" fmla="*/ 484289 w 539429"/>
                      <a:gd name="connsiteY73" fmla="*/ 154204 h 317345"/>
                      <a:gd name="connsiteX74" fmla="*/ 473261 w 539429"/>
                      <a:gd name="connsiteY74" fmla="*/ 143176 h 317345"/>
                      <a:gd name="connsiteX75" fmla="*/ 448732 w 539429"/>
                      <a:gd name="connsiteY75" fmla="*/ 132908 h 317345"/>
                      <a:gd name="connsiteX76" fmla="*/ 379521 w 539429"/>
                      <a:gd name="connsiteY76" fmla="*/ 132908 h 317345"/>
                      <a:gd name="connsiteX77" fmla="*/ 379521 w 539429"/>
                      <a:gd name="connsiteY77" fmla="*/ 78718 h 317345"/>
                      <a:gd name="connsiteX78" fmla="*/ 424585 w 539429"/>
                      <a:gd name="connsiteY78" fmla="*/ 300803 h 317345"/>
                      <a:gd name="connsiteX79" fmla="*/ 379901 w 539429"/>
                      <a:gd name="connsiteY79" fmla="*/ 255930 h 317345"/>
                      <a:gd name="connsiteX80" fmla="*/ 424585 w 539429"/>
                      <a:gd name="connsiteY80" fmla="*/ 211246 h 317345"/>
                      <a:gd name="connsiteX81" fmla="*/ 469268 w 539429"/>
                      <a:gd name="connsiteY81" fmla="*/ 255930 h 317345"/>
                      <a:gd name="connsiteX82" fmla="*/ 424585 w 539429"/>
                      <a:gd name="connsiteY82" fmla="*/ 300803 h 317345"/>
                      <a:gd name="connsiteX83" fmla="*/ 486951 w 539429"/>
                      <a:gd name="connsiteY83" fmla="*/ 229500 h 317345"/>
                      <a:gd name="connsiteX84" fmla="*/ 486951 w 539429"/>
                      <a:gd name="connsiteY84" fmla="*/ 247754 h 317345"/>
                      <a:gd name="connsiteX85" fmla="*/ 485239 w 539429"/>
                      <a:gd name="connsiteY85" fmla="*/ 247754 h 317345"/>
                      <a:gd name="connsiteX86" fmla="*/ 424394 w 539429"/>
                      <a:gd name="connsiteY86" fmla="*/ 194704 h 317345"/>
                      <a:gd name="connsiteX87" fmla="*/ 379711 w 539429"/>
                      <a:gd name="connsiteY87" fmla="*/ 214099 h 317345"/>
                      <a:gd name="connsiteX88" fmla="*/ 379711 w 539429"/>
                      <a:gd name="connsiteY88" fmla="*/ 149261 h 317345"/>
                      <a:gd name="connsiteX89" fmla="*/ 448923 w 539429"/>
                      <a:gd name="connsiteY89" fmla="*/ 149261 h 317345"/>
                      <a:gd name="connsiteX90" fmla="*/ 461852 w 539429"/>
                      <a:gd name="connsiteY90" fmla="*/ 154585 h 317345"/>
                      <a:gd name="connsiteX91" fmla="*/ 472880 w 539429"/>
                      <a:gd name="connsiteY91" fmla="*/ 165613 h 317345"/>
                      <a:gd name="connsiteX92" fmla="*/ 497408 w 539429"/>
                      <a:gd name="connsiteY92" fmla="*/ 175880 h 317345"/>
                      <a:gd name="connsiteX93" fmla="*/ 513570 w 539429"/>
                      <a:gd name="connsiteY93" fmla="*/ 175880 h 317345"/>
                      <a:gd name="connsiteX94" fmla="*/ 513570 w 539429"/>
                      <a:gd name="connsiteY94" fmla="*/ 212387 h 317345"/>
                      <a:gd name="connsiteX95" fmla="*/ 504254 w 539429"/>
                      <a:gd name="connsiteY95" fmla="*/ 212387 h 317345"/>
                      <a:gd name="connsiteX96" fmla="*/ 486951 w 539429"/>
                      <a:gd name="connsiteY96" fmla="*/ 229500 h 317345"/>
                      <a:gd name="connsiteX97" fmla="*/ 522317 w 539429"/>
                      <a:gd name="connsiteY97" fmla="*/ 247183 h 317345"/>
                      <a:gd name="connsiteX98" fmla="*/ 521746 w 539429"/>
                      <a:gd name="connsiteY98" fmla="*/ 247754 h 317345"/>
                      <a:gd name="connsiteX99" fmla="*/ 503493 w 539429"/>
                      <a:gd name="connsiteY99" fmla="*/ 247754 h 317345"/>
                      <a:gd name="connsiteX100" fmla="*/ 503493 w 539429"/>
                      <a:gd name="connsiteY100" fmla="*/ 229500 h 317345"/>
                      <a:gd name="connsiteX101" fmla="*/ 504063 w 539429"/>
                      <a:gd name="connsiteY101" fmla="*/ 228930 h 317345"/>
                      <a:gd name="connsiteX102" fmla="*/ 521746 w 539429"/>
                      <a:gd name="connsiteY102" fmla="*/ 228930 h 317345"/>
                      <a:gd name="connsiteX103" fmla="*/ 522317 w 539429"/>
                      <a:gd name="connsiteY103" fmla="*/ 229500 h 317345"/>
                      <a:gd name="connsiteX104" fmla="*/ 522317 w 539429"/>
                      <a:gd name="connsiteY104" fmla="*/ 247183 h 317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539429" h="317345">
                        <a:moveTo>
                          <a:pt x="530113" y="214669"/>
                        </a:moveTo>
                        <a:lnTo>
                          <a:pt x="530113" y="150782"/>
                        </a:lnTo>
                        <a:cubicBezTo>
                          <a:pt x="530113" y="142986"/>
                          <a:pt x="528021" y="135380"/>
                          <a:pt x="524218" y="128725"/>
                        </a:cubicBezTo>
                        <a:lnTo>
                          <a:pt x="477254" y="48296"/>
                        </a:lnTo>
                        <a:cubicBezTo>
                          <a:pt x="469458" y="34986"/>
                          <a:pt x="455007" y="26620"/>
                          <a:pt x="439606" y="26620"/>
                        </a:cubicBezTo>
                        <a:lnTo>
                          <a:pt x="380282" y="26620"/>
                        </a:lnTo>
                        <a:cubicBezTo>
                          <a:pt x="370775" y="26620"/>
                          <a:pt x="363169" y="34225"/>
                          <a:pt x="363169" y="43732"/>
                        </a:cubicBezTo>
                        <a:lnTo>
                          <a:pt x="363169" y="194704"/>
                        </a:lnTo>
                        <a:lnTo>
                          <a:pt x="344345" y="194704"/>
                        </a:lnTo>
                        <a:lnTo>
                          <a:pt x="344345" y="26049"/>
                        </a:lnTo>
                        <a:cubicBezTo>
                          <a:pt x="344345" y="11789"/>
                          <a:pt x="332746" y="0"/>
                          <a:pt x="318296" y="0"/>
                        </a:cubicBezTo>
                        <a:lnTo>
                          <a:pt x="26049" y="0"/>
                        </a:lnTo>
                        <a:cubicBezTo>
                          <a:pt x="11789" y="0"/>
                          <a:pt x="0" y="11599"/>
                          <a:pt x="0" y="26049"/>
                        </a:cubicBezTo>
                        <a:lnTo>
                          <a:pt x="0" y="238246"/>
                        </a:lnTo>
                        <a:cubicBezTo>
                          <a:pt x="0" y="252507"/>
                          <a:pt x="11599" y="264296"/>
                          <a:pt x="26049" y="264296"/>
                        </a:cubicBezTo>
                        <a:lnTo>
                          <a:pt x="89176" y="264296"/>
                        </a:lnTo>
                        <a:cubicBezTo>
                          <a:pt x="93169" y="294148"/>
                          <a:pt x="118838" y="317345"/>
                          <a:pt x="150021" y="317345"/>
                        </a:cubicBezTo>
                        <a:cubicBezTo>
                          <a:pt x="181014" y="317345"/>
                          <a:pt x="206683" y="294148"/>
                          <a:pt x="210866" y="264296"/>
                        </a:cubicBezTo>
                        <a:lnTo>
                          <a:pt x="364120" y="264296"/>
                        </a:lnTo>
                        <a:cubicBezTo>
                          <a:pt x="368113" y="294148"/>
                          <a:pt x="393972" y="317345"/>
                          <a:pt x="424965" y="317345"/>
                        </a:cubicBezTo>
                        <a:cubicBezTo>
                          <a:pt x="455958" y="317345"/>
                          <a:pt x="481627" y="294148"/>
                          <a:pt x="485810" y="264296"/>
                        </a:cubicBezTo>
                        <a:lnTo>
                          <a:pt x="522317" y="264296"/>
                        </a:lnTo>
                        <a:cubicBezTo>
                          <a:pt x="531824" y="264296"/>
                          <a:pt x="539430" y="256690"/>
                          <a:pt x="539430" y="247183"/>
                        </a:cubicBezTo>
                        <a:lnTo>
                          <a:pt x="539430" y="229500"/>
                        </a:lnTo>
                        <a:cubicBezTo>
                          <a:pt x="539049" y="223225"/>
                          <a:pt x="535437" y="217521"/>
                          <a:pt x="530113" y="214669"/>
                        </a:cubicBezTo>
                        <a:close/>
                        <a:moveTo>
                          <a:pt x="16542" y="175880"/>
                        </a:moveTo>
                        <a:lnTo>
                          <a:pt x="35366" y="175880"/>
                        </a:lnTo>
                        <a:lnTo>
                          <a:pt x="35366" y="202880"/>
                        </a:lnTo>
                        <a:cubicBezTo>
                          <a:pt x="35366" y="208014"/>
                          <a:pt x="31183" y="212197"/>
                          <a:pt x="26049" y="212197"/>
                        </a:cubicBezTo>
                        <a:lnTo>
                          <a:pt x="16542" y="212197"/>
                        </a:lnTo>
                        <a:lnTo>
                          <a:pt x="16542" y="175880"/>
                        </a:lnTo>
                        <a:close/>
                        <a:moveTo>
                          <a:pt x="149831" y="300803"/>
                        </a:moveTo>
                        <a:cubicBezTo>
                          <a:pt x="125113" y="300803"/>
                          <a:pt x="105148" y="280648"/>
                          <a:pt x="105148" y="256120"/>
                        </a:cubicBezTo>
                        <a:lnTo>
                          <a:pt x="105148" y="256120"/>
                        </a:lnTo>
                        <a:lnTo>
                          <a:pt x="105148" y="256120"/>
                        </a:lnTo>
                        <a:cubicBezTo>
                          <a:pt x="105148" y="231401"/>
                          <a:pt x="125303" y="211437"/>
                          <a:pt x="149831" y="211437"/>
                        </a:cubicBezTo>
                        <a:cubicBezTo>
                          <a:pt x="174549" y="211437"/>
                          <a:pt x="194704" y="231592"/>
                          <a:pt x="194704" y="256120"/>
                        </a:cubicBezTo>
                        <a:cubicBezTo>
                          <a:pt x="194514" y="280838"/>
                          <a:pt x="174549" y="300803"/>
                          <a:pt x="149831" y="300803"/>
                        </a:cubicBezTo>
                        <a:close/>
                        <a:moveTo>
                          <a:pt x="327803" y="247754"/>
                        </a:moveTo>
                        <a:lnTo>
                          <a:pt x="210486" y="247754"/>
                        </a:lnTo>
                        <a:cubicBezTo>
                          <a:pt x="206493" y="217901"/>
                          <a:pt x="180634" y="194704"/>
                          <a:pt x="149641" y="194704"/>
                        </a:cubicBezTo>
                        <a:cubicBezTo>
                          <a:pt x="118648" y="194704"/>
                          <a:pt x="92979" y="217901"/>
                          <a:pt x="88796" y="247754"/>
                        </a:cubicBezTo>
                        <a:lnTo>
                          <a:pt x="26049" y="247754"/>
                        </a:lnTo>
                        <a:cubicBezTo>
                          <a:pt x="20915" y="247754"/>
                          <a:pt x="16732" y="243570"/>
                          <a:pt x="16732" y="238437"/>
                        </a:cubicBezTo>
                        <a:lnTo>
                          <a:pt x="16732" y="229120"/>
                        </a:lnTo>
                        <a:lnTo>
                          <a:pt x="26049" y="229120"/>
                        </a:lnTo>
                        <a:cubicBezTo>
                          <a:pt x="40310" y="229120"/>
                          <a:pt x="52099" y="217521"/>
                          <a:pt x="52099" y="203070"/>
                        </a:cubicBezTo>
                        <a:lnTo>
                          <a:pt x="52099" y="167704"/>
                        </a:lnTo>
                        <a:cubicBezTo>
                          <a:pt x="52099" y="163141"/>
                          <a:pt x="48296" y="159338"/>
                          <a:pt x="43732" y="159338"/>
                        </a:cubicBezTo>
                        <a:lnTo>
                          <a:pt x="16542" y="159338"/>
                        </a:lnTo>
                        <a:lnTo>
                          <a:pt x="16542" y="26049"/>
                        </a:lnTo>
                        <a:cubicBezTo>
                          <a:pt x="16542" y="20915"/>
                          <a:pt x="20725" y="16732"/>
                          <a:pt x="25859" y="16732"/>
                        </a:cubicBezTo>
                        <a:lnTo>
                          <a:pt x="318296" y="16732"/>
                        </a:lnTo>
                        <a:cubicBezTo>
                          <a:pt x="323430" y="16732"/>
                          <a:pt x="327613" y="20915"/>
                          <a:pt x="327613" y="26049"/>
                        </a:cubicBezTo>
                        <a:lnTo>
                          <a:pt x="327613" y="247754"/>
                        </a:lnTo>
                        <a:close/>
                        <a:moveTo>
                          <a:pt x="363169" y="247754"/>
                        </a:moveTo>
                        <a:lnTo>
                          <a:pt x="344345" y="247754"/>
                        </a:lnTo>
                        <a:lnTo>
                          <a:pt x="344345" y="211246"/>
                        </a:lnTo>
                        <a:lnTo>
                          <a:pt x="363169" y="211246"/>
                        </a:lnTo>
                        <a:lnTo>
                          <a:pt x="363169" y="247754"/>
                        </a:lnTo>
                        <a:close/>
                        <a:moveTo>
                          <a:pt x="379711" y="43923"/>
                        </a:moveTo>
                        <a:cubicBezTo>
                          <a:pt x="379711" y="43542"/>
                          <a:pt x="379901" y="43352"/>
                          <a:pt x="380282" y="43352"/>
                        </a:cubicBezTo>
                        <a:lnTo>
                          <a:pt x="439606" y="43352"/>
                        </a:lnTo>
                        <a:cubicBezTo>
                          <a:pt x="449303" y="43352"/>
                          <a:pt x="458239" y="48486"/>
                          <a:pt x="462993" y="56852"/>
                        </a:cubicBezTo>
                        <a:lnTo>
                          <a:pt x="466035" y="62176"/>
                        </a:lnTo>
                        <a:lnTo>
                          <a:pt x="379711" y="62176"/>
                        </a:lnTo>
                        <a:lnTo>
                          <a:pt x="379711" y="43923"/>
                        </a:lnTo>
                        <a:close/>
                        <a:moveTo>
                          <a:pt x="379711" y="78718"/>
                        </a:moveTo>
                        <a:lnTo>
                          <a:pt x="475732" y="78718"/>
                        </a:lnTo>
                        <a:lnTo>
                          <a:pt x="509768" y="137092"/>
                        </a:lnTo>
                        <a:cubicBezTo>
                          <a:pt x="512239" y="141275"/>
                          <a:pt x="513380" y="146028"/>
                          <a:pt x="513380" y="150782"/>
                        </a:cubicBezTo>
                        <a:lnTo>
                          <a:pt x="513380" y="159528"/>
                        </a:lnTo>
                        <a:lnTo>
                          <a:pt x="497218" y="159528"/>
                        </a:lnTo>
                        <a:cubicBezTo>
                          <a:pt x="492275" y="159528"/>
                          <a:pt x="487711" y="157627"/>
                          <a:pt x="484289" y="154204"/>
                        </a:cubicBezTo>
                        <a:lnTo>
                          <a:pt x="473261" y="143176"/>
                        </a:lnTo>
                        <a:cubicBezTo>
                          <a:pt x="466606" y="136521"/>
                          <a:pt x="457859" y="132908"/>
                          <a:pt x="448732" y="132908"/>
                        </a:cubicBezTo>
                        <a:lnTo>
                          <a:pt x="379521" y="132908"/>
                        </a:lnTo>
                        <a:lnTo>
                          <a:pt x="379521" y="78718"/>
                        </a:lnTo>
                        <a:close/>
                        <a:moveTo>
                          <a:pt x="424585" y="300803"/>
                        </a:moveTo>
                        <a:cubicBezTo>
                          <a:pt x="399866" y="300803"/>
                          <a:pt x="379901" y="280648"/>
                          <a:pt x="379901" y="255930"/>
                        </a:cubicBezTo>
                        <a:cubicBezTo>
                          <a:pt x="379901" y="231211"/>
                          <a:pt x="400056" y="211246"/>
                          <a:pt x="424585" y="211246"/>
                        </a:cubicBezTo>
                        <a:cubicBezTo>
                          <a:pt x="449303" y="211246"/>
                          <a:pt x="469268" y="231401"/>
                          <a:pt x="469268" y="255930"/>
                        </a:cubicBezTo>
                        <a:cubicBezTo>
                          <a:pt x="469268" y="280838"/>
                          <a:pt x="449303" y="300803"/>
                          <a:pt x="424585" y="300803"/>
                        </a:cubicBezTo>
                        <a:close/>
                        <a:moveTo>
                          <a:pt x="486951" y="229500"/>
                        </a:moveTo>
                        <a:lnTo>
                          <a:pt x="486951" y="247754"/>
                        </a:lnTo>
                        <a:lnTo>
                          <a:pt x="485239" y="247754"/>
                        </a:lnTo>
                        <a:cubicBezTo>
                          <a:pt x="481247" y="217901"/>
                          <a:pt x="455387" y="194704"/>
                          <a:pt x="424394" y="194704"/>
                        </a:cubicBezTo>
                        <a:cubicBezTo>
                          <a:pt x="406711" y="194704"/>
                          <a:pt x="390739" y="202120"/>
                          <a:pt x="379711" y="214099"/>
                        </a:cubicBezTo>
                        <a:lnTo>
                          <a:pt x="379711" y="149261"/>
                        </a:lnTo>
                        <a:lnTo>
                          <a:pt x="448923" y="149261"/>
                        </a:lnTo>
                        <a:cubicBezTo>
                          <a:pt x="453866" y="149261"/>
                          <a:pt x="458430" y="151162"/>
                          <a:pt x="461852" y="154585"/>
                        </a:cubicBezTo>
                        <a:lnTo>
                          <a:pt x="472880" y="165613"/>
                        </a:lnTo>
                        <a:cubicBezTo>
                          <a:pt x="479535" y="172268"/>
                          <a:pt x="488282" y="175880"/>
                          <a:pt x="497408" y="175880"/>
                        </a:cubicBezTo>
                        <a:lnTo>
                          <a:pt x="513570" y="175880"/>
                        </a:lnTo>
                        <a:lnTo>
                          <a:pt x="513570" y="212387"/>
                        </a:lnTo>
                        <a:lnTo>
                          <a:pt x="504254" y="212387"/>
                        </a:lnTo>
                        <a:cubicBezTo>
                          <a:pt x="494747" y="212387"/>
                          <a:pt x="486951" y="220183"/>
                          <a:pt x="486951" y="229500"/>
                        </a:cubicBezTo>
                        <a:close/>
                        <a:moveTo>
                          <a:pt x="522317" y="247183"/>
                        </a:moveTo>
                        <a:cubicBezTo>
                          <a:pt x="522317" y="247563"/>
                          <a:pt x="522127" y="247754"/>
                          <a:pt x="521746" y="247754"/>
                        </a:cubicBezTo>
                        <a:lnTo>
                          <a:pt x="503493" y="247754"/>
                        </a:lnTo>
                        <a:lnTo>
                          <a:pt x="503493" y="229500"/>
                        </a:lnTo>
                        <a:cubicBezTo>
                          <a:pt x="503493" y="229120"/>
                          <a:pt x="503683" y="228930"/>
                          <a:pt x="504063" y="228930"/>
                        </a:cubicBezTo>
                        <a:lnTo>
                          <a:pt x="521746" y="228930"/>
                        </a:lnTo>
                        <a:cubicBezTo>
                          <a:pt x="522127" y="228930"/>
                          <a:pt x="522317" y="229120"/>
                          <a:pt x="522317" y="229500"/>
                        </a:cubicBezTo>
                        <a:lnTo>
                          <a:pt x="522317" y="247183"/>
                        </a:lnTo>
                        <a:close/>
                      </a:path>
                    </a:pathLst>
                  </a:custGeom>
                  <a:grpFill/>
                  <a:ln w="1878" cap="flat">
                    <a:noFill/>
                    <a:prstDash val="solid"/>
                    <a:miter/>
                  </a:ln>
                </p:spPr>
                <p:txBody>
                  <a:bodyPr rtlCol="0" anchor="ctr"/>
                  <a:lstStyle/>
                  <a:p>
                    <a:endParaRPr lang="en-GB" noProof="0" dirty="0"/>
                  </a:p>
                </p:txBody>
              </p:sp>
            </p:grpSp>
          </p:grpSp>
        </p:grpSp>
        <p:pic>
          <p:nvPicPr>
            <p:cNvPr id="421" name="Grafik 420">
              <a:extLst>
                <a:ext uri="{FF2B5EF4-FFF2-40B4-BE49-F238E27FC236}">
                  <a16:creationId xmlns:a16="http://schemas.microsoft.com/office/drawing/2014/main" id="{96442C7C-32A1-70E9-51E4-F834C09BF64E}"/>
                </a:ext>
              </a:extLst>
            </p:cNvPr>
            <p:cNvPicPr>
              <a:picLocks noChangeAspect="1"/>
            </p:cNvPicPr>
            <p:nvPr/>
          </p:nvPicPr>
          <p:blipFill>
            <a:blip r:embed="rId3"/>
            <a:stretch>
              <a:fillRect/>
            </a:stretch>
          </p:blipFill>
          <p:spPr>
            <a:xfrm>
              <a:off x="3351373" y="2929234"/>
              <a:ext cx="193947" cy="89790"/>
            </a:xfrm>
            <a:prstGeom prst="rect">
              <a:avLst/>
            </a:prstGeom>
          </p:spPr>
        </p:pic>
      </p:grpSp>
      <p:sp>
        <p:nvSpPr>
          <p:cNvPr id="23" name="Freihandform: Form 22">
            <a:extLst>
              <a:ext uri="{FF2B5EF4-FFF2-40B4-BE49-F238E27FC236}">
                <a16:creationId xmlns:a16="http://schemas.microsoft.com/office/drawing/2014/main" id="{79B73921-0B2C-CCEE-E60A-D321F0FFB73E}"/>
              </a:ext>
            </a:extLst>
          </p:cNvPr>
          <p:cNvSpPr/>
          <p:nvPr/>
        </p:nvSpPr>
        <p:spPr>
          <a:xfrm>
            <a:off x="2365868" y="2633918"/>
            <a:ext cx="294690" cy="253732"/>
          </a:xfrm>
          <a:custGeom>
            <a:avLst/>
            <a:gdLst>
              <a:gd name="connsiteX0" fmla="*/ 538479 w 539049"/>
              <a:gd name="connsiteY0" fmla="*/ 203641 h 538098"/>
              <a:gd name="connsiteX1" fmla="*/ 538479 w 539049"/>
              <a:gd name="connsiteY1" fmla="*/ 192613 h 538098"/>
              <a:gd name="connsiteX2" fmla="*/ 537528 w 539049"/>
              <a:gd name="connsiteY2" fmla="*/ 192613 h 538098"/>
              <a:gd name="connsiteX3" fmla="*/ 538479 w 539049"/>
              <a:gd name="connsiteY3" fmla="*/ 192232 h 538098"/>
              <a:gd name="connsiteX4" fmla="*/ 487141 w 539049"/>
              <a:gd name="connsiteY4" fmla="*/ 82521 h 538098"/>
              <a:gd name="connsiteX5" fmla="*/ 345676 w 539049"/>
              <a:gd name="connsiteY5" fmla="*/ 82521 h 538098"/>
              <a:gd name="connsiteX6" fmla="*/ 345676 w 539049"/>
              <a:gd name="connsiteY6" fmla="*/ 65408 h 538098"/>
              <a:gd name="connsiteX7" fmla="*/ 370394 w 539049"/>
              <a:gd name="connsiteY7" fmla="*/ 33275 h 538098"/>
              <a:gd name="connsiteX8" fmla="*/ 337310 w 539049"/>
              <a:gd name="connsiteY8" fmla="*/ 0 h 538098"/>
              <a:gd name="connsiteX9" fmla="*/ 304035 w 539049"/>
              <a:gd name="connsiteY9" fmla="*/ 33275 h 538098"/>
              <a:gd name="connsiteX10" fmla="*/ 328563 w 539049"/>
              <a:gd name="connsiteY10" fmla="*/ 65408 h 538098"/>
              <a:gd name="connsiteX11" fmla="*/ 328563 w 539049"/>
              <a:gd name="connsiteY11" fmla="*/ 82521 h 538098"/>
              <a:gd name="connsiteX12" fmla="*/ 215810 w 539049"/>
              <a:gd name="connsiteY12" fmla="*/ 82521 h 538098"/>
              <a:gd name="connsiteX13" fmla="*/ 215810 w 539049"/>
              <a:gd name="connsiteY13" fmla="*/ 65789 h 538098"/>
              <a:gd name="connsiteX14" fmla="*/ 242239 w 539049"/>
              <a:gd name="connsiteY14" fmla="*/ 33275 h 538098"/>
              <a:gd name="connsiteX15" fmla="*/ 209155 w 539049"/>
              <a:gd name="connsiteY15" fmla="*/ 0 h 538098"/>
              <a:gd name="connsiteX16" fmla="*/ 176070 w 539049"/>
              <a:gd name="connsiteY16" fmla="*/ 33275 h 538098"/>
              <a:gd name="connsiteX17" fmla="*/ 198887 w 539049"/>
              <a:gd name="connsiteY17" fmla="*/ 64838 h 538098"/>
              <a:gd name="connsiteX18" fmla="*/ 198887 w 539049"/>
              <a:gd name="connsiteY18" fmla="*/ 82521 h 538098"/>
              <a:gd name="connsiteX19" fmla="*/ 56472 w 539049"/>
              <a:gd name="connsiteY19" fmla="*/ 82521 h 538098"/>
              <a:gd name="connsiteX20" fmla="*/ 0 w 539049"/>
              <a:gd name="connsiteY20" fmla="*/ 192232 h 538098"/>
              <a:gd name="connsiteX21" fmla="*/ 761 w 539049"/>
              <a:gd name="connsiteY21" fmla="*/ 192613 h 538098"/>
              <a:gd name="connsiteX22" fmla="*/ 0 w 539049"/>
              <a:gd name="connsiteY22" fmla="*/ 192613 h 538098"/>
              <a:gd name="connsiteX23" fmla="*/ 0 w 539049"/>
              <a:gd name="connsiteY23" fmla="*/ 523077 h 538098"/>
              <a:gd name="connsiteX24" fmla="*/ 19394 w 539049"/>
              <a:gd name="connsiteY24" fmla="*/ 523077 h 538098"/>
              <a:gd name="connsiteX25" fmla="*/ 19394 w 539049"/>
              <a:gd name="connsiteY25" fmla="*/ 538099 h 538098"/>
              <a:gd name="connsiteX26" fmla="*/ 522697 w 539049"/>
              <a:gd name="connsiteY26" fmla="*/ 538099 h 538098"/>
              <a:gd name="connsiteX27" fmla="*/ 522697 w 539049"/>
              <a:gd name="connsiteY27" fmla="*/ 523077 h 538098"/>
              <a:gd name="connsiteX28" fmla="*/ 538669 w 539049"/>
              <a:gd name="connsiteY28" fmla="*/ 523077 h 538098"/>
              <a:gd name="connsiteX29" fmla="*/ 538669 w 539049"/>
              <a:gd name="connsiteY29" fmla="*/ 204592 h 538098"/>
              <a:gd name="connsiteX30" fmla="*/ 539049 w 539049"/>
              <a:gd name="connsiteY30" fmla="*/ 204592 h 538098"/>
              <a:gd name="connsiteX31" fmla="*/ 538479 w 539049"/>
              <a:gd name="connsiteY31" fmla="*/ 203641 h 538098"/>
              <a:gd name="connsiteX32" fmla="*/ 321148 w 539049"/>
              <a:gd name="connsiteY32" fmla="*/ 33275 h 538098"/>
              <a:gd name="connsiteX33" fmla="*/ 337310 w 539049"/>
              <a:gd name="connsiteY33" fmla="*/ 17113 h 538098"/>
              <a:gd name="connsiteX34" fmla="*/ 353472 w 539049"/>
              <a:gd name="connsiteY34" fmla="*/ 33275 h 538098"/>
              <a:gd name="connsiteX35" fmla="*/ 337310 w 539049"/>
              <a:gd name="connsiteY35" fmla="*/ 49437 h 538098"/>
              <a:gd name="connsiteX36" fmla="*/ 321148 w 539049"/>
              <a:gd name="connsiteY36" fmla="*/ 33275 h 538098"/>
              <a:gd name="connsiteX37" fmla="*/ 193183 w 539049"/>
              <a:gd name="connsiteY37" fmla="*/ 33275 h 538098"/>
              <a:gd name="connsiteX38" fmla="*/ 209345 w 539049"/>
              <a:gd name="connsiteY38" fmla="*/ 17113 h 538098"/>
              <a:gd name="connsiteX39" fmla="*/ 225507 w 539049"/>
              <a:gd name="connsiteY39" fmla="*/ 33275 h 538098"/>
              <a:gd name="connsiteX40" fmla="*/ 209345 w 539049"/>
              <a:gd name="connsiteY40" fmla="*/ 49437 h 538098"/>
              <a:gd name="connsiteX41" fmla="*/ 193183 w 539049"/>
              <a:gd name="connsiteY41" fmla="*/ 33275 h 538098"/>
              <a:gd name="connsiteX42" fmla="*/ 521366 w 539049"/>
              <a:gd name="connsiteY42" fmla="*/ 251746 h 538098"/>
              <a:gd name="connsiteX43" fmla="*/ 277796 w 539049"/>
              <a:gd name="connsiteY43" fmla="*/ 251746 h 538098"/>
              <a:gd name="connsiteX44" fmla="*/ 277796 w 539049"/>
              <a:gd name="connsiteY44" fmla="*/ 209725 h 538098"/>
              <a:gd name="connsiteX45" fmla="*/ 521366 w 539049"/>
              <a:gd name="connsiteY45" fmla="*/ 209725 h 538098"/>
              <a:gd name="connsiteX46" fmla="*/ 521366 w 539049"/>
              <a:gd name="connsiteY46" fmla="*/ 251746 h 538098"/>
              <a:gd name="connsiteX47" fmla="*/ 521366 w 539049"/>
              <a:gd name="connsiteY47" fmla="*/ 406331 h 538098"/>
              <a:gd name="connsiteX48" fmla="*/ 277796 w 539049"/>
              <a:gd name="connsiteY48" fmla="*/ 406331 h 538098"/>
              <a:gd name="connsiteX49" fmla="*/ 277796 w 539049"/>
              <a:gd name="connsiteY49" fmla="*/ 268669 h 538098"/>
              <a:gd name="connsiteX50" fmla="*/ 521366 w 539049"/>
              <a:gd name="connsiteY50" fmla="*/ 268669 h 538098"/>
              <a:gd name="connsiteX51" fmla="*/ 521366 w 539049"/>
              <a:gd name="connsiteY51" fmla="*/ 406331 h 538098"/>
              <a:gd name="connsiteX52" fmla="*/ 17113 w 539049"/>
              <a:gd name="connsiteY52" fmla="*/ 268859 h 538098"/>
              <a:gd name="connsiteX53" fmla="*/ 260683 w 539049"/>
              <a:gd name="connsiteY53" fmla="*/ 268859 h 538098"/>
              <a:gd name="connsiteX54" fmla="*/ 260683 w 539049"/>
              <a:gd name="connsiteY54" fmla="*/ 406521 h 538098"/>
              <a:gd name="connsiteX55" fmla="*/ 17113 w 539049"/>
              <a:gd name="connsiteY55" fmla="*/ 406521 h 538098"/>
              <a:gd name="connsiteX56" fmla="*/ 17113 w 539049"/>
              <a:gd name="connsiteY56" fmla="*/ 268859 h 538098"/>
              <a:gd name="connsiteX57" fmla="*/ 421923 w 539049"/>
              <a:gd name="connsiteY57" fmla="*/ 145648 h 538098"/>
              <a:gd name="connsiteX58" fmla="*/ 388077 w 539049"/>
              <a:gd name="connsiteY58" fmla="*/ 178542 h 538098"/>
              <a:gd name="connsiteX59" fmla="*/ 354232 w 539049"/>
              <a:gd name="connsiteY59" fmla="*/ 145648 h 538098"/>
              <a:gd name="connsiteX60" fmla="*/ 388077 w 539049"/>
              <a:gd name="connsiteY60" fmla="*/ 112754 h 538098"/>
              <a:gd name="connsiteX61" fmla="*/ 421923 w 539049"/>
              <a:gd name="connsiteY61" fmla="*/ 145648 h 538098"/>
              <a:gd name="connsiteX62" fmla="*/ 66930 w 539049"/>
              <a:gd name="connsiteY62" fmla="*/ 99634 h 538098"/>
              <a:gd name="connsiteX63" fmla="*/ 260683 w 539049"/>
              <a:gd name="connsiteY63" fmla="*/ 99634 h 538098"/>
              <a:gd name="connsiteX64" fmla="*/ 260683 w 539049"/>
              <a:gd name="connsiteY64" fmla="*/ 192613 h 538098"/>
              <a:gd name="connsiteX65" fmla="*/ 19014 w 539049"/>
              <a:gd name="connsiteY65" fmla="*/ 192613 h 538098"/>
              <a:gd name="connsiteX66" fmla="*/ 66930 w 539049"/>
              <a:gd name="connsiteY66" fmla="*/ 99634 h 538098"/>
              <a:gd name="connsiteX67" fmla="*/ 17113 w 539049"/>
              <a:gd name="connsiteY67" fmla="*/ 209725 h 538098"/>
              <a:gd name="connsiteX68" fmla="*/ 260683 w 539049"/>
              <a:gd name="connsiteY68" fmla="*/ 209725 h 538098"/>
              <a:gd name="connsiteX69" fmla="*/ 260683 w 539049"/>
              <a:gd name="connsiteY69" fmla="*/ 251746 h 538098"/>
              <a:gd name="connsiteX70" fmla="*/ 17113 w 539049"/>
              <a:gd name="connsiteY70" fmla="*/ 251746 h 538098"/>
              <a:gd name="connsiteX71" fmla="*/ 17113 w 539049"/>
              <a:gd name="connsiteY71" fmla="*/ 209725 h 538098"/>
              <a:gd name="connsiteX72" fmla="*/ 17113 w 539049"/>
              <a:gd name="connsiteY72" fmla="*/ 505965 h 538098"/>
              <a:gd name="connsiteX73" fmla="*/ 17113 w 539049"/>
              <a:gd name="connsiteY73" fmla="*/ 423634 h 538098"/>
              <a:gd name="connsiteX74" fmla="*/ 260683 w 539049"/>
              <a:gd name="connsiteY74" fmla="*/ 423634 h 538098"/>
              <a:gd name="connsiteX75" fmla="*/ 260683 w 539049"/>
              <a:gd name="connsiteY75" fmla="*/ 505965 h 538098"/>
              <a:gd name="connsiteX76" fmla="*/ 17113 w 539049"/>
              <a:gd name="connsiteY76" fmla="*/ 505965 h 538098"/>
              <a:gd name="connsiteX77" fmla="*/ 521366 w 539049"/>
              <a:gd name="connsiteY77" fmla="*/ 505965 h 538098"/>
              <a:gd name="connsiteX78" fmla="*/ 277796 w 539049"/>
              <a:gd name="connsiteY78" fmla="*/ 505965 h 538098"/>
              <a:gd name="connsiteX79" fmla="*/ 277796 w 539049"/>
              <a:gd name="connsiteY79" fmla="*/ 423634 h 538098"/>
              <a:gd name="connsiteX80" fmla="*/ 521366 w 539049"/>
              <a:gd name="connsiteY80" fmla="*/ 423634 h 538098"/>
              <a:gd name="connsiteX81" fmla="*/ 521366 w 539049"/>
              <a:gd name="connsiteY81" fmla="*/ 505965 h 538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539049" h="538098">
                <a:moveTo>
                  <a:pt x="538479" y="203641"/>
                </a:moveTo>
                <a:lnTo>
                  <a:pt x="538479" y="192613"/>
                </a:lnTo>
                <a:lnTo>
                  <a:pt x="537528" y="192613"/>
                </a:lnTo>
                <a:lnTo>
                  <a:pt x="538479" y="192232"/>
                </a:lnTo>
                <a:lnTo>
                  <a:pt x="487141" y="82521"/>
                </a:lnTo>
                <a:lnTo>
                  <a:pt x="345676" y="82521"/>
                </a:lnTo>
                <a:lnTo>
                  <a:pt x="345676" y="65408"/>
                </a:lnTo>
                <a:cubicBezTo>
                  <a:pt x="359746" y="61606"/>
                  <a:pt x="370394" y="48676"/>
                  <a:pt x="370394" y="33275"/>
                </a:cubicBezTo>
                <a:cubicBezTo>
                  <a:pt x="370394" y="15021"/>
                  <a:pt x="355563" y="0"/>
                  <a:pt x="337310" y="0"/>
                </a:cubicBezTo>
                <a:cubicBezTo>
                  <a:pt x="319056" y="0"/>
                  <a:pt x="304035" y="15021"/>
                  <a:pt x="304035" y="33275"/>
                </a:cubicBezTo>
                <a:cubicBezTo>
                  <a:pt x="304035" y="48676"/>
                  <a:pt x="314493" y="61606"/>
                  <a:pt x="328563" y="65408"/>
                </a:cubicBezTo>
                <a:lnTo>
                  <a:pt x="328563" y="82521"/>
                </a:lnTo>
                <a:lnTo>
                  <a:pt x="215810" y="82521"/>
                </a:lnTo>
                <a:lnTo>
                  <a:pt x="215810" y="65789"/>
                </a:lnTo>
                <a:cubicBezTo>
                  <a:pt x="230831" y="62746"/>
                  <a:pt x="242239" y="49246"/>
                  <a:pt x="242239" y="33275"/>
                </a:cubicBezTo>
                <a:cubicBezTo>
                  <a:pt x="242239" y="15021"/>
                  <a:pt x="227408" y="0"/>
                  <a:pt x="209155" y="0"/>
                </a:cubicBezTo>
                <a:cubicBezTo>
                  <a:pt x="190901" y="0"/>
                  <a:pt x="176070" y="14831"/>
                  <a:pt x="176070" y="33275"/>
                </a:cubicBezTo>
                <a:cubicBezTo>
                  <a:pt x="176070" y="47915"/>
                  <a:pt x="185577" y="60465"/>
                  <a:pt x="198887" y="64838"/>
                </a:cubicBezTo>
                <a:lnTo>
                  <a:pt x="198887" y="82521"/>
                </a:lnTo>
                <a:lnTo>
                  <a:pt x="56472" y="82521"/>
                </a:lnTo>
                <a:lnTo>
                  <a:pt x="0" y="192232"/>
                </a:lnTo>
                <a:lnTo>
                  <a:pt x="761" y="192613"/>
                </a:lnTo>
                <a:lnTo>
                  <a:pt x="0" y="192613"/>
                </a:lnTo>
                <a:lnTo>
                  <a:pt x="0" y="523077"/>
                </a:lnTo>
                <a:lnTo>
                  <a:pt x="19394" y="523077"/>
                </a:lnTo>
                <a:lnTo>
                  <a:pt x="19394" y="538099"/>
                </a:lnTo>
                <a:lnTo>
                  <a:pt x="522697" y="538099"/>
                </a:lnTo>
                <a:lnTo>
                  <a:pt x="522697" y="523077"/>
                </a:lnTo>
                <a:lnTo>
                  <a:pt x="538669" y="523077"/>
                </a:lnTo>
                <a:lnTo>
                  <a:pt x="538669" y="204592"/>
                </a:lnTo>
                <a:lnTo>
                  <a:pt x="539049" y="204592"/>
                </a:lnTo>
                <a:lnTo>
                  <a:pt x="538479" y="203641"/>
                </a:lnTo>
                <a:close/>
                <a:moveTo>
                  <a:pt x="321148" y="33275"/>
                </a:moveTo>
                <a:cubicBezTo>
                  <a:pt x="321148" y="24338"/>
                  <a:pt x="328373" y="17113"/>
                  <a:pt x="337310" y="17113"/>
                </a:cubicBezTo>
                <a:cubicBezTo>
                  <a:pt x="346247" y="17113"/>
                  <a:pt x="353472" y="24338"/>
                  <a:pt x="353472" y="33275"/>
                </a:cubicBezTo>
                <a:cubicBezTo>
                  <a:pt x="353472" y="42211"/>
                  <a:pt x="346247" y="49437"/>
                  <a:pt x="337310" y="49437"/>
                </a:cubicBezTo>
                <a:cubicBezTo>
                  <a:pt x="328373" y="49437"/>
                  <a:pt x="321148" y="42211"/>
                  <a:pt x="321148" y="33275"/>
                </a:cubicBezTo>
                <a:close/>
                <a:moveTo>
                  <a:pt x="193183" y="33275"/>
                </a:moveTo>
                <a:cubicBezTo>
                  <a:pt x="193183" y="24338"/>
                  <a:pt x="200408" y="17113"/>
                  <a:pt x="209345" y="17113"/>
                </a:cubicBezTo>
                <a:cubicBezTo>
                  <a:pt x="218282" y="17113"/>
                  <a:pt x="225507" y="24338"/>
                  <a:pt x="225507" y="33275"/>
                </a:cubicBezTo>
                <a:cubicBezTo>
                  <a:pt x="225507" y="42211"/>
                  <a:pt x="218282" y="49437"/>
                  <a:pt x="209345" y="49437"/>
                </a:cubicBezTo>
                <a:cubicBezTo>
                  <a:pt x="200408" y="49437"/>
                  <a:pt x="193183" y="42211"/>
                  <a:pt x="193183" y="33275"/>
                </a:cubicBezTo>
                <a:close/>
                <a:moveTo>
                  <a:pt x="521366" y="251746"/>
                </a:moveTo>
                <a:lnTo>
                  <a:pt x="277796" y="251746"/>
                </a:lnTo>
                <a:lnTo>
                  <a:pt x="277796" y="209725"/>
                </a:lnTo>
                <a:lnTo>
                  <a:pt x="521366" y="209725"/>
                </a:lnTo>
                <a:lnTo>
                  <a:pt x="521366" y="251746"/>
                </a:lnTo>
                <a:close/>
                <a:moveTo>
                  <a:pt x="521366" y="406331"/>
                </a:moveTo>
                <a:lnTo>
                  <a:pt x="277796" y="406331"/>
                </a:lnTo>
                <a:lnTo>
                  <a:pt x="277796" y="268669"/>
                </a:lnTo>
                <a:lnTo>
                  <a:pt x="521366" y="268669"/>
                </a:lnTo>
                <a:lnTo>
                  <a:pt x="521366" y="406331"/>
                </a:lnTo>
                <a:close/>
                <a:moveTo>
                  <a:pt x="17113" y="268859"/>
                </a:moveTo>
                <a:lnTo>
                  <a:pt x="260683" y="268859"/>
                </a:lnTo>
                <a:lnTo>
                  <a:pt x="260683" y="406521"/>
                </a:lnTo>
                <a:lnTo>
                  <a:pt x="17113" y="406521"/>
                </a:lnTo>
                <a:lnTo>
                  <a:pt x="17113" y="268859"/>
                </a:lnTo>
                <a:close/>
                <a:moveTo>
                  <a:pt x="421923" y="145648"/>
                </a:moveTo>
                <a:cubicBezTo>
                  <a:pt x="421923" y="163711"/>
                  <a:pt x="406711" y="178542"/>
                  <a:pt x="388077" y="178542"/>
                </a:cubicBezTo>
                <a:cubicBezTo>
                  <a:pt x="369444" y="178542"/>
                  <a:pt x="354232" y="163901"/>
                  <a:pt x="354232" y="145648"/>
                </a:cubicBezTo>
                <a:cubicBezTo>
                  <a:pt x="354232" y="127394"/>
                  <a:pt x="369444" y="112754"/>
                  <a:pt x="388077" y="112754"/>
                </a:cubicBezTo>
                <a:cubicBezTo>
                  <a:pt x="406711" y="112944"/>
                  <a:pt x="421923" y="127585"/>
                  <a:pt x="421923" y="145648"/>
                </a:cubicBezTo>
                <a:close/>
                <a:moveTo>
                  <a:pt x="66930" y="99634"/>
                </a:moveTo>
                <a:lnTo>
                  <a:pt x="260683" y="99634"/>
                </a:lnTo>
                <a:lnTo>
                  <a:pt x="260683" y="192613"/>
                </a:lnTo>
                <a:lnTo>
                  <a:pt x="19014" y="192613"/>
                </a:lnTo>
                <a:lnTo>
                  <a:pt x="66930" y="99634"/>
                </a:lnTo>
                <a:close/>
                <a:moveTo>
                  <a:pt x="17113" y="209725"/>
                </a:moveTo>
                <a:lnTo>
                  <a:pt x="260683" y="209725"/>
                </a:lnTo>
                <a:lnTo>
                  <a:pt x="260683" y="251746"/>
                </a:lnTo>
                <a:lnTo>
                  <a:pt x="17113" y="251746"/>
                </a:lnTo>
                <a:lnTo>
                  <a:pt x="17113" y="209725"/>
                </a:lnTo>
                <a:close/>
                <a:moveTo>
                  <a:pt x="17113" y="505965"/>
                </a:moveTo>
                <a:lnTo>
                  <a:pt x="17113" y="423634"/>
                </a:lnTo>
                <a:lnTo>
                  <a:pt x="260683" y="423634"/>
                </a:lnTo>
                <a:lnTo>
                  <a:pt x="260683" y="505965"/>
                </a:lnTo>
                <a:lnTo>
                  <a:pt x="17113" y="505965"/>
                </a:lnTo>
                <a:close/>
                <a:moveTo>
                  <a:pt x="521366" y="505965"/>
                </a:moveTo>
                <a:lnTo>
                  <a:pt x="277796" y="505965"/>
                </a:lnTo>
                <a:lnTo>
                  <a:pt x="277796" y="423634"/>
                </a:lnTo>
                <a:lnTo>
                  <a:pt x="521366" y="423634"/>
                </a:lnTo>
                <a:lnTo>
                  <a:pt x="521366" y="505965"/>
                </a:lnTo>
                <a:close/>
              </a:path>
            </a:pathLst>
          </a:custGeom>
          <a:solidFill>
            <a:srgbClr val="009252"/>
          </a:solidFill>
          <a:ln w="1878" cap="flat">
            <a:noFill/>
            <a:prstDash val="solid"/>
            <a:miter/>
          </a:ln>
        </p:spPr>
        <p:txBody>
          <a:bodyPr rtlCol="0" anchor="ctr"/>
          <a:lstStyle/>
          <a:p>
            <a:endParaRPr lang="en-GB" noProof="0" dirty="0"/>
          </a:p>
        </p:txBody>
      </p:sp>
      <p:sp>
        <p:nvSpPr>
          <p:cNvPr id="25" name="Freihandform: Form 24">
            <a:extLst>
              <a:ext uri="{FF2B5EF4-FFF2-40B4-BE49-F238E27FC236}">
                <a16:creationId xmlns:a16="http://schemas.microsoft.com/office/drawing/2014/main" id="{D85DACF4-0700-4B25-0976-2E091746E107}"/>
              </a:ext>
            </a:extLst>
          </p:cNvPr>
          <p:cNvSpPr/>
          <p:nvPr/>
        </p:nvSpPr>
        <p:spPr>
          <a:xfrm>
            <a:off x="2361303" y="2175075"/>
            <a:ext cx="294690" cy="253732"/>
          </a:xfrm>
          <a:custGeom>
            <a:avLst/>
            <a:gdLst>
              <a:gd name="connsiteX0" fmla="*/ 538479 w 539049"/>
              <a:gd name="connsiteY0" fmla="*/ 203641 h 538098"/>
              <a:gd name="connsiteX1" fmla="*/ 538479 w 539049"/>
              <a:gd name="connsiteY1" fmla="*/ 192613 h 538098"/>
              <a:gd name="connsiteX2" fmla="*/ 537528 w 539049"/>
              <a:gd name="connsiteY2" fmla="*/ 192613 h 538098"/>
              <a:gd name="connsiteX3" fmla="*/ 538479 w 539049"/>
              <a:gd name="connsiteY3" fmla="*/ 192232 h 538098"/>
              <a:gd name="connsiteX4" fmla="*/ 487141 w 539049"/>
              <a:gd name="connsiteY4" fmla="*/ 82521 h 538098"/>
              <a:gd name="connsiteX5" fmla="*/ 345676 w 539049"/>
              <a:gd name="connsiteY5" fmla="*/ 82521 h 538098"/>
              <a:gd name="connsiteX6" fmla="*/ 345676 w 539049"/>
              <a:gd name="connsiteY6" fmla="*/ 65408 h 538098"/>
              <a:gd name="connsiteX7" fmla="*/ 370394 w 539049"/>
              <a:gd name="connsiteY7" fmla="*/ 33275 h 538098"/>
              <a:gd name="connsiteX8" fmla="*/ 337310 w 539049"/>
              <a:gd name="connsiteY8" fmla="*/ 0 h 538098"/>
              <a:gd name="connsiteX9" fmla="*/ 304035 w 539049"/>
              <a:gd name="connsiteY9" fmla="*/ 33275 h 538098"/>
              <a:gd name="connsiteX10" fmla="*/ 328563 w 539049"/>
              <a:gd name="connsiteY10" fmla="*/ 65408 h 538098"/>
              <a:gd name="connsiteX11" fmla="*/ 328563 w 539049"/>
              <a:gd name="connsiteY11" fmla="*/ 82521 h 538098"/>
              <a:gd name="connsiteX12" fmla="*/ 215810 w 539049"/>
              <a:gd name="connsiteY12" fmla="*/ 82521 h 538098"/>
              <a:gd name="connsiteX13" fmla="*/ 215810 w 539049"/>
              <a:gd name="connsiteY13" fmla="*/ 65789 h 538098"/>
              <a:gd name="connsiteX14" fmla="*/ 242239 w 539049"/>
              <a:gd name="connsiteY14" fmla="*/ 33275 h 538098"/>
              <a:gd name="connsiteX15" fmla="*/ 209155 w 539049"/>
              <a:gd name="connsiteY15" fmla="*/ 0 h 538098"/>
              <a:gd name="connsiteX16" fmla="*/ 176070 w 539049"/>
              <a:gd name="connsiteY16" fmla="*/ 33275 h 538098"/>
              <a:gd name="connsiteX17" fmla="*/ 198887 w 539049"/>
              <a:gd name="connsiteY17" fmla="*/ 64838 h 538098"/>
              <a:gd name="connsiteX18" fmla="*/ 198887 w 539049"/>
              <a:gd name="connsiteY18" fmla="*/ 82521 h 538098"/>
              <a:gd name="connsiteX19" fmla="*/ 56472 w 539049"/>
              <a:gd name="connsiteY19" fmla="*/ 82521 h 538098"/>
              <a:gd name="connsiteX20" fmla="*/ 0 w 539049"/>
              <a:gd name="connsiteY20" fmla="*/ 192232 h 538098"/>
              <a:gd name="connsiteX21" fmla="*/ 761 w 539049"/>
              <a:gd name="connsiteY21" fmla="*/ 192613 h 538098"/>
              <a:gd name="connsiteX22" fmla="*/ 0 w 539049"/>
              <a:gd name="connsiteY22" fmla="*/ 192613 h 538098"/>
              <a:gd name="connsiteX23" fmla="*/ 0 w 539049"/>
              <a:gd name="connsiteY23" fmla="*/ 523077 h 538098"/>
              <a:gd name="connsiteX24" fmla="*/ 19394 w 539049"/>
              <a:gd name="connsiteY24" fmla="*/ 523077 h 538098"/>
              <a:gd name="connsiteX25" fmla="*/ 19394 w 539049"/>
              <a:gd name="connsiteY25" fmla="*/ 538099 h 538098"/>
              <a:gd name="connsiteX26" fmla="*/ 522697 w 539049"/>
              <a:gd name="connsiteY26" fmla="*/ 538099 h 538098"/>
              <a:gd name="connsiteX27" fmla="*/ 522697 w 539049"/>
              <a:gd name="connsiteY27" fmla="*/ 523077 h 538098"/>
              <a:gd name="connsiteX28" fmla="*/ 538669 w 539049"/>
              <a:gd name="connsiteY28" fmla="*/ 523077 h 538098"/>
              <a:gd name="connsiteX29" fmla="*/ 538669 w 539049"/>
              <a:gd name="connsiteY29" fmla="*/ 204592 h 538098"/>
              <a:gd name="connsiteX30" fmla="*/ 539049 w 539049"/>
              <a:gd name="connsiteY30" fmla="*/ 204592 h 538098"/>
              <a:gd name="connsiteX31" fmla="*/ 538479 w 539049"/>
              <a:gd name="connsiteY31" fmla="*/ 203641 h 538098"/>
              <a:gd name="connsiteX32" fmla="*/ 321148 w 539049"/>
              <a:gd name="connsiteY32" fmla="*/ 33275 h 538098"/>
              <a:gd name="connsiteX33" fmla="*/ 337310 w 539049"/>
              <a:gd name="connsiteY33" fmla="*/ 17113 h 538098"/>
              <a:gd name="connsiteX34" fmla="*/ 353472 w 539049"/>
              <a:gd name="connsiteY34" fmla="*/ 33275 h 538098"/>
              <a:gd name="connsiteX35" fmla="*/ 337310 w 539049"/>
              <a:gd name="connsiteY35" fmla="*/ 49437 h 538098"/>
              <a:gd name="connsiteX36" fmla="*/ 321148 w 539049"/>
              <a:gd name="connsiteY36" fmla="*/ 33275 h 538098"/>
              <a:gd name="connsiteX37" fmla="*/ 193183 w 539049"/>
              <a:gd name="connsiteY37" fmla="*/ 33275 h 538098"/>
              <a:gd name="connsiteX38" fmla="*/ 209345 w 539049"/>
              <a:gd name="connsiteY38" fmla="*/ 17113 h 538098"/>
              <a:gd name="connsiteX39" fmla="*/ 225507 w 539049"/>
              <a:gd name="connsiteY39" fmla="*/ 33275 h 538098"/>
              <a:gd name="connsiteX40" fmla="*/ 209345 w 539049"/>
              <a:gd name="connsiteY40" fmla="*/ 49437 h 538098"/>
              <a:gd name="connsiteX41" fmla="*/ 193183 w 539049"/>
              <a:gd name="connsiteY41" fmla="*/ 33275 h 538098"/>
              <a:gd name="connsiteX42" fmla="*/ 521366 w 539049"/>
              <a:gd name="connsiteY42" fmla="*/ 251746 h 538098"/>
              <a:gd name="connsiteX43" fmla="*/ 277796 w 539049"/>
              <a:gd name="connsiteY43" fmla="*/ 251746 h 538098"/>
              <a:gd name="connsiteX44" fmla="*/ 277796 w 539049"/>
              <a:gd name="connsiteY44" fmla="*/ 209725 h 538098"/>
              <a:gd name="connsiteX45" fmla="*/ 521366 w 539049"/>
              <a:gd name="connsiteY45" fmla="*/ 209725 h 538098"/>
              <a:gd name="connsiteX46" fmla="*/ 521366 w 539049"/>
              <a:gd name="connsiteY46" fmla="*/ 251746 h 538098"/>
              <a:gd name="connsiteX47" fmla="*/ 521366 w 539049"/>
              <a:gd name="connsiteY47" fmla="*/ 406331 h 538098"/>
              <a:gd name="connsiteX48" fmla="*/ 277796 w 539049"/>
              <a:gd name="connsiteY48" fmla="*/ 406331 h 538098"/>
              <a:gd name="connsiteX49" fmla="*/ 277796 w 539049"/>
              <a:gd name="connsiteY49" fmla="*/ 268669 h 538098"/>
              <a:gd name="connsiteX50" fmla="*/ 521366 w 539049"/>
              <a:gd name="connsiteY50" fmla="*/ 268669 h 538098"/>
              <a:gd name="connsiteX51" fmla="*/ 521366 w 539049"/>
              <a:gd name="connsiteY51" fmla="*/ 406331 h 538098"/>
              <a:gd name="connsiteX52" fmla="*/ 17113 w 539049"/>
              <a:gd name="connsiteY52" fmla="*/ 268859 h 538098"/>
              <a:gd name="connsiteX53" fmla="*/ 260683 w 539049"/>
              <a:gd name="connsiteY53" fmla="*/ 268859 h 538098"/>
              <a:gd name="connsiteX54" fmla="*/ 260683 w 539049"/>
              <a:gd name="connsiteY54" fmla="*/ 406521 h 538098"/>
              <a:gd name="connsiteX55" fmla="*/ 17113 w 539049"/>
              <a:gd name="connsiteY55" fmla="*/ 406521 h 538098"/>
              <a:gd name="connsiteX56" fmla="*/ 17113 w 539049"/>
              <a:gd name="connsiteY56" fmla="*/ 268859 h 538098"/>
              <a:gd name="connsiteX57" fmla="*/ 421923 w 539049"/>
              <a:gd name="connsiteY57" fmla="*/ 145648 h 538098"/>
              <a:gd name="connsiteX58" fmla="*/ 388077 w 539049"/>
              <a:gd name="connsiteY58" fmla="*/ 178542 h 538098"/>
              <a:gd name="connsiteX59" fmla="*/ 354232 w 539049"/>
              <a:gd name="connsiteY59" fmla="*/ 145648 h 538098"/>
              <a:gd name="connsiteX60" fmla="*/ 388077 w 539049"/>
              <a:gd name="connsiteY60" fmla="*/ 112754 h 538098"/>
              <a:gd name="connsiteX61" fmla="*/ 421923 w 539049"/>
              <a:gd name="connsiteY61" fmla="*/ 145648 h 538098"/>
              <a:gd name="connsiteX62" fmla="*/ 66930 w 539049"/>
              <a:gd name="connsiteY62" fmla="*/ 99634 h 538098"/>
              <a:gd name="connsiteX63" fmla="*/ 260683 w 539049"/>
              <a:gd name="connsiteY63" fmla="*/ 99634 h 538098"/>
              <a:gd name="connsiteX64" fmla="*/ 260683 w 539049"/>
              <a:gd name="connsiteY64" fmla="*/ 192613 h 538098"/>
              <a:gd name="connsiteX65" fmla="*/ 19014 w 539049"/>
              <a:gd name="connsiteY65" fmla="*/ 192613 h 538098"/>
              <a:gd name="connsiteX66" fmla="*/ 66930 w 539049"/>
              <a:gd name="connsiteY66" fmla="*/ 99634 h 538098"/>
              <a:gd name="connsiteX67" fmla="*/ 17113 w 539049"/>
              <a:gd name="connsiteY67" fmla="*/ 209725 h 538098"/>
              <a:gd name="connsiteX68" fmla="*/ 260683 w 539049"/>
              <a:gd name="connsiteY68" fmla="*/ 209725 h 538098"/>
              <a:gd name="connsiteX69" fmla="*/ 260683 w 539049"/>
              <a:gd name="connsiteY69" fmla="*/ 251746 h 538098"/>
              <a:gd name="connsiteX70" fmla="*/ 17113 w 539049"/>
              <a:gd name="connsiteY70" fmla="*/ 251746 h 538098"/>
              <a:gd name="connsiteX71" fmla="*/ 17113 w 539049"/>
              <a:gd name="connsiteY71" fmla="*/ 209725 h 538098"/>
              <a:gd name="connsiteX72" fmla="*/ 17113 w 539049"/>
              <a:gd name="connsiteY72" fmla="*/ 505965 h 538098"/>
              <a:gd name="connsiteX73" fmla="*/ 17113 w 539049"/>
              <a:gd name="connsiteY73" fmla="*/ 423634 h 538098"/>
              <a:gd name="connsiteX74" fmla="*/ 260683 w 539049"/>
              <a:gd name="connsiteY74" fmla="*/ 423634 h 538098"/>
              <a:gd name="connsiteX75" fmla="*/ 260683 w 539049"/>
              <a:gd name="connsiteY75" fmla="*/ 505965 h 538098"/>
              <a:gd name="connsiteX76" fmla="*/ 17113 w 539049"/>
              <a:gd name="connsiteY76" fmla="*/ 505965 h 538098"/>
              <a:gd name="connsiteX77" fmla="*/ 521366 w 539049"/>
              <a:gd name="connsiteY77" fmla="*/ 505965 h 538098"/>
              <a:gd name="connsiteX78" fmla="*/ 277796 w 539049"/>
              <a:gd name="connsiteY78" fmla="*/ 505965 h 538098"/>
              <a:gd name="connsiteX79" fmla="*/ 277796 w 539049"/>
              <a:gd name="connsiteY79" fmla="*/ 423634 h 538098"/>
              <a:gd name="connsiteX80" fmla="*/ 521366 w 539049"/>
              <a:gd name="connsiteY80" fmla="*/ 423634 h 538098"/>
              <a:gd name="connsiteX81" fmla="*/ 521366 w 539049"/>
              <a:gd name="connsiteY81" fmla="*/ 505965 h 538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539049" h="538098">
                <a:moveTo>
                  <a:pt x="538479" y="203641"/>
                </a:moveTo>
                <a:lnTo>
                  <a:pt x="538479" y="192613"/>
                </a:lnTo>
                <a:lnTo>
                  <a:pt x="537528" y="192613"/>
                </a:lnTo>
                <a:lnTo>
                  <a:pt x="538479" y="192232"/>
                </a:lnTo>
                <a:lnTo>
                  <a:pt x="487141" y="82521"/>
                </a:lnTo>
                <a:lnTo>
                  <a:pt x="345676" y="82521"/>
                </a:lnTo>
                <a:lnTo>
                  <a:pt x="345676" y="65408"/>
                </a:lnTo>
                <a:cubicBezTo>
                  <a:pt x="359746" y="61606"/>
                  <a:pt x="370394" y="48676"/>
                  <a:pt x="370394" y="33275"/>
                </a:cubicBezTo>
                <a:cubicBezTo>
                  <a:pt x="370394" y="15021"/>
                  <a:pt x="355563" y="0"/>
                  <a:pt x="337310" y="0"/>
                </a:cubicBezTo>
                <a:cubicBezTo>
                  <a:pt x="319056" y="0"/>
                  <a:pt x="304035" y="15021"/>
                  <a:pt x="304035" y="33275"/>
                </a:cubicBezTo>
                <a:cubicBezTo>
                  <a:pt x="304035" y="48676"/>
                  <a:pt x="314493" y="61606"/>
                  <a:pt x="328563" y="65408"/>
                </a:cubicBezTo>
                <a:lnTo>
                  <a:pt x="328563" y="82521"/>
                </a:lnTo>
                <a:lnTo>
                  <a:pt x="215810" y="82521"/>
                </a:lnTo>
                <a:lnTo>
                  <a:pt x="215810" y="65789"/>
                </a:lnTo>
                <a:cubicBezTo>
                  <a:pt x="230831" y="62746"/>
                  <a:pt x="242239" y="49246"/>
                  <a:pt x="242239" y="33275"/>
                </a:cubicBezTo>
                <a:cubicBezTo>
                  <a:pt x="242239" y="15021"/>
                  <a:pt x="227408" y="0"/>
                  <a:pt x="209155" y="0"/>
                </a:cubicBezTo>
                <a:cubicBezTo>
                  <a:pt x="190901" y="0"/>
                  <a:pt x="176070" y="14831"/>
                  <a:pt x="176070" y="33275"/>
                </a:cubicBezTo>
                <a:cubicBezTo>
                  <a:pt x="176070" y="47915"/>
                  <a:pt x="185577" y="60465"/>
                  <a:pt x="198887" y="64838"/>
                </a:cubicBezTo>
                <a:lnTo>
                  <a:pt x="198887" y="82521"/>
                </a:lnTo>
                <a:lnTo>
                  <a:pt x="56472" y="82521"/>
                </a:lnTo>
                <a:lnTo>
                  <a:pt x="0" y="192232"/>
                </a:lnTo>
                <a:lnTo>
                  <a:pt x="761" y="192613"/>
                </a:lnTo>
                <a:lnTo>
                  <a:pt x="0" y="192613"/>
                </a:lnTo>
                <a:lnTo>
                  <a:pt x="0" y="523077"/>
                </a:lnTo>
                <a:lnTo>
                  <a:pt x="19394" y="523077"/>
                </a:lnTo>
                <a:lnTo>
                  <a:pt x="19394" y="538099"/>
                </a:lnTo>
                <a:lnTo>
                  <a:pt x="522697" y="538099"/>
                </a:lnTo>
                <a:lnTo>
                  <a:pt x="522697" y="523077"/>
                </a:lnTo>
                <a:lnTo>
                  <a:pt x="538669" y="523077"/>
                </a:lnTo>
                <a:lnTo>
                  <a:pt x="538669" y="204592"/>
                </a:lnTo>
                <a:lnTo>
                  <a:pt x="539049" y="204592"/>
                </a:lnTo>
                <a:lnTo>
                  <a:pt x="538479" y="203641"/>
                </a:lnTo>
                <a:close/>
                <a:moveTo>
                  <a:pt x="321148" y="33275"/>
                </a:moveTo>
                <a:cubicBezTo>
                  <a:pt x="321148" y="24338"/>
                  <a:pt x="328373" y="17113"/>
                  <a:pt x="337310" y="17113"/>
                </a:cubicBezTo>
                <a:cubicBezTo>
                  <a:pt x="346247" y="17113"/>
                  <a:pt x="353472" y="24338"/>
                  <a:pt x="353472" y="33275"/>
                </a:cubicBezTo>
                <a:cubicBezTo>
                  <a:pt x="353472" y="42211"/>
                  <a:pt x="346247" y="49437"/>
                  <a:pt x="337310" y="49437"/>
                </a:cubicBezTo>
                <a:cubicBezTo>
                  <a:pt x="328373" y="49437"/>
                  <a:pt x="321148" y="42211"/>
                  <a:pt x="321148" y="33275"/>
                </a:cubicBezTo>
                <a:close/>
                <a:moveTo>
                  <a:pt x="193183" y="33275"/>
                </a:moveTo>
                <a:cubicBezTo>
                  <a:pt x="193183" y="24338"/>
                  <a:pt x="200408" y="17113"/>
                  <a:pt x="209345" y="17113"/>
                </a:cubicBezTo>
                <a:cubicBezTo>
                  <a:pt x="218282" y="17113"/>
                  <a:pt x="225507" y="24338"/>
                  <a:pt x="225507" y="33275"/>
                </a:cubicBezTo>
                <a:cubicBezTo>
                  <a:pt x="225507" y="42211"/>
                  <a:pt x="218282" y="49437"/>
                  <a:pt x="209345" y="49437"/>
                </a:cubicBezTo>
                <a:cubicBezTo>
                  <a:pt x="200408" y="49437"/>
                  <a:pt x="193183" y="42211"/>
                  <a:pt x="193183" y="33275"/>
                </a:cubicBezTo>
                <a:close/>
                <a:moveTo>
                  <a:pt x="521366" y="251746"/>
                </a:moveTo>
                <a:lnTo>
                  <a:pt x="277796" y="251746"/>
                </a:lnTo>
                <a:lnTo>
                  <a:pt x="277796" y="209725"/>
                </a:lnTo>
                <a:lnTo>
                  <a:pt x="521366" y="209725"/>
                </a:lnTo>
                <a:lnTo>
                  <a:pt x="521366" y="251746"/>
                </a:lnTo>
                <a:close/>
                <a:moveTo>
                  <a:pt x="521366" y="406331"/>
                </a:moveTo>
                <a:lnTo>
                  <a:pt x="277796" y="406331"/>
                </a:lnTo>
                <a:lnTo>
                  <a:pt x="277796" y="268669"/>
                </a:lnTo>
                <a:lnTo>
                  <a:pt x="521366" y="268669"/>
                </a:lnTo>
                <a:lnTo>
                  <a:pt x="521366" y="406331"/>
                </a:lnTo>
                <a:close/>
                <a:moveTo>
                  <a:pt x="17113" y="268859"/>
                </a:moveTo>
                <a:lnTo>
                  <a:pt x="260683" y="268859"/>
                </a:lnTo>
                <a:lnTo>
                  <a:pt x="260683" y="406521"/>
                </a:lnTo>
                <a:lnTo>
                  <a:pt x="17113" y="406521"/>
                </a:lnTo>
                <a:lnTo>
                  <a:pt x="17113" y="268859"/>
                </a:lnTo>
                <a:close/>
                <a:moveTo>
                  <a:pt x="421923" y="145648"/>
                </a:moveTo>
                <a:cubicBezTo>
                  <a:pt x="421923" y="163711"/>
                  <a:pt x="406711" y="178542"/>
                  <a:pt x="388077" y="178542"/>
                </a:cubicBezTo>
                <a:cubicBezTo>
                  <a:pt x="369444" y="178542"/>
                  <a:pt x="354232" y="163901"/>
                  <a:pt x="354232" y="145648"/>
                </a:cubicBezTo>
                <a:cubicBezTo>
                  <a:pt x="354232" y="127394"/>
                  <a:pt x="369444" y="112754"/>
                  <a:pt x="388077" y="112754"/>
                </a:cubicBezTo>
                <a:cubicBezTo>
                  <a:pt x="406711" y="112944"/>
                  <a:pt x="421923" y="127585"/>
                  <a:pt x="421923" y="145648"/>
                </a:cubicBezTo>
                <a:close/>
                <a:moveTo>
                  <a:pt x="66930" y="99634"/>
                </a:moveTo>
                <a:lnTo>
                  <a:pt x="260683" y="99634"/>
                </a:lnTo>
                <a:lnTo>
                  <a:pt x="260683" y="192613"/>
                </a:lnTo>
                <a:lnTo>
                  <a:pt x="19014" y="192613"/>
                </a:lnTo>
                <a:lnTo>
                  <a:pt x="66930" y="99634"/>
                </a:lnTo>
                <a:close/>
                <a:moveTo>
                  <a:pt x="17113" y="209725"/>
                </a:moveTo>
                <a:lnTo>
                  <a:pt x="260683" y="209725"/>
                </a:lnTo>
                <a:lnTo>
                  <a:pt x="260683" y="251746"/>
                </a:lnTo>
                <a:lnTo>
                  <a:pt x="17113" y="251746"/>
                </a:lnTo>
                <a:lnTo>
                  <a:pt x="17113" y="209725"/>
                </a:lnTo>
                <a:close/>
                <a:moveTo>
                  <a:pt x="17113" y="505965"/>
                </a:moveTo>
                <a:lnTo>
                  <a:pt x="17113" y="423634"/>
                </a:lnTo>
                <a:lnTo>
                  <a:pt x="260683" y="423634"/>
                </a:lnTo>
                <a:lnTo>
                  <a:pt x="260683" y="505965"/>
                </a:lnTo>
                <a:lnTo>
                  <a:pt x="17113" y="505965"/>
                </a:lnTo>
                <a:close/>
                <a:moveTo>
                  <a:pt x="521366" y="505965"/>
                </a:moveTo>
                <a:lnTo>
                  <a:pt x="277796" y="505965"/>
                </a:lnTo>
                <a:lnTo>
                  <a:pt x="277796" y="423634"/>
                </a:lnTo>
                <a:lnTo>
                  <a:pt x="521366" y="423634"/>
                </a:lnTo>
                <a:lnTo>
                  <a:pt x="521366" y="505965"/>
                </a:lnTo>
                <a:close/>
              </a:path>
            </a:pathLst>
          </a:custGeom>
          <a:solidFill>
            <a:srgbClr val="009252"/>
          </a:solidFill>
          <a:ln w="1878" cap="flat">
            <a:noFill/>
            <a:prstDash val="solid"/>
            <a:miter/>
          </a:ln>
        </p:spPr>
        <p:txBody>
          <a:bodyPr rtlCol="0" anchor="ctr"/>
          <a:lstStyle/>
          <a:p>
            <a:endParaRPr lang="en-GB" noProof="0" dirty="0"/>
          </a:p>
        </p:txBody>
      </p:sp>
      <p:sp>
        <p:nvSpPr>
          <p:cNvPr id="12" name="Line 65">
            <a:extLst>
              <a:ext uri="{FF2B5EF4-FFF2-40B4-BE49-F238E27FC236}">
                <a16:creationId xmlns:a16="http://schemas.microsoft.com/office/drawing/2014/main" id="{F0650CB8-5FAD-23B7-BA76-96721B14E3A8}"/>
              </a:ext>
            </a:extLst>
          </p:cNvPr>
          <p:cNvSpPr>
            <a:spLocks noChangeShapeType="1"/>
          </p:cNvSpPr>
          <p:nvPr/>
        </p:nvSpPr>
        <p:spPr bwMode="auto">
          <a:xfrm flipH="1" flipV="1">
            <a:off x="4700647" y="2108032"/>
            <a:ext cx="0" cy="1101275"/>
          </a:xfrm>
          <a:prstGeom prst="line">
            <a:avLst/>
          </a:prstGeom>
          <a:noFill/>
          <a:ln w="25400">
            <a:solidFill>
              <a:schemeClr val="accent5"/>
            </a:solidFill>
            <a:round/>
            <a:headEnd type="none" w="med" len="med"/>
            <a:tailEnd type="none" w="med" len="med"/>
          </a:ln>
        </p:spPr>
        <p:txBody>
          <a:bodyPr wrap="square" lIns="62308" tIns="29908" rIns="62308" bIns="29908">
            <a:noAutofit/>
          </a:bodyPr>
          <a:lstStyle/>
          <a:p>
            <a:endParaRPr lang="en-GB" sz="761" noProof="0" dirty="0">
              <a:ln>
                <a:solidFill>
                  <a:schemeClr val="tx1"/>
                </a:solidFill>
                <a:prstDash val="solid"/>
              </a:ln>
            </a:endParaRPr>
          </a:p>
        </p:txBody>
      </p:sp>
      <p:sp>
        <p:nvSpPr>
          <p:cNvPr id="30" name="Line 65">
            <a:extLst>
              <a:ext uri="{FF2B5EF4-FFF2-40B4-BE49-F238E27FC236}">
                <a16:creationId xmlns:a16="http://schemas.microsoft.com/office/drawing/2014/main" id="{8CD4F5B4-8143-6DB6-C487-E85DA92114F1}"/>
              </a:ext>
            </a:extLst>
          </p:cNvPr>
          <p:cNvSpPr>
            <a:spLocks noChangeShapeType="1"/>
          </p:cNvSpPr>
          <p:nvPr/>
        </p:nvSpPr>
        <p:spPr bwMode="auto">
          <a:xfrm>
            <a:off x="4688396" y="3209413"/>
            <a:ext cx="3148603" cy="7524"/>
          </a:xfrm>
          <a:prstGeom prst="line">
            <a:avLst/>
          </a:prstGeom>
          <a:noFill/>
          <a:ln w="25400">
            <a:solidFill>
              <a:schemeClr val="accent5"/>
            </a:solidFill>
            <a:round/>
            <a:headEnd type="none" w="med" len="med"/>
            <a:tailEnd type="triangle" w="med" len="med"/>
          </a:ln>
        </p:spPr>
        <p:txBody>
          <a:bodyPr wrap="square" lIns="62308" tIns="29908" rIns="62308" bIns="29908">
            <a:noAutofit/>
          </a:bodyPr>
          <a:lstStyle/>
          <a:p>
            <a:endParaRPr lang="en-GB" sz="761" noProof="0" dirty="0">
              <a:ln>
                <a:solidFill>
                  <a:schemeClr val="tx1"/>
                </a:solidFill>
                <a:prstDash val="solid"/>
              </a:ln>
            </a:endParaRPr>
          </a:p>
        </p:txBody>
      </p:sp>
      <p:sp>
        <p:nvSpPr>
          <p:cNvPr id="32" name="Rechteck 31">
            <a:extLst>
              <a:ext uri="{FF2B5EF4-FFF2-40B4-BE49-F238E27FC236}">
                <a16:creationId xmlns:a16="http://schemas.microsoft.com/office/drawing/2014/main" id="{9BE49004-AB5A-DBEF-214D-BCFC52F88FDE}"/>
              </a:ext>
            </a:extLst>
          </p:cNvPr>
          <p:cNvSpPr/>
          <p:nvPr/>
        </p:nvSpPr>
        <p:spPr>
          <a:xfrm>
            <a:off x="5906677" y="3062928"/>
            <a:ext cx="702962" cy="276811"/>
          </a:xfrm>
          <a:prstGeom prst="rect">
            <a:avLst/>
          </a:prstGeom>
          <a:solidFill>
            <a:schemeClr val="bg1"/>
          </a:solidFill>
          <a:ln>
            <a:solidFill>
              <a:schemeClr val="bg1"/>
            </a:solidFill>
          </a:ln>
        </p:spPr>
        <p:txBody>
          <a:bodyPr lIns="0" tIns="0" rIns="0" bIns="0" rtlCol="0" anchor="ctr">
            <a:noAutofit/>
          </a:bodyPr>
          <a:lstStyle/>
          <a:p>
            <a:pPr marL="207169" indent="-207169" algn="ctr" defTabSz="247650">
              <a:spcBef>
                <a:spcPts val="225"/>
              </a:spcBef>
              <a:buFont typeface="Symbol" pitchFamily="18" charset="2"/>
              <a:buChar char="-"/>
            </a:pPr>
            <a:endParaRPr lang="en-GB" sz="1350" kern="0" noProof="0" dirty="0">
              <a:solidFill>
                <a:srgbClr val="41474C"/>
              </a:solidFill>
              <a:latin typeface="Corbel" pitchFamily="34" charset="0"/>
            </a:endParaRPr>
          </a:p>
        </p:txBody>
      </p:sp>
      <p:pic>
        <p:nvPicPr>
          <p:cNvPr id="37" name="Grafik 36" descr="Ein Bild, das Grafiken, Clipart, Grün, Design enthält.&#10;&#10;KI-generierte Inhalte können fehlerhaft sein.">
            <a:extLst>
              <a:ext uri="{FF2B5EF4-FFF2-40B4-BE49-F238E27FC236}">
                <a16:creationId xmlns:a16="http://schemas.microsoft.com/office/drawing/2014/main" id="{44AF8FA2-2AB3-C878-4019-8A23FA2205E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15508" y="3111137"/>
            <a:ext cx="341377" cy="195865"/>
          </a:xfrm>
          <a:prstGeom prst="rect">
            <a:avLst/>
          </a:prstGeom>
        </p:spPr>
      </p:pic>
      <p:pic>
        <p:nvPicPr>
          <p:cNvPr id="39" name="Grafik 38" descr="Ein Bild, das Grafiken, Clipart, Symbol, Design enthält.&#10;&#10;KI-generierte Inhalte können fehlerhaft sein.">
            <a:extLst>
              <a:ext uri="{FF2B5EF4-FFF2-40B4-BE49-F238E27FC236}">
                <a16:creationId xmlns:a16="http://schemas.microsoft.com/office/drawing/2014/main" id="{1D1238AD-EADA-8D4A-E47C-8A492ECE405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53393" y="3106645"/>
            <a:ext cx="341377" cy="201199"/>
          </a:xfrm>
          <a:prstGeom prst="rect">
            <a:avLst/>
          </a:prstGeom>
        </p:spPr>
      </p:pic>
      <p:sp>
        <p:nvSpPr>
          <p:cNvPr id="5" name="Freihandform 26">
            <a:extLst>
              <a:ext uri="{FF2B5EF4-FFF2-40B4-BE49-F238E27FC236}">
                <a16:creationId xmlns:a16="http://schemas.microsoft.com/office/drawing/2014/main" id="{A21B4168-05F8-81D6-5526-744D877017AE}"/>
              </a:ext>
            </a:extLst>
          </p:cNvPr>
          <p:cNvSpPr/>
          <p:nvPr/>
        </p:nvSpPr>
        <p:spPr>
          <a:xfrm>
            <a:off x="1889283" y="1727803"/>
            <a:ext cx="1264340" cy="2757684"/>
          </a:xfrm>
          <a:custGeom>
            <a:avLst/>
            <a:gdLst>
              <a:gd name="connsiteX0" fmla="*/ 0 w 819247"/>
              <a:gd name="connsiteY0" fmla="*/ 78131 h 781306"/>
              <a:gd name="connsiteX1" fmla="*/ 78131 w 819247"/>
              <a:gd name="connsiteY1" fmla="*/ 0 h 781306"/>
              <a:gd name="connsiteX2" fmla="*/ 741116 w 819247"/>
              <a:gd name="connsiteY2" fmla="*/ 0 h 781306"/>
              <a:gd name="connsiteX3" fmla="*/ 819247 w 819247"/>
              <a:gd name="connsiteY3" fmla="*/ 78131 h 781306"/>
              <a:gd name="connsiteX4" fmla="*/ 819247 w 819247"/>
              <a:gd name="connsiteY4" fmla="*/ 703175 h 781306"/>
              <a:gd name="connsiteX5" fmla="*/ 741116 w 819247"/>
              <a:gd name="connsiteY5" fmla="*/ 781306 h 781306"/>
              <a:gd name="connsiteX6" fmla="*/ 78131 w 819247"/>
              <a:gd name="connsiteY6" fmla="*/ 781306 h 781306"/>
              <a:gd name="connsiteX7" fmla="*/ 0 w 819247"/>
              <a:gd name="connsiteY7" fmla="*/ 703175 h 781306"/>
              <a:gd name="connsiteX8" fmla="*/ 0 w 819247"/>
              <a:gd name="connsiteY8" fmla="*/ 78131 h 781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9247" h="781306">
                <a:moveTo>
                  <a:pt x="0" y="78131"/>
                </a:moveTo>
                <a:cubicBezTo>
                  <a:pt x="0" y="34980"/>
                  <a:pt x="34980" y="0"/>
                  <a:pt x="78131" y="0"/>
                </a:cubicBezTo>
                <a:lnTo>
                  <a:pt x="741116" y="0"/>
                </a:lnTo>
                <a:cubicBezTo>
                  <a:pt x="784267" y="0"/>
                  <a:pt x="819247" y="34980"/>
                  <a:pt x="819247" y="78131"/>
                </a:cubicBezTo>
                <a:lnTo>
                  <a:pt x="819247" y="703175"/>
                </a:lnTo>
                <a:cubicBezTo>
                  <a:pt x="819247" y="746326"/>
                  <a:pt x="784267" y="781306"/>
                  <a:pt x="741116" y="781306"/>
                </a:cubicBezTo>
                <a:lnTo>
                  <a:pt x="78131" y="781306"/>
                </a:lnTo>
                <a:cubicBezTo>
                  <a:pt x="34980" y="781306"/>
                  <a:pt x="0" y="746326"/>
                  <a:pt x="0" y="703175"/>
                </a:cubicBezTo>
                <a:lnTo>
                  <a:pt x="0" y="78131"/>
                </a:lnTo>
                <a:close/>
              </a:path>
            </a:pathLst>
          </a:custGeom>
          <a:noFill/>
          <a:ln w="38100" cap="sq">
            <a:solidFill>
              <a:srgbClr val="D7DC46"/>
            </a:solidFill>
            <a:prstDash val="sysDot"/>
            <a:beve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48596" tIns="48596" rIns="48596" bIns="48596" numCol="1" spcCol="1270" anchor="ctr" anchorCtr="0">
            <a:noAutofit/>
          </a:bodyPr>
          <a:lstStyle/>
          <a:p>
            <a:pPr defTabSz="366713">
              <a:lnSpc>
                <a:spcPct val="90000"/>
              </a:lnSpc>
              <a:spcAft>
                <a:spcPct val="35000"/>
              </a:spcAft>
            </a:pPr>
            <a:endParaRPr lang="en-GB" sz="800" b="1" noProof="0" dirty="0">
              <a:solidFill>
                <a:schemeClr val="tx1"/>
              </a:solidFill>
              <a:latin typeface="Calibri" panose="020F0502020204030204" pitchFamily="34" charset="0"/>
            </a:endParaRPr>
          </a:p>
        </p:txBody>
      </p:sp>
      <p:sp>
        <p:nvSpPr>
          <p:cNvPr id="8" name="Text Box 25">
            <a:extLst>
              <a:ext uri="{FF2B5EF4-FFF2-40B4-BE49-F238E27FC236}">
                <a16:creationId xmlns:a16="http://schemas.microsoft.com/office/drawing/2014/main" id="{27ED7FF8-4355-1D26-9A80-8583C5E7627D}"/>
              </a:ext>
            </a:extLst>
          </p:cNvPr>
          <p:cNvSpPr txBox="1">
            <a:spLocks noChangeArrowheads="1"/>
          </p:cNvSpPr>
          <p:nvPr/>
        </p:nvSpPr>
        <p:spPr bwMode="auto">
          <a:xfrm>
            <a:off x="1923797" y="3658548"/>
            <a:ext cx="1260711" cy="706731"/>
          </a:xfrm>
          <a:prstGeom prst="rect">
            <a:avLst/>
          </a:prstGeom>
          <a:noFill/>
          <a:ln w="12700">
            <a:noFill/>
            <a:miter lim="800000"/>
            <a:headEnd/>
            <a:tailEnd/>
          </a:ln>
        </p:spPr>
        <p:txBody>
          <a:bodyPr wrap="square" lIns="62308" tIns="29908" rIns="62308" bIns="29908">
            <a:spAutoFit/>
          </a:bodyPr>
          <a:lstStyle/>
          <a:p>
            <a:pPr algn="ctr">
              <a:spcBef>
                <a:spcPct val="50000"/>
              </a:spcBef>
            </a:pPr>
            <a:r>
              <a:rPr lang="en-GB" sz="1400" b="1" dirty="0">
                <a:solidFill>
                  <a:srgbClr val="009252"/>
                </a:solidFill>
              </a:rPr>
              <a:t>Use Case 2:</a:t>
            </a:r>
            <a:br>
              <a:rPr lang="en-GB" sz="1400" b="1" dirty="0">
                <a:solidFill>
                  <a:srgbClr val="009252"/>
                </a:solidFill>
              </a:rPr>
            </a:br>
            <a:r>
              <a:rPr lang="en-GB" sz="1400" b="1" dirty="0">
                <a:solidFill>
                  <a:srgbClr val="009252"/>
                </a:solidFill>
              </a:rPr>
              <a:t>APP “Glass Future”</a:t>
            </a:r>
            <a:endParaRPr lang="en-GB" sz="900" dirty="0">
              <a:latin typeface="Calibri" panose="020F0502020204030204" pitchFamily="34" charset="0"/>
            </a:endParaRPr>
          </a:p>
        </p:txBody>
      </p:sp>
    </p:spTree>
    <p:extLst>
      <p:ext uri="{BB962C8B-B14F-4D97-AF65-F5344CB8AC3E}">
        <p14:creationId xmlns:p14="http://schemas.microsoft.com/office/powerpoint/2010/main" val="1983075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10695C-7D53-D3D6-4B6F-DF8844AFBA0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EF4FD709-3B61-B4BC-FE11-070EC8818006}"/>
              </a:ext>
            </a:extLst>
          </p:cNvPr>
          <p:cNvSpPr>
            <a:spLocks noGrp="1"/>
          </p:cNvSpPr>
          <p:nvPr>
            <p:ph type="title"/>
          </p:nvPr>
        </p:nvSpPr>
        <p:spPr/>
        <p:txBody>
          <a:bodyPr/>
          <a:lstStyle/>
          <a:p>
            <a:r>
              <a:rPr lang="de-AT" dirty="0"/>
              <a:t>Use </a:t>
            </a:r>
            <a:r>
              <a:rPr lang="de-AT" dirty="0" err="1"/>
              <a:t>case</a:t>
            </a:r>
            <a:r>
              <a:rPr lang="de-AT" dirty="0"/>
              <a:t> 2 - Purpose </a:t>
            </a:r>
            <a:r>
              <a:rPr lang="de-AT" dirty="0" err="1"/>
              <a:t>of</a:t>
            </a:r>
            <a:r>
              <a:rPr lang="de-AT" dirty="0"/>
              <a:t> </a:t>
            </a:r>
            <a:r>
              <a:rPr lang="de-AT" dirty="0" err="1"/>
              <a:t>the</a:t>
            </a:r>
            <a:r>
              <a:rPr lang="de-AT" dirty="0"/>
              <a:t> APP „Glass Future“</a:t>
            </a:r>
          </a:p>
        </p:txBody>
      </p:sp>
      <p:sp>
        <p:nvSpPr>
          <p:cNvPr id="3" name="Inhaltsplatzhalter 2">
            <a:extLst>
              <a:ext uri="{FF2B5EF4-FFF2-40B4-BE49-F238E27FC236}">
                <a16:creationId xmlns:a16="http://schemas.microsoft.com/office/drawing/2014/main" id="{38203135-116D-441B-DD1E-A3FA05E7BDDD}"/>
              </a:ext>
            </a:extLst>
          </p:cNvPr>
          <p:cNvSpPr>
            <a:spLocks noGrp="1"/>
          </p:cNvSpPr>
          <p:nvPr>
            <p:ph idx="1"/>
          </p:nvPr>
        </p:nvSpPr>
        <p:spPr>
          <a:xfrm>
            <a:off x="522288" y="1023938"/>
            <a:ext cx="6465208" cy="3297237"/>
          </a:xfrm>
        </p:spPr>
        <p:txBody>
          <a:bodyPr/>
          <a:lstStyle/>
          <a:p>
            <a:pPr marL="0" indent="0">
              <a:buNone/>
            </a:pPr>
            <a:r>
              <a:rPr lang="de-AT" b="1" dirty="0" err="1">
                <a:highlight>
                  <a:srgbClr val="D7DC46"/>
                </a:highlight>
              </a:rPr>
              <a:t>Comprehensive</a:t>
            </a:r>
            <a:r>
              <a:rPr lang="de-AT" b="1" dirty="0">
                <a:highlight>
                  <a:srgbClr val="D7DC46"/>
                </a:highlight>
              </a:rPr>
              <a:t> and </a:t>
            </a:r>
            <a:r>
              <a:rPr lang="de-AT" b="1" dirty="0" err="1">
                <a:highlight>
                  <a:srgbClr val="D7DC46"/>
                </a:highlight>
              </a:rPr>
              <a:t>nationwide</a:t>
            </a:r>
            <a:r>
              <a:rPr lang="de-AT" b="1" dirty="0">
                <a:highlight>
                  <a:srgbClr val="D7DC46"/>
                </a:highlight>
              </a:rPr>
              <a:t> </a:t>
            </a:r>
            <a:r>
              <a:rPr lang="de-AT" b="1" dirty="0" err="1">
                <a:highlight>
                  <a:srgbClr val="D7DC46"/>
                </a:highlight>
              </a:rPr>
              <a:t>evaluation</a:t>
            </a:r>
            <a:r>
              <a:rPr lang="de-AT" b="1" dirty="0">
                <a:highlight>
                  <a:srgbClr val="D7DC46"/>
                </a:highlight>
              </a:rPr>
              <a:t> </a:t>
            </a:r>
            <a:r>
              <a:rPr lang="de-AT" dirty="0" err="1"/>
              <a:t>of</a:t>
            </a:r>
            <a:r>
              <a:rPr lang="de-AT" dirty="0"/>
              <a:t>:</a:t>
            </a:r>
          </a:p>
          <a:p>
            <a:r>
              <a:rPr lang="de-AT" dirty="0"/>
              <a:t>Collection </a:t>
            </a:r>
            <a:r>
              <a:rPr lang="de-AT" dirty="0" err="1"/>
              <a:t>sites</a:t>
            </a:r>
            <a:r>
              <a:rPr lang="de-AT" dirty="0"/>
              <a:t>:</a:t>
            </a:r>
          </a:p>
          <a:p>
            <a:pPr lvl="1">
              <a:spcBef>
                <a:spcPts val="0"/>
              </a:spcBef>
            </a:pPr>
            <a:r>
              <a:rPr lang="de-AT" dirty="0" err="1"/>
              <a:t>Condition</a:t>
            </a:r>
            <a:endParaRPr lang="de-AT" dirty="0"/>
          </a:p>
          <a:p>
            <a:pPr lvl="1">
              <a:spcBef>
                <a:spcPts val="0"/>
              </a:spcBef>
            </a:pPr>
            <a:r>
              <a:rPr lang="de-AT" dirty="0" err="1"/>
              <a:t>Cleanliness</a:t>
            </a:r>
            <a:endParaRPr lang="de-AT" dirty="0"/>
          </a:p>
          <a:p>
            <a:r>
              <a:rPr lang="de-AT" dirty="0"/>
              <a:t>Collection </a:t>
            </a:r>
            <a:r>
              <a:rPr lang="de-AT" dirty="0" err="1"/>
              <a:t>bins</a:t>
            </a:r>
            <a:r>
              <a:rPr lang="de-AT" dirty="0"/>
              <a:t>: </a:t>
            </a:r>
          </a:p>
          <a:p>
            <a:pPr lvl="1">
              <a:spcBef>
                <a:spcPts val="0"/>
              </a:spcBef>
            </a:pPr>
            <a:r>
              <a:rPr lang="de-AT" dirty="0"/>
              <a:t>Visual </a:t>
            </a:r>
            <a:r>
              <a:rPr lang="de-AT" dirty="0" err="1"/>
              <a:t>appearence</a:t>
            </a:r>
            <a:r>
              <a:rPr lang="de-AT" dirty="0"/>
              <a:t> </a:t>
            </a:r>
          </a:p>
          <a:p>
            <a:pPr marL="352425" lvl="2">
              <a:spcBef>
                <a:spcPts val="0"/>
              </a:spcBef>
            </a:pPr>
            <a:r>
              <a:rPr lang="de-AT" dirty="0"/>
              <a:t>Technical </a:t>
            </a:r>
            <a:r>
              <a:rPr lang="de-AT" dirty="0" err="1"/>
              <a:t>condition</a:t>
            </a:r>
            <a:r>
              <a:rPr lang="de-AT" dirty="0"/>
              <a:t> </a:t>
            </a:r>
            <a:endParaRPr lang="de-AT" b="1" dirty="0"/>
          </a:p>
          <a:p>
            <a:pPr marL="0" indent="0">
              <a:buNone/>
            </a:pPr>
            <a:r>
              <a:rPr lang="de-AT" b="1" dirty="0" err="1"/>
              <a:t>Why</a:t>
            </a:r>
            <a:r>
              <a:rPr lang="de-AT" b="1" dirty="0"/>
              <a:t> </a:t>
            </a:r>
            <a:r>
              <a:rPr lang="de-AT" b="1" dirty="0" err="1"/>
              <a:t>is</a:t>
            </a:r>
            <a:r>
              <a:rPr lang="de-AT" b="1" dirty="0"/>
              <a:t> </a:t>
            </a:r>
            <a:r>
              <a:rPr lang="de-AT" b="1" dirty="0" err="1"/>
              <a:t>that</a:t>
            </a:r>
            <a:r>
              <a:rPr lang="de-AT" b="1" dirty="0"/>
              <a:t> </a:t>
            </a:r>
            <a:r>
              <a:rPr lang="de-AT" b="1" dirty="0" err="1"/>
              <a:t>of</a:t>
            </a:r>
            <a:r>
              <a:rPr lang="de-AT" b="1" dirty="0"/>
              <a:t> such </a:t>
            </a:r>
            <a:r>
              <a:rPr lang="de-AT" b="1" dirty="0" err="1"/>
              <a:t>importance</a:t>
            </a:r>
            <a:r>
              <a:rPr lang="de-AT" b="1" dirty="0"/>
              <a:t> </a:t>
            </a:r>
            <a:r>
              <a:rPr lang="de-AT" b="1" dirty="0" err="1"/>
              <a:t>to</a:t>
            </a:r>
            <a:r>
              <a:rPr lang="de-AT" b="1" dirty="0"/>
              <a:t> </a:t>
            </a:r>
            <a:r>
              <a:rPr lang="de-AT" b="1" dirty="0" err="1"/>
              <a:t>us</a:t>
            </a:r>
            <a:r>
              <a:rPr lang="de-AT" b="1" dirty="0"/>
              <a:t>?</a:t>
            </a:r>
            <a:br>
              <a:rPr lang="de-AT" b="1" dirty="0"/>
            </a:br>
            <a:br>
              <a:rPr lang="de-AT" dirty="0"/>
            </a:br>
            <a:r>
              <a:rPr lang="de-AT" dirty="0" err="1"/>
              <a:t>Increased</a:t>
            </a:r>
            <a:r>
              <a:rPr lang="de-AT" dirty="0"/>
              <a:t> </a:t>
            </a:r>
            <a:r>
              <a:rPr lang="de-AT" dirty="0" err="1"/>
              <a:t>user</a:t>
            </a:r>
            <a:r>
              <a:rPr lang="de-AT" dirty="0"/>
              <a:t> </a:t>
            </a:r>
            <a:r>
              <a:rPr lang="de-AT" b="1" dirty="0" err="1">
                <a:highlight>
                  <a:srgbClr val="D7DC46"/>
                </a:highlight>
              </a:rPr>
              <a:t>safety</a:t>
            </a:r>
            <a:r>
              <a:rPr lang="de-AT" b="1" dirty="0">
                <a:highlight>
                  <a:srgbClr val="D7DC46"/>
                </a:highlight>
              </a:rPr>
              <a:t> </a:t>
            </a:r>
            <a:r>
              <a:rPr lang="de-AT" dirty="0"/>
              <a:t>and </a:t>
            </a:r>
            <a:r>
              <a:rPr lang="de-AT" dirty="0" err="1"/>
              <a:t>stronger</a:t>
            </a:r>
            <a:r>
              <a:rPr lang="de-AT" dirty="0"/>
              <a:t> </a:t>
            </a:r>
            <a:r>
              <a:rPr lang="de-AT" b="1" dirty="0" err="1">
                <a:highlight>
                  <a:srgbClr val="D7DC46"/>
                </a:highlight>
              </a:rPr>
              <a:t>trust</a:t>
            </a:r>
            <a:r>
              <a:rPr lang="de-AT" b="1" dirty="0">
                <a:highlight>
                  <a:srgbClr val="D7DC46"/>
                </a:highlight>
              </a:rPr>
              <a:t> </a:t>
            </a:r>
            <a:r>
              <a:rPr lang="de-AT" dirty="0"/>
              <a:t>in </a:t>
            </a:r>
            <a:r>
              <a:rPr lang="de-AT" dirty="0" err="1"/>
              <a:t>the</a:t>
            </a:r>
            <a:r>
              <a:rPr lang="de-AT" dirty="0"/>
              <a:t> </a:t>
            </a:r>
            <a:r>
              <a:rPr lang="de-AT" dirty="0" err="1"/>
              <a:t>system</a:t>
            </a:r>
            <a:r>
              <a:rPr lang="de-AT" dirty="0"/>
              <a:t>.</a:t>
            </a:r>
          </a:p>
          <a:p>
            <a:pPr marL="0" indent="0">
              <a:buNone/>
            </a:pPr>
            <a:r>
              <a:rPr lang="de-AT" dirty="0"/>
              <a:t>Nice </a:t>
            </a:r>
            <a:r>
              <a:rPr lang="de-AT" dirty="0" err="1"/>
              <a:t>looking</a:t>
            </a:r>
            <a:r>
              <a:rPr lang="de-AT" dirty="0"/>
              <a:t> </a:t>
            </a:r>
            <a:r>
              <a:rPr lang="de-AT" dirty="0" err="1"/>
              <a:t>collection</a:t>
            </a:r>
            <a:r>
              <a:rPr lang="de-AT" dirty="0"/>
              <a:t> </a:t>
            </a:r>
            <a:r>
              <a:rPr lang="de-AT" dirty="0" err="1"/>
              <a:t>sites</a:t>
            </a:r>
            <a:r>
              <a:rPr lang="de-AT" dirty="0"/>
              <a:t> </a:t>
            </a:r>
            <a:r>
              <a:rPr lang="de-AT" dirty="0" err="1"/>
              <a:t>help</a:t>
            </a:r>
            <a:r>
              <a:rPr lang="de-AT" dirty="0"/>
              <a:t> a </a:t>
            </a:r>
            <a:r>
              <a:rPr lang="de-AT" dirty="0" err="1"/>
              <a:t>lot</a:t>
            </a:r>
            <a:r>
              <a:rPr lang="de-AT" dirty="0"/>
              <a:t> </a:t>
            </a:r>
            <a:r>
              <a:rPr lang="de-AT" dirty="0" err="1"/>
              <a:t>to</a:t>
            </a:r>
            <a:r>
              <a:rPr lang="de-AT" dirty="0"/>
              <a:t> </a:t>
            </a:r>
            <a:r>
              <a:rPr lang="de-AT" b="1" dirty="0" err="1">
                <a:highlight>
                  <a:srgbClr val="D7DC46"/>
                </a:highlight>
              </a:rPr>
              <a:t>increase</a:t>
            </a:r>
            <a:r>
              <a:rPr lang="de-AT" dirty="0"/>
              <a:t> </a:t>
            </a:r>
            <a:r>
              <a:rPr lang="de-AT" dirty="0" err="1"/>
              <a:t>the</a:t>
            </a:r>
            <a:r>
              <a:rPr lang="de-AT" dirty="0"/>
              <a:t> </a:t>
            </a:r>
            <a:r>
              <a:rPr lang="de-AT" dirty="0" err="1"/>
              <a:t>collection</a:t>
            </a:r>
            <a:r>
              <a:rPr lang="de-AT" dirty="0"/>
              <a:t> </a:t>
            </a:r>
            <a:br>
              <a:rPr lang="de-AT" dirty="0"/>
            </a:br>
            <a:r>
              <a:rPr lang="de-AT" b="1" dirty="0" err="1">
                <a:highlight>
                  <a:srgbClr val="D7DC46"/>
                </a:highlight>
              </a:rPr>
              <a:t>amount</a:t>
            </a:r>
            <a:r>
              <a:rPr lang="de-AT" b="1" dirty="0">
                <a:highlight>
                  <a:srgbClr val="D7DC46"/>
                </a:highlight>
              </a:rPr>
              <a:t> and </a:t>
            </a:r>
            <a:r>
              <a:rPr lang="de-AT" b="1" dirty="0" err="1">
                <a:highlight>
                  <a:srgbClr val="D7DC46"/>
                </a:highlight>
              </a:rPr>
              <a:t>quality</a:t>
            </a:r>
            <a:r>
              <a:rPr lang="de-AT" dirty="0">
                <a:highlight>
                  <a:srgbClr val="D7DC46"/>
                </a:highlight>
              </a:rPr>
              <a:t>.</a:t>
            </a:r>
            <a:r>
              <a:rPr lang="de-AT" dirty="0"/>
              <a:t> </a:t>
            </a:r>
          </a:p>
          <a:p>
            <a:pPr marL="0" indent="0">
              <a:buNone/>
            </a:pPr>
            <a:endParaRPr lang="de-AT" dirty="0"/>
          </a:p>
        </p:txBody>
      </p:sp>
      <p:pic>
        <p:nvPicPr>
          <p:cNvPr id="9" name="Grafik 8">
            <a:extLst>
              <a:ext uri="{FF2B5EF4-FFF2-40B4-BE49-F238E27FC236}">
                <a16:creationId xmlns:a16="http://schemas.microsoft.com/office/drawing/2014/main" id="{355D57D8-1058-6995-9182-391D530D3C5E}"/>
              </a:ext>
            </a:extLst>
          </p:cNvPr>
          <p:cNvPicPr>
            <a:picLocks noChangeAspect="1"/>
          </p:cNvPicPr>
          <p:nvPr/>
        </p:nvPicPr>
        <p:blipFill>
          <a:blip r:embed="rId3"/>
          <a:stretch>
            <a:fillRect/>
          </a:stretch>
        </p:blipFill>
        <p:spPr>
          <a:xfrm>
            <a:off x="6813073" y="1293049"/>
            <a:ext cx="2058237" cy="3147463"/>
          </a:xfrm>
          <a:prstGeom prst="rect">
            <a:avLst/>
          </a:prstGeom>
        </p:spPr>
      </p:pic>
    </p:spTree>
    <p:extLst>
      <p:ext uri="{BB962C8B-B14F-4D97-AF65-F5344CB8AC3E}">
        <p14:creationId xmlns:p14="http://schemas.microsoft.com/office/powerpoint/2010/main" val="26057497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7" end="7"/>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BB4148-8495-6446-CA6B-261D25D9994E}"/>
            </a:ext>
          </a:extLst>
        </p:cNvPr>
        <p:cNvGrpSpPr/>
        <p:nvPr/>
      </p:nvGrpSpPr>
      <p:grpSpPr>
        <a:xfrm>
          <a:off x="0" y="0"/>
          <a:ext cx="0" cy="0"/>
          <a:chOff x="0" y="0"/>
          <a:chExt cx="0" cy="0"/>
        </a:xfrm>
      </p:grpSpPr>
      <p:sp>
        <p:nvSpPr>
          <p:cNvPr id="26" name="Textfeld 25">
            <a:extLst>
              <a:ext uri="{FF2B5EF4-FFF2-40B4-BE49-F238E27FC236}">
                <a16:creationId xmlns:a16="http://schemas.microsoft.com/office/drawing/2014/main" id="{A2583B3E-CC43-69B1-1C4C-3C1779D14B47}"/>
              </a:ext>
            </a:extLst>
          </p:cNvPr>
          <p:cNvSpPr txBox="1"/>
          <p:nvPr/>
        </p:nvSpPr>
        <p:spPr>
          <a:xfrm>
            <a:off x="7141606" y="3416354"/>
            <a:ext cx="356427" cy="830997"/>
          </a:xfrm>
          <a:prstGeom prst="rect">
            <a:avLst/>
          </a:prstGeom>
          <a:solidFill>
            <a:schemeClr val="bg1"/>
          </a:solidFill>
          <a:ln>
            <a:solidFill>
              <a:schemeClr val="bg1"/>
            </a:solidFill>
          </a:ln>
        </p:spPr>
        <p:txBody>
          <a:bodyPr wrap="square" lIns="91440" tIns="45720" rIns="91440" bIns="45720" rtlCol="0" anchor="t">
            <a:spAutoFit/>
          </a:bodyPr>
          <a:lstStyle/>
          <a:p>
            <a:r>
              <a:rPr lang="de-AT" sz="4800" b="1" dirty="0">
                <a:solidFill>
                  <a:srgbClr val="009252"/>
                </a:solidFill>
                <a:latin typeface="Calisto MT"/>
              </a:rPr>
              <a:t>!</a:t>
            </a:r>
          </a:p>
        </p:txBody>
      </p:sp>
      <p:sp>
        <p:nvSpPr>
          <p:cNvPr id="3" name="Titel 2">
            <a:extLst>
              <a:ext uri="{FF2B5EF4-FFF2-40B4-BE49-F238E27FC236}">
                <a16:creationId xmlns:a16="http://schemas.microsoft.com/office/drawing/2014/main" id="{2012A40F-A512-6CE1-2758-E770244D3622}"/>
              </a:ext>
            </a:extLst>
          </p:cNvPr>
          <p:cNvSpPr>
            <a:spLocks noGrp="1"/>
          </p:cNvSpPr>
          <p:nvPr>
            <p:ph type="title"/>
          </p:nvPr>
        </p:nvSpPr>
        <p:spPr>
          <a:xfrm>
            <a:off x="520699" y="432001"/>
            <a:ext cx="7312350" cy="386822"/>
          </a:xfrm>
        </p:spPr>
        <p:txBody>
          <a:bodyPr/>
          <a:lstStyle/>
          <a:p>
            <a:r>
              <a:rPr lang="de-AT" dirty="0"/>
              <a:t>App „</a:t>
            </a:r>
            <a:r>
              <a:rPr lang="de-AT" dirty="0" err="1"/>
              <a:t>Glassfuture</a:t>
            </a:r>
            <a:r>
              <a:rPr lang="de-AT" dirty="0"/>
              <a:t>“: </a:t>
            </a:r>
            <a:r>
              <a:rPr lang="de-AT" dirty="0" err="1"/>
              <a:t>One</a:t>
            </a:r>
            <a:r>
              <a:rPr lang="de-AT" dirty="0"/>
              <a:t> </a:t>
            </a:r>
            <a:r>
              <a:rPr lang="de-AT" dirty="0" err="1"/>
              <a:t>tool</a:t>
            </a:r>
            <a:r>
              <a:rPr lang="de-AT" dirty="0"/>
              <a:t> </a:t>
            </a:r>
            <a:r>
              <a:rPr lang="de-AT" dirty="0" err="1"/>
              <a:t>for</a:t>
            </a:r>
            <a:r>
              <a:rPr lang="de-AT" dirty="0"/>
              <a:t> all </a:t>
            </a:r>
            <a:r>
              <a:rPr lang="de-AT" dirty="0" err="1"/>
              <a:t>stakeholders</a:t>
            </a:r>
            <a:endParaRPr lang="de-AT" dirty="0"/>
          </a:p>
        </p:txBody>
      </p:sp>
      <p:sp>
        <p:nvSpPr>
          <p:cNvPr id="6" name="Rechteck 5">
            <a:extLst>
              <a:ext uri="{FF2B5EF4-FFF2-40B4-BE49-F238E27FC236}">
                <a16:creationId xmlns:a16="http://schemas.microsoft.com/office/drawing/2014/main" id="{587D4BE7-5493-36A7-B78D-D26C0A828B41}"/>
              </a:ext>
            </a:extLst>
          </p:cNvPr>
          <p:cNvSpPr/>
          <p:nvPr/>
        </p:nvSpPr>
        <p:spPr>
          <a:xfrm>
            <a:off x="2962311" y="2763298"/>
            <a:ext cx="2242947" cy="1463710"/>
          </a:xfrm>
          <a:prstGeom prst="rect">
            <a:avLst/>
          </a:prstGeom>
          <a:noFill/>
          <a:ln w="3810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7" name="Rechteck 6">
            <a:extLst>
              <a:ext uri="{FF2B5EF4-FFF2-40B4-BE49-F238E27FC236}">
                <a16:creationId xmlns:a16="http://schemas.microsoft.com/office/drawing/2014/main" id="{AF1A48A9-F4F4-0132-2588-350BE87ACFB1}"/>
              </a:ext>
            </a:extLst>
          </p:cNvPr>
          <p:cNvSpPr/>
          <p:nvPr/>
        </p:nvSpPr>
        <p:spPr>
          <a:xfrm>
            <a:off x="2962311" y="1142164"/>
            <a:ext cx="2242947" cy="1463710"/>
          </a:xfrm>
          <a:prstGeom prst="rect">
            <a:avLst/>
          </a:prstGeom>
          <a:noFill/>
          <a:ln w="3810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8" name="Rechteck 7">
            <a:extLst>
              <a:ext uri="{FF2B5EF4-FFF2-40B4-BE49-F238E27FC236}">
                <a16:creationId xmlns:a16="http://schemas.microsoft.com/office/drawing/2014/main" id="{EB50F8A0-A4BA-FC91-D476-6A129F3D6288}"/>
              </a:ext>
            </a:extLst>
          </p:cNvPr>
          <p:cNvSpPr/>
          <p:nvPr/>
        </p:nvSpPr>
        <p:spPr>
          <a:xfrm>
            <a:off x="550706" y="2763298"/>
            <a:ext cx="2242947" cy="1463710"/>
          </a:xfrm>
          <a:prstGeom prst="rect">
            <a:avLst/>
          </a:prstGeom>
          <a:noFill/>
          <a:ln w="3810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9" name="Rechteck 8">
            <a:extLst>
              <a:ext uri="{FF2B5EF4-FFF2-40B4-BE49-F238E27FC236}">
                <a16:creationId xmlns:a16="http://schemas.microsoft.com/office/drawing/2014/main" id="{6990AEB5-F6CC-FD48-1556-75A657C19F31}"/>
              </a:ext>
            </a:extLst>
          </p:cNvPr>
          <p:cNvSpPr/>
          <p:nvPr/>
        </p:nvSpPr>
        <p:spPr>
          <a:xfrm>
            <a:off x="550706" y="1142164"/>
            <a:ext cx="2242947" cy="1463710"/>
          </a:xfrm>
          <a:prstGeom prst="rect">
            <a:avLst/>
          </a:prstGeom>
          <a:noFill/>
          <a:ln w="3810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10" name="Rechteck 9">
            <a:extLst>
              <a:ext uri="{FF2B5EF4-FFF2-40B4-BE49-F238E27FC236}">
                <a16:creationId xmlns:a16="http://schemas.microsoft.com/office/drawing/2014/main" id="{CA7EAA72-1150-FC06-0FD2-4148054A8C77}"/>
              </a:ext>
            </a:extLst>
          </p:cNvPr>
          <p:cNvSpPr/>
          <p:nvPr/>
        </p:nvSpPr>
        <p:spPr>
          <a:xfrm>
            <a:off x="5373916" y="2763298"/>
            <a:ext cx="2242947" cy="1463710"/>
          </a:xfrm>
          <a:prstGeom prst="rect">
            <a:avLst/>
          </a:prstGeom>
          <a:noFill/>
          <a:ln w="3810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11" name="Rechteck 10">
            <a:extLst>
              <a:ext uri="{FF2B5EF4-FFF2-40B4-BE49-F238E27FC236}">
                <a16:creationId xmlns:a16="http://schemas.microsoft.com/office/drawing/2014/main" id="{E5F57EC4-BB6D-B96A-D541-FDB352E42C14}"/>
              </a:ext>
            </a:extLst>
          </p:cNvPr>
          <p:cNvSpPr/>
          <p:nvPr/>
        </p:nvSpPr>
        <p:spPr>
          <a:xfrm>
            <a:off x="5373916" y="1142164"/>
            <a:ext cx="2242947" cy="1463710"/>
          </a:xfrm>
          <a:prstGeom prst="rect">
            <a:avLst/>
          </a:prstGeom>
          <a:noFill/>
          <a:ln w="3810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13" name="Textfeld 12">
            <a:extLst>
              <a:ext uri="{FF2B5EF4-FFF2-40B4-BE49-F238E27FC236}">
                <a16:creationId xmlns:a16="http://schemas.microsoft.com/office/drawing/2014/main" id="{8798D2FB-206A-B515-C35F-3F5BEFA5991C}"/>
              </a:ext>
            </a:extLst>
          </p:cNvPr>
          <p:cNvSpPr txBox="1"/>
          <p:nvPr/>
        </p:nvSpPr>
        <p:spPr>
          <a:xfrm>
            <a:off x="586959" y="1182610"/>
            <a:ext cx="1527349" cy="954107"/>
          </a:xfrm>
          <a:prstGeom prst="rect">
            <a:avLst/>
          </a:prstGeom>
          <a:noFill/>
        </p:spPr>
        <p:txBody>
          <a:bodyPr wrap="square" rtlCol="0">
            <a:spAutoFit/>
          </a:bodyPr>
          <a:lstStyle/>
          <a:p>
            <a:r>
              <a:rPr lang="en-US" sz="1400" dirty="0">
                <a:solidFill>
                  <a:schemeClr val="accent1"/>
                </a:solidFill>
              </a:rPr>
              <a:t>Operational partner (</a:t>
            </a:r>
            <a:r>
              <a:rPr lang="en-US" sz="1400" b="1" dirty="0">
                <a:solidFill>
                  <a:schemeClr val="accent1"/>
                </a:solidFill>
              </a:rPr>
              <a:t>truck driver</a:t>
            </a:r>
            <a:r>
              <a:rPr lang="en-US" sz="1400" dirty="0">
                <a:solidFill>
                  <a:schemeClr val="accent1"/>
                </a:solidFill>
              </a:rPr>
              <a:t>) in charge of the evaluation </a:t>
            </a:r>
          </a:p>
        </p:txBody>
      </p:sp>
      <p:sp>
        <p:nvSpPr>
          <p:cNvPr id="14" name="Textfeld 13">
            <a:extLst>
              <a:ext uri="{FF2B5EF4-FFF2-40B4-BE49-F238E27FC236}">
                <a16:creationId xmlns:a16="http://schemas.microsoft.com/office/drawing/2014/main" id="{5CF0F2BE-D667-3C86-821A-4B95C9466B8D}"/>
              </a:ext>
            </a:extLst>
          </p:cNvPr>
          <p:cNvSpPr txBox="1"/>
          <p:nvPr/>
        </p:nvSpPr>
        <p:spPr>
          <a:xfrm>
            <a:off x="2998565" y="1210685"/>
            <a:ext cx="1511727" cy="1169551"/>
          </a:xfrm>
          <a:prstGeom prst="rect">
            <a:avLst/>
          </a:prstGeom>
          <a:noFill/>
        </p:spPr>
        <p:txBody>
          <a:bodyPr wrap="square" lIns="91440" tIns="45720" rIns="91440" bIns="45720" rtlCol="0" anchor="t">
            <a:spAutoFit/>
          </a:bodyPr>
          <a:lstStyle/>
          <a:p>
            <a:r>
              <a:rPr lang="en-US" sz="1400" dirty="0">
                <a:solidFill>
                  <a:schemeClr val="accent1"/>
                </a:solidFill>
              </a:rPr>
              <a:t>Subjective evaluation of the driver – in case of defects </a:t>
            </a:r>
            <a:r>
              <a:rPr lang="en-US" sz="1400" b="1" dirty="0">
                <a:solidFill>
                  <a:schemeClr val="accent1"/>
                </a:solidFill>
              </a:rPr>
              <a:t>photo evidence</a:t>
            </a:r>
          </a:p>
        </p:txBody>
      </p:sp>
      <p:sp>
        <p:nvSpPr>
          <p:cNvPr id="15" name="Textfeld 14">
            <a:extLst>
              <a:ext uri="{FF2B5EF4-FFF2-40B4-BE49-F238E27FC236}">
                <a16:creationId xmlns:a16="http://schemas.microsoft.com/office/drawing/2014/main" id="{C8B5D5CF-4936-6D0A-3DB4-0275285864EC}"/>
              </a:ext>
            </a:extLst>
          </p:cNvPr>
          <p:cNvSpPr txBox="1"/>
          <p:nvPr/>
        </p:nvSpPr>
        <p:spPr>
          <a:xfrm>
            <a:off x="5410168" y="1182610"/>
            <a:ext cx="1659492" cy="1169551"/>
          </a:xfrm>
          <a:prstGeom prst="rect">
            <a:avLst/>
          </a:prstGeom>
          <a:noFill/>
        </p:spPr>
        <p:txBody>
          <a:bodyPr wrap="square" rtlCol="0">
            <a:spAutoFit/>
          </a:bodyPr>
          <a:lstStyle/>
          <a:p>
            <a:r>
              <a:rPr lang="en-US" sz="1400" b="1" dirty="0">
                <a:solidFill>
                  <a:schemeClr val="accent1"/>
                </a:solidFill>
              </a:rPr>
              <a:t>At least once a year </a:t>
            </a:r>
            <a:r>
              <a:rPr lang="en-US" sz="1400" dirty="0">
                <a:solidFill>
                  <a:schemeClr val="accent1"/>
                </a:solidFill>
              </a:rPr>
              <a:t>or if there are any modifications (Improvement or deterioration)</a:t>
            </a:r>
          </a:p>
        </p:txBody>
      </p:sp>
      <p:sp>
        <p:nvSpPr>
          <p:cNvPr id="16" name="Textfeld 15">
            <a:extLst>
              <a:ext uri="{FF2B5EF4-FFF2-40B4-BE49-F238E27FC236}">
                <a16:creationId xmlns:a16="http://schemas.microsoft.com/office/drawing/2014/main" id="{3AC3E5BD-42F6-9B8E-49EC-FCF5EE0C9837}"/>
              </a:ext>
            </a:extLst>
          </p:cNvPr>
          <p:cNvSpPr txBox="1"/>
          <p:nvPr/>
        </p:nvSpPr>
        <p:spPr>
          <a:xfrm>
            <a:off x="586959" y="2799034"/>
            <a:ext cx="1527349" cy="954107"/>
          </a:xfrm>
          <a:prstGeom prst="rect">
            <a:avLst/>
          </a:prstGeom>
          <a:noFill/>
        </p:spPr>
        <p:txBody>
          <a:bodyPr wrap="square" rtlCol="0">
            <a:spAutoFit/>
          </a:bodyPr>
          <a:lstStyle/>
          <a:p>
            <a:r>
              <a:rPr lang="en-US" sz="1400" dirty="0">
                <a:solidFill>
                  <a:schemeClr val="accent1"/>
                </a:solidFill>
              </a:rPr>
              <a:t>Any damage or defect can be </a:t>
            </a:r>
            <a:r>
              <a:rPr lang="en-US" sz="1400" b="1" dirty="0">
                <a:solidFill>
                  <a:schemeClr val="accent1"/>
                </a:solidFill>
              </a:rPr>
              <a:t>detected and remedied quickly</a:t>
            </a:r>
          </a:p>
        </p:txBody>
      </p:sp>
      <p:sp>
        <p:nvSpPr>
          <p:cNvPr id="17" name="Textfeld 16">
            <a:extLst>
              <a:ext uri="{FF2B5EF4-FFF2-40B4-BE49-F238E27FC236}">
                <a16:creationId xmlns:a16="http://schemas.microsoft.com/office/drawing/2014/main" id="{B8B7F188-7C52-80DD-87B4-E95B376D4105}"/>
              </a:ext>
            </a:extLst>
          </p:cNvPr>
          <p:cNvSpPr txBox="1"/>
          <p:nvPr/>
        </p:nvSpPr>
        <p:spPr>
          <a:xfrm>
            <a:off x="2998564" y="2799034"/>
            <a:ext cx="2145715" cy="1169551"/>
          </a:xfrm>
          <a:prstGeom prst="rect">
            <a:avLst/>
          </a:prstGeom>
          <a:noFill/>
        </p:spPr>
        <p:txBody>
          <a:bodyPr wrap="square" rtlCol="0">
            <a:spAutoFit/>
          </a:bodyPr>
          <a:lstStyle/>
          <a:p>
            <a:r>
              <a:rPr lang="en-US" sz="1400" dirty="0">
                <a:solidFill>
                  <a:schemeClr val="accent1"/>
                </a:solidFill>
              </a:rPr>
              <a:t>Austria Glas Recycling, operational and communal </a:t>
            </a:r>
            <a:r>
              <a:rPr lang="en-US" sz="1400" b="1" dirty="0">
                <a:solidFill>
                  <a:schemeClr val="accent1"/>
                </a:solidFill>
              </a:rPr>
              <a:t>partners have access </a:t>
            </a:r>
            <a:r>
              <a:rPr lang="en-US" sz="1400" dirty="0">
                <a:solidFill>
                  <a:schemeClr val="accent1"/>
                </a:solidFill>
              </a:rPr>
              <a:t>to the tool to see evaluation details and results </a:t>
            </a:r>
            <a:endParaRPr lang="de-AT" sz="1400" dirty="0">
              <a:solidFill>
                <a:schemeClr val="accent1"/>
              </a:solidFill>
            </a:endParaRPr>
          </a:p>
        </p:txBody>
      </p:sp>
      <p:sp>
        <p:nvSpPr>
          <p:cNvPr id="18" name="Textfeld 17">
            <a:extLst>
              <a:ext uri="{FF2B5EF4-FFF2-40B4-BE49-F238E27FC236}">
                <a16:creationId xmlns:a16="http://schemas.microsoft.com/office/drawing/2014/main" id="{90D752EA-6EB9-3CA0-1B5A-ECAC239BDE17}"/>
              </a:ext>
            </a:extLst>
          </p:cNvPr>
          <p:cNvSpPr txBox="1"/>
          <p:nvPr/>
        </p:nvSpPr>
        <p:spPr>
          <a:xfrm>
            <a:off x="5410168" y="2799034"/>
            <a:ext cx="1527349" cy="1384995"/>
          </a:xfrm>
          <a:prstGeom prst="rect">
            <a:avLst/>
          </a:prstGeom>
          <a:noFill/>
        </p:spPr>
        <p:txBody>
          <a:bodyPr wrap="square" rtlCol="0">
            <a:spAutoFit/>
          </a:bodyPr>
          <a:lstStyle/>
          <a:p>
            <a:r>
              <a:rPr lang="en-US" sz="1400" dirty="0">
                <a:solidFill>
                  <a:schemeClr val="accent1"/>
                </a:solidFill>
              </a:rPr>
              <a:t>Austria Glas Recycling </a:t>
            </a:r>
            <a:r>
              <a:rPr lang="en-US" sz="1400" b="1" dirty="0">
                <a:solidFill>
                  <a:schemeClr val="accent1"/>
                </a:solidFill>
              </a:rPr>
              <a:t>monitors evaluations and sends reminders </a:t>
            </a:r>
            <a:r>
              <a:rPr lang="en-US" sz="1400" dirty="0">
                <a:solidFill>
                  <a:schemeClr val="accent1"/>
                </a:solidFill>
              </a:rPr>
              <a:t>if necessary </a:t>
            </a:r>
          </a:p>
        </p:txBody>
      </p:sp>
      <p:pic>
        <p:nvPicPr>
          <p:cNvPr id="43" name="Grafik 42">
            <a:extLst>
              <a:ext uri="{FF2B5EF4-FFF2-40B4-BE49-F238E27FC236}">
                <a16:creationId xmlns:a16="http://schemas.microsoft.com/office/drawing/2014/main" id="{1A81B54F-DFAC-17C7-2462-F8E0EDE046D8}"/>
              </a:ext>
            </a:extLst>
          </p:cNvPr>
          <p:cNvPicPr>
            <a:picLocks noChangeAspect="1"/>
          </p:cNvPicPr>
          <p:nvPr/>
        </p:nvPicPr>
        <p:blipFill>
          <a:blip r:embed="rId3"/>
          <a:stretch>
            <a:fillRect/>
          </a:stretch>
        </p:blipFill>
        <p:spPr>
          <a:xfrm>
            <a:off x="2067985" y="3560558"/>
            <a:ext cx="536494" cy="542591"/>
          </a:xfrm>
          <a:prstGeom prst="rect">
            <a:avLst/>
          </a:prstGeom>
        </p:spPr>
      </p:pic>
      <p:grpSp>
        <p:nvGrpSpPr>
          <p:cNvPr id="44" name="Grafik 15">
            <a:extLst>
              <a:ext uri="{FF2B5EF4-FFF2-40B4-BE49-F238E27FC236}">
                <a16:creationId xmlns:a16="http://schemas.microsoft.com/office/drawing/2014/main" id="{1B3E7FB1-DE87-B68B-253D-3F150D129026}"/>
              </a:ext>
            </a:extLst>
          </p:cNvPr>
          <p:cNvGrpSpPr/>
          <p:nvPr>
            <p:custDataLst>
              <p:tags r:id="rId1"/>
            </p:custDataLst>
          </p:nvPr>
        </p:nvGrpSpPr>
        <p:grpSpPr>
          <a:xfrm>
            <a:off x="6837903" y="1856892"/>
            <a:ext cx="607926" cy="582492"/>
            <a:chOff x="2779549" y="2699463"/>
            <a:chExt cx="666570" cy="666570"/>
          </a:xfrm>
          <a:solidFill>
            <a:schemeClr val="accent1"/>
          </a:solidFill>
        </p:grpSpPr>
        <p:grpSp>
          <p:nvGrpSpPr>
            <p:cNvPr id="45" name="Grafik 15">
              <a:extLst>
                <a:ext uri="{FF2B5EF4-FFF2-40B4-BE49-F238E27FC236}">
                  <a16:creationId xmlns:a16="http://schemas.microsoft.com/office/drawing/2014/main" id="{5CBA823D-3391-FF3A-697B-5FCCBFF773FE}"/>
                </a:ext>
              </a:extLst>
            </p:cNvPr>
            <p:cNvGrpSpPr/>
            <p:nvPr/>
          </p:nvGrpSpPr>
          <p:grpSpPr>
            <a:xfrm>
              <a:off x="2779549" y="2705209"/>
              <a:ext cx="666570" cy="655077"/>
              <a:chOff x="2779549" y="2705209"/>
              <a:chExt cx="666570" cy="655077"/>
            </a:xfrm>
            <a:grpFill/>
          </p:grpSpPr>
          <p:sp>
            <p:nvSpPr>
              <p:cNvPr id="46" name="Freihandform: Form 45">
                <a:extLst>
                  <a:ext uri="{FF2B5EF4-FFF2-40B4-BE49-F238E27FC236}">
                    <a16:creationId xmlns:a16="http://schemas.microsoft.com/office/drawing/2014/main" id="{95DC0C27-8809-0DC0-27A9-477A07C3626D}"/>
                  </a:ext>
                </a:extLst>
              </p:cNvPr>
              <p:cNvSpPr/>
              <p:nvPr/>
            </p:nvSpPr>
            <p:spPr>
              <a:xfrm>
                <a:off x="2779549" y="2705209"/>
                <a:ext cx="666570" cy="655077"/>
              </a:xfrm>
              <a:custGeom>
                <a:avLst/>
                <a:gdLst>
                  <a:gd name="connsiteX0" fmla="*/ 493020 w 666570"/>
                  <a:gd name="connsiteY0" fmla="*/ 45970 h 655077"/>
                  <a:gd name="connsiteX1" fmla="*/ 436718 w 666570"/>
                  <a:gd name="connsiteY1" fmla="*/ 0 h 655077"/>
                  <a:gd name="connsiteX2" fmla="*/ 425226 w 666570"/>
                  <a:gd name="connsiteY2" fmla="*/ 11493 h 655077"/>
                  <a:gd name="connsiteX3" fmla="*/ 436718 w 666570"/>
                  <a:gd name="connsiteY3" fmla="*/ 22985 h 655077"/>
                  <a:gd name="connsiteX4" fmla="*/ 471196 w 666570"/>
                  <a:gd name="connsiteY4" fmla="*/ 57463 h 655077"/>
                  <a:gd name="connsiteX5" fmla="*/ 436718 w 666570"/>
                  <a:gd name="connsiteY5" fmla="*/ 91941 h 655077"/>
                  <a:gd name="connsiteX6" fmla="*/ 425226 w 666570"/>
                  <a:gd name="connsiteY6" fmla="*/ 103433 h 655077"/>
                  <a:gd name="connsiteX7" fmla="*/ 436718 w 666570"/>
                  <a:gd name="connsiteY7" fmla="*/ 114926 h 655077"/>
                  <a:gd name="connsiteX8" fmla="*/ 493020 w 666570"/>
                  <a:gd name="connsiteY8" fmla="*/ 68956 h 655077"/>
                  <a:gd name="connsiteX9" fmla="*/ 643585 w 666570"/>
                  <a:gd name="connsiteY9" fmla="*/ 68956 h 655077"/>
                  <a:gd name="connsiteX10" fmla="*/ 643585 w 666570"/>
                  <a:gd name="connsiteY10" fmla="*/ 172389 h 655077"/>
                  <a:gd name="connsiteX11" fmla="*/ 22985 w 666570"/>
                  <a:gd name="connsiteY11" fmla="*/ 172389 h 655077"/>
                  <a:gd name="connsiteX12" fmla="*/ 22985 w 666570"/>
                  <a:gd name="connsiteY12" fmla="*/ 68956 h 655077"/>
                  <a:gd name="connsiteX13" fmla="*/ 183881 w 666570"/>
                  <a:gd name="connsiteY13" fmla="*/ 68956 h 655077"/>
                  <a:gd name="connsiteX14" fmla="*/ 218359 w 666570"/>
                  <a:gd name="connsiteY14" fmla="*/ 68956 h 655077"/>
                  <a:gd name="connsiteX15" fmla="*/ 229852 w 666570"/>
                  <a:gd name="connsiteY15" fmla="*/ 57463 h 655077"/>
                  <a:gd name="connsiteX16" fmla="*/ 218359 w 666570"/>
                  <a:gd name="connsiteY16" fmla="*/ 45970 h 655077"/>
                  <a:gd name="connsiteX17" fmla="*/ 197489 w 666570"/>
                  <a:gd name="connsiteY17" fmla="*/ 45970 h 655077"/>
                  <a:gd name="connsiteX18" fmla="*/ 229852 w 666570"/>
                  <a:gd name="connsiteY18" fmla="*/ 22985 h 655077"/>
                  <a:gd name="connsiteX19" fmla="*/ 264329 w 666570"/>
                  <a:gd name="connsiteY19" fmla="*/ 57463 h 655077"/>
                  <a:gd name="connsiteX20" fmla="*/ 229852 w 666570"/>
                  <a:gd name="connsiteY20" fmla="*/ 91941 h 655077"/>
                  <a:gd name="connsiteX21" fmla="*/ 218359 w 666570"/>
                  <a:gd name="connsiteY21" fmla="*/ 103433 h 655077"/>
                  <a:gd name="connsiteX22" fmla="*/ 229852 w 666570"/>
                  <a:gd name="connsiteY22" fmla="*/ 114926 h 655077"/>
                  <a:gd name="connsiteX23" fmla="*/ 287315 w 666570"/>
                  <a:gd name="connsiteY23" fmla="*/ 57463 h 655077"/>
                  <a:gd name="connsiteX24" fmla="*/ 229852 w 666570"/>
                  <a:gd name="connsiteY24" fmla="*/ 0 h 655077"/>
                  <a:gd name="connsiteX25" fmla="*/ 173550 w 666570"/>
                  <a:gd name="connsiteY25" fmla="*/ 45970 h 655077"/>
                  <a:gd name="connsiteX26" fmla="*/ 0 w 666570"/>
                  <a:gd name="connsiteY26" fmla="*/ 45970 h 655077"/>
                  <a:gd name="connsiteX27" fmla="*/ 0 w 666570"/>
                  <a:gd name="connsiteY27" fmla="*/ 195374 h 655077"/>
                  <a:gd name="connsiteX28" fmla="*/ 0 w 666570"/>
                  <a:gd name="connsiteY28" fmla="*/ 655077 h 655077"/>
                  <a:gd name="connsiteX29" fmla="*/ 666570 w 666570"/>
                  <a:gd name="connsiteY29" fmla="*/ 655077 h 655077"/>
                  <a:gd name="connsiteX30" fmla="*/ 666570 w 666570"/>
                  <a:gd name="connsiteY30" fmla="*/ 195374 h 655077"/>
                  <a:gd name="connsiteX31" fmla="*/ 666570 w 666570"/>
                  <a:gd name="connsiteY31" fmla="*/ 45970 h 655077"/>
                  <a:gd name="connsiteX32" fmla="*/ 493020 w 666570"/>
                  <a:gd name="connsiteY32" fmla="*/ 45970 h 655077"/>
                  <a:gd name="connsiteX33" fmla="*/ 643585 w 666570"/>
                  <a:gd name="connsiteY33" fmla="*/ 632092 h 655077"/>
                  <a:gd name="connsiteX34" fmla="*/ 22985 w 666570"/>
                  <a:gd name="connsiteY34" fmla="*/ 632092 h 655077"/>
                  <a:gd name="connsiteX35" fmla="*/ 22985 w 666570"/>
                  <a:gd name="connsiteY35" fmla="*/ 195374 h 655077"/>
                  <a:gd name="connsiteX36" fmla="*/ 643585 w 666570"/>
                  <a:gd name="connsiteY36" fmla="*/ 195374 h 655077"/>
                  <a:gd name="connsiteX37" fmla="*/ 643585 w 666570"/>
                  <a:gd name="connsiteY37" fmla="*/ 632092 h 65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66570" h="655077">
                    <a:moveTo>
                      <a:pt x="493020" y="45970"/>
                    </a:moveTo>
                    <a:cubicBezTo>
                      <a:pt x="487676" y="19779"/>
                      <a:pt x="464473" y="0"/>
                      <a:pt x="436718" y="0"/>
                    </a:cubicBezTo>
                    <a:cubicBezTo>
                      <a:pt x="430363" y="0"/>
                      <a:pt x="425226" y="5137"/>
                      <a:pt x="425226" y="11493"/>
                    </a:cubicBezTo>
                    <a:cubicBezTo>
                      <a:pt x="425226" y="17848"/>
                      <a:pt x="430363" y="22985"/>
                      <a:pt x="436718" y="22985"/>
                    </a:cubicBezTo>
                    <a:cubicBezTo>
                      <a:pt x="455727" y="22985"/>
                      <a:pt x="471196" y="38454"/>
                      <a:pt x="471196" y="57463"/>
                    </a:cubicBezTo>
                    <a:cubicBezTo>
                      <a:pt x="471196" y="76472"/>
                      <a:pt x="455727" y="91941"/>
                      <a:pt x="436718" y="91941"/>
                    </a:cubicBezTo>
                    <a:cubicBezTo>
                      <a:pt x="430363" y="91941"/>
                      <a:pt x="425226" y="97078"/>
                      <a:pt x="425226" y="103433"/>
                    </a:cubicBezTo>
                    <a:cubicBezTo>
                      <a:pt x="425226" y="109789"/>
                      <a:pt x="430363" y="114926"/>
                      <a:pt x="436718" y="114926"/>
                    </a:cubicBezTo>
                    <a:cubicBezTo>
                      <a:pt x="464461" y="114926"/>
                      <a:pt x="487676" y="95147"/>
                      <a:pt x="493020" y="68956"/>
                    </a:cubicBezTo>
                    <a:lnTo>
                      <a:pt x="643585" y="68956"/>
                    </a:lnTo>
                    <a:lnTo>
                      <a:pt x="643585" y="172389"/>
                    </a:lnTo>
                    <a:lnTo>
                      <a:pt x="22985" y="172389"/>
                    </a:lnTo>
                    <a:lnTo>
                      <a:pt x="22985" y="68956"/>
                    </a:lnTo>
                    <a:lnTo>
                      <a:pt x="183881" y="68956"/>
                    </a:lnTo>
                    <a:lnTo>
                      <a:pt x="218359" y="68956"/>
                    </a:lnTo>
                    <a:cubicBezTo>
                      <a:pt x="224715" y="68956"/>
                      <a:pt x="229852" y="63818"/>
                      <a:pt x="229852" y="57463"/>
                    </a:cubicBezTo>
                    <a:cubicBezTo>
                      <a:pt x="229852" y="51108"/>
                      <a:pt x="224715" y="45970"/>
                      <a:pt x="218359" y="45970"/>
                    </a:cubicBezTo>
                    <a:lnTo>
                      <a:pt x="197489" y="45970"/>
                    </a:lnTo>
                    <a:cubicBezTo>
                      <a:pt x="202247" y="32616"/>
                      <a:pt x="214888" y="22985"/>
                      <a:pt x="229852" y="22985"/>
                    </a:cubicBezTo>
                    <a:cubicBezTo>
                      <a:pt x="248860" y="22985"/>
                      <a:pt x="264329" y="38454"/>
                      <a:pt x="264329" y="57463"/>
                    </a:cubicBezTo>
                    <a:cubicBezTo>
                      <a:pt x="264329" y="76472"/>
                      <a:pt x="248860" y="91941"/>
                      <a:pt x="229852" y="91941"/>
                    </a:cubicBezTo>
                    <a:cubicBezTo>
                      <a:pt x="223496" y="91941"/>
                      <a:pt x="218359" y="97078"/>
                      <a:pt x="218359" y="103433"/>
                    </a:cubicBezTo>
                    <a:cubicBezTo>
                      <a:pt x="218359" y="109789"/>
                      <a:pt x="223496" y="114926"/>
                      <a:pt x="229852" y="114926"/>
                    </a:cubicBezTo>
                    <a:cubicBezTo>
                      <a:pt x="261537" y="114926"/>
                      <a:pt x="287315" y="89148"/>
                      <a:pt x="287315" y="57463"/>
                    </a:cubicBezTo>
                    <a:cubicBezTo>
                      <a:pt x="287315" y="25778"/>
                      <a:pt x="261537" y="0"/>
                      <a:pt x="229852" y="0"/>
                    </a:cubicBezTo>
                    <a:cubicBezTo>
                      <a:pt x="202109" y="0"/>
                      <a:pt x="178894" y="19779"/>
                      <a:pt x="173550" y="45970"/>
                    </a:cubicBezTo>
                    <a:lnTo>
                      <a:pt x="0" y="45970"/>
                    </a:lnTo>
                    <a:lnTo>
                      <a:pt x="0" y="195374"/>
                    </a:lnTo>
                    <a:lnTo>
                      <a:pt x="0" y="655077"/>
                    </a:lnTo>
                    <a:lnTo>
                      <a:pt x="666570" y="655077"/>
                    </a:lnTo>
                    <a:lnTo>
                      <a:pt x="666570" y="195374"/>
                    </a:lnTo>
                    <a:lnTo>
                      <a:pt x="666570" y="45970"/>
                    </a:lnTo>
                    <a:lnTo>
                      <a:pt x="493020" y="45970"/>
                    </a:lnTo>
                    <a:close/>
                    <a:moveTo>
                      <a:pt x="643585" y="632092"/>
                    </a:moveTo>
                    <a:lnTo>
                      <a:pt x="22985" y="632092"/>
                    </a:lnTo>
                    <a:lnTo>
                      <a:pt x="22985" y="195374"/>
                    </a:lnTo>
                    <a:lnTo>
                      <a:pt x="643585" y="195374"/>
                    </a:lnTo>
                    <a:lnTo>
                      <a:pt x="643585" y="632092"/>
                    </a:lnTo>
                    <a:close/>
                  </a:path>
                </a:pathLst>
              </a:custGeom>
              <a:grpFill/>
              <a:ln w="10346" cap="flat">
                <a:noFill/>
                <a:prstDash val="solid"/>
                <a:miter/>
              </a:ln>
            </p:spPr>
            <p:txBody>
              <a:bodyPr rtlCol="0" anchor="ctr"/>
              <a:lstStyle/>
              <a:p>
                <a:endParaRPr lang="de-AT"/>
              </a:p>
            </p:txBody>
          </p:sp>
          <p:sp>
            <p:nvSpPr>
              <p:cNvPr id="47" name="Freihandform: Form 46">
                <a:extLst>
                  <a:ext uri="{FF2B5EF4-FFF2-40B4-BE49-F238E27FC236}">
                    <a16:creationId xmlns:a16="http://schemas.microsoft.com/office/drawing/2014/main" id="{77B550DE-B55C-A056-DAC1-F95FE5CE502B}"/>
                  </a:ext>
                </a:extLst>
              </p:cNvPr>
              <p:cNvSpPr/>
              <p:nvPr/>
            </p:nvSpPr>
            <p:spPr>
              <a:xfrm>
                <a:off x="3066863" y="2705209"/>
                <a:ext cx="68955" cy="114925"/>
              </a:xfrm>
              <a:custGeom>
                <a:avLst/>
                <a:gdLst>
                  <a:gd name="connsiteX0" fmla="*/ 11493 w 68955"/>
                  <a:gd name="connsiteY0" fmla="*/ 22985 h 114925"/>
                  <a:gd name="connsiteX1" fmla="*/ 45970 w 68955"/>
                  <a:gd name="connsiteY1" fmla="*/ 57463 h 114925"/>
                  <a:gd name="connsiteX2" fmla="*/ 11493 w 68955"/>
                  <a:gd name="connsiteY2" fmla="*/ 91941 h 114925"/>
                  <a:gd name="connsiteX3" fmla="*/ 0 w 68955"/>
                  <a:gd name="connsiteY3" fmla="*/ 103433 h 114925"/>
                  <a:gd name="connsiteX4" fmla="*/ 11493 w 68955"/>
                  <a:gd name="connsiteY4" fmla="*/ 114926 h 114925"/>
                  <a:gd name="connsiteX5" fmla="*/ 68956 w 68955"/>
                  <a:gd name="connsiteY5" fmla="*/ 57463 h 114925"/>
                  <a:gd name="connsiteX6" fmla="*/ 11493 w 68955"/>
                  <a:gd name="connsiteY6" fmla="*/ 0 h 114925"/>
                  <a:gd name="connsiteX7" fmla="*/ 0 w 68955"/>
                  <a:gd name="connsiteY7" fmla="*/ 11493 h 114925"/>
                  <a:gd name="connsiteX8" fmla="*/ 11493 w 68955"/>
                  <a:gd name="connsiteY8" fmla="*/ 22985 h 11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955" h="114925">
                    <a:moveTo>
                      <a:pt x="11493" y="22985"/>
                    </a:moveTo>
                    <a:cubicBezTo>
                      <a:pt x="30501" y="22985"/>
                      <a:pt x="45970" y="38454"/>
                      <a:pt x="45970" y="57463"/>
                    </a:cubicBezTo>
                    <a:cubicBezTo>
                      <a:pt x="45970" y="76472"/>
                      <a:pt x="30501" y="91941"/>
                      <a:pt x="11493" y="91941"/>
                    </a:cubicBezTo>
                    <a:cubicBezTo>
                      <a:pt x="5137" y="91941"/>
                      <a:pt x="0" y="97078"/>
                      <a:pt x="0" y="103433"/>
                    </a:cubicBezTo>
                    <a:cubicBezTo>
                      <a:pt x="0" y="109789"/>
                      <a:pt x="5137" y="114926"/>
                      <a:pt x="11493" y="114926"/>
                    </a:cubicBezTo>
                    <a:cubicBezTo>
                      <a:pt x="43178" y="114926"/>
                      <a:pt x="68956" y="89148"/>
                      <a:pt x="68956" y="57463"/>
                    </a:cubicBezTo>
                    <a:cubicBezTo>
                      <a:pt x="68956" y="25778"/>
                      <a:pt x="43178" y="0"/>
                      <a:pt x="11493" y="0"/>
                    </a:cubicBezTo>
                    <a:cubicBezTo>
                      <a:pt x="5137" y="0"/>
                      <a:pt x="0" y="5137"/>
                      <a:pt x="0" y="11493"/>
                    </a:cubicBezTo>
                    <a:cubicBezTo>
                      <a:pt x="0" y="17848"/>
                      <a:pt x="5137" y="22985"/>
                      <a:pt x="11493" y="22985"/>
                    </a:cubicBezTo>
                    <a:close/>
                  </a:path>
                </a:pathLst>
              </a:custGeom>
              <a:grpFill/>
              <a:ln w="10346" cap="flat">
                <a:noFill/>
                <a:prstDash val="solid"/>
                <a:miter/>
              </a:ln>
            </p:spPr>
            <p:txBody>
              <a:bodyPr rtlCol="0" anchor="ctr"/>
              <a:lstStyle/>
              <a:p>
                <a:endParaRPr lang="de-AT"/>
              </a:p>
            </p:txBody>
          </p:sp>
          <p:sp>
            <p:nvSpPr>
              <p:cNvPr id="48" name="Freihandform: Form 47">
                <a:extLst>
                  <a:ext uri="{FF2B5EF4-FFF2-40B4-BE49-F238E27FC236}">
                    <a16:creationId xmlns:a16="http://schemas.microsoft.com/office/drawing/2014/main" id="{A2ACA835-6CE0-B295-A32D-7F47324BD2A4}"/>
                  </a:ext>
                </a:extLst>
              </p:cNvPr>
              <p:cNvSpPr/>
              <p:nvPr/>
            </p:nvSpPr>
            <p:spPr>
              <a:xfrm>
                <a:off x="3135819" y="2705209"/>
                <a:ext cx="68955" cy="114925"/>
              </a:xfrm>
              <a:custGeom>
                <a:avLst/>
                <a:gdLst>
                  <a:gd name="connsiteX0" fmla="*/ 11493 w 68955"/>
                  <a:gd name="connsiteY0" fmla="*/ 22985 h 114925"/>
                  <a:gd name="connsiteX1" fmla="*/ 45970 w 68955"/>
                  <a:gd name="connsiteY1" fmla="*/ 57463 h 114925"/>
                  <a:gd name="connsiteX2" fmla="*/ 11493 w 68955"/>
                  <a:gd name="connsiteY2" fmla="*/ 91941 h 114925"/>
                  <a:gd name="connsiteX3" fmla="*/ 0 w 68955"/>
                  <a:gd name="connsiteY3" fmla="*/ 103433 h 114925"/>
                  <a:gd name="connsiteX4" fmla="*/ 11493 w 68955"/>
                  <a:gd name="connsiteY4" fmla="*/ 114926 h 114925"/>
                  <a:gd name="connsiteX5" fmla="*/ 68956 w 68955"/>
                  <a:gd name="connsiteY5" fmla="*/ 57463 h 114925"/>
                  <a:gd name="connsiteX6" fmla="*/ 11493 w 68955"/>
                  <a:gd name="connsiteY6" fmla="*/ 0 h 114925"/>
                  <a:gd name="connsiteX7" fmla="*/ 0 w 68955"/>
                  <a:gd name="connsiteY7" fmla="*/ 11493 h 114925"/>
                  <a:gd name="connsiteX8" fmla="*/ 11493 w 68955"/>
                  <a:gd name="connsiteY8" fmla="*/ 22985 h 11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955" h="114925">
                    <a:moveTo>
                      <a:pt x="11493" y="22985"/>
                    </a:moveTo>
                    <a:cubicBezTo>
                      <a:pt x="30501" y="22985"/>
                      <a:pt x="45970" y="38454"/>
                      <a:pt x="45970" y="57463"/>
                    </a:cubicBezTo>
                    <a:cubicBezTo>
                      <a:pt x="45970" y="76472"/>
                      <a:pt x="30501" y="91941"/>
                      <a:pt x="11493" y="91941"/>
                    </a:cubicBezTo>
                    <a:cubicBezTo>
                      <a:pt x="5137" y="91941"/>
                      <a:pt x="0" y="97078"/>
                      <a:pt x="0" y="103433"/>
                    </a:cubicBezTo>
                    <a:cubicBezTo>
                      <a:pt x="0" y="109789"/>
                      <a:pt x="5137" y="114926"/>
                      <a:pt x="11493" y="114926"/>
                    </a:cubicBezTo>
                    <a:cubicBezTo>
                      <a:pt x="43178" y="114926"/>
                      <a:pt x="68956" y="89148"/>
                      <a:pt x="68956" y="57463"/>
                    </a:cubicBezTo>
                    <a:cubicBezTo>
                      <a:pt x="68956" y="25778"/>
                      <a:pt x="43178" y="0"/>
                      <a:pt x="11493" y="0"/>
                    </a:cubicBezTo>
                    <a:cubicBezTo>
                      <a:pt x="5137" y="0"/>
                      <a:pt x="0" y="5137"/>
                      <a:pt x="0" y="11493"/>
                    </a:cubicBezTo>
                    <a:cubicBezTo>
                      <a:pt x="0" y="17848"/>
                      <a:pt x="5137" y="22985"/>
                      <a:pt x="11493" y="22985"/>
                    </a:cubicBezTo>
                    <a:close/>
                  </a:path>
                </a:pathLst>
              </a:custGeom>
              <a:grpFill/>
              <a:ln w="10346" cap="flat">
                <a:noFill/>
                <a:prstDash val="solid"/>
                <a:miter/>
              </a:ln>
            </p:spPr>
            <p:txBody>
              <a:bodyPr rtlCol="0" anchor="ctr"/>
              <a:lstStyle/>
              <a:p>
                <a:endParaRPr lang="de-AT"/>
              </a:p>
            </p:txBody>
          </p:sp>
          <p:sp>
            <p:nvSpPr>
              <p:cNvPr id="49" name="Freihandform: Form 48">
                <a:extLst>
                  <a:ext uri="{FF2B5EF4-FFF2-40B4-BE49-F238E27FC236}">
                    <a16:creationId xmlns:a16="http://schemas.microsoft.com/office/drawing/2014/main" id="{B56DAEC8-7957-E54A-777D-C18BA6152DD5}"/>
                  </a:ext>
                </a:extLst>
              </p:cNvPr>
              <p:cNvSpPr/>
              <p:nvPr/>
            </p:nvSpPr>
            <p:spPr>
              <a:xfrm>
                <a:off x="3020893" y="2969538"/>
                <a:ext cx="22985" cy="22985"/>
              </a:xfrm>
              <a:custGeom>
                <a:avLst/>
                <a:gdLst>
                  <a:gd name="connsiteX0" fmla="*/ 22985 w 22985"/>
                  <a:gd name="connsiteY0" fmla="*/ 11493 h 22985"/>
                  <a:gd name="connsiteX1" fmla="*/ 11493 w 22985"/>
                  <a:gd name="connsiteY1" fmla="*/ 22985 h 22985"/>
                  <a:gd name="connsiteX2" fmla="*/ 0 w 22985"/>
                  <a:gd name="connsiteY2" fmla="*/ 11493 h 22985"/>
                  <a:gd name="connsiteX3" fmla="*/ 11493 w 22985"/>
                  <a:gd name="connsiteY3" fmla="*/ 0 h 22985"/>
                  <a:gd name="connsiteX4" fmla="*/ 22985 w 22985"/>
                  <a:gd name="connsiteY4" fmla="*/ 11493 h 22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5" h="22985">
                    <a:moveTo>
                      <a:pt x="22985" y="11493"/>
                    </a:moveTo>
                    <a:cubicBezTo>
                      <a:pt x="22985" y="17840"/>
                      <a:pt x="17840" y="22985"/>
                      <a:pt x="11493" y="22985"/>
                    </a:cubicBezTo>
                    <a:cubicBezTo>
                      <a:pt x="5145" y="22985"/>
                      <a:pt x="0" y="17840"/>
                      <a:pt x="0" y="11493"/>
                    </a:cubicBezTo>
                    <a:cubicBezTo>
                      <a:pt x="0" y="5145"/>
                      <a:pt x="5145" y="0"/>
                      <a:pt x="11493" y="0"/>
                    </a:cubicBezTo>
                    <a:cubicBezTo>
                      <a:pt x="17840" y="0"/>
                      <a:pt x="22985" y="5145"/>
                      <a:pt x="22985" y="11493"/>
                    </a:cubicBezTo>
                    <a:close/>
                  </a:path>
                </a:pathLst>
              </a:custGeom>
              <a:grpFill/>
              <a:ln w="10346" cap="flat">
                <a:noFill/>
                <a:prstDash val="solid"/>
                <a:miter/>
              </a:ln>
            </p:spPr>
            <p:txBody>
              <a:bodyPr rtlCol="0" anchor="ctr"/>
              <a:lstStyle/>
              <a:p>
                <a:endParaRPr lang="de-AT"/>
              </a:p>
            </p:txBody>
          </p:sp>
          <p:sp>
            <p:nvSpPr>
              <p:cNvPr id="50" name="Freihandform: Form 49">
                <a:extLst>
                  <a:ext uri="{FF2B5EF4-FFF2-40B4-BE49-F238E27FC236}">
                    <a16:creationId xmlns:a16="http://schemas.microsoft.com/office/drawing/2014/main" id="{2AE42EB1-6562-F9F3-8A29-9F974E306914}"/>
                  </a:ext>
                </a:extLst>
              </p:cNvPr>
              <p:cNvSpPr/>
              <p:nvPr/>
            </p:nvSpPr>
            <p:spPr>
              <a:xfrm>
                <a:off x="3101341" y="2969538"/>
                <a:ext cx="22985" cy="22985"/>
              </a:xfrm>
              <a:custGeom>
                <a:avLst/>
                <a:gdLst>
                  <a:gd name="connsiteX0" fmla="*/ 22985 w 22985"/>
                  <a:gd name="connsiteY0" fmla="*/ 11493 h 22985"/>
                  <a:gd name="connsiteX1" fmla="*/ 11493 w 22985"/>
                  <a:gd name="connsiteY1" fmla="*/ 22985 h 22985"/>
                  <a:gd name="connsiteX2" fmla="*/ 0 w 22985"/>
                  <a:gd name="connsiteY2" fmla="*/ 11493 h 22985"/>
                  <a:gd name="connsiteX3" fmla="*/ 11493 w 22985"/>
                  <a:gd name="connsiteY3" fmla="*/ 0 h 22985"/>
                  <a:gd name="connsiteX4" fmla="*/ 22985 w 22985"/>
                  <a:gd name="connsiteY4" fmla="*/ 11493 h 22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5" h="22985">
                    <a:moveTo>
                      <a:pt x="22985" y="11493"/>
                    </a:moveTo>
                    <a:cubicBezTo>
                      <a:pt x="22985" y="17840"/>
                      <a:pt x="17840" y="22985"/>
                      <a:pt x="11493" y="22985"/>
                    </a:cubicBezTo>
                    <a:cubicBezTo>
                      <a:pt x="5145" y="22985"/>
                      <a:pt x="0" y="17840"/>
                      <a:pt x="0" y="11493"/>
                    </a:cubicBezTo>
                    <a:cubicBezTo>
                      <a:pt x="0" y="5145"/>
                      <a:pt x="5145" y="0"/>
                      <a:pt x="11493" y="0"/>
                    </a:cubicBezTo>
                    <a:cubicBezTo>
                      <a:pt x="17840" y="0"/>
                      <a:pt x="22985" y="5145"/>
                      <a:pt x="22985" y="11493"/>
                    </a:cubicBezTo>
                    <a:close/>
                  </a:path>
                </a:pathLst>
              </a:custGeom>
              <a:grpFill/>
              <a:ln w="10346" cap="flat">
                <a:noFill/>
                <a:prstDash val="solid"/>
                <a:miter/>
              </a:ln>
            </p:spPr>
            <p:txBody>
              <a:bodyPr rtlCol="0" anchor="ctr"/>
              <a:lstStyle/>
              <a:p>
                <a:endParaRPr lang="de-AT"/>
              </a:p>
            </p:txBody>
          </p:sp>
          <p:sp>
            <p:nvSpPr>
              <p:cNvPr id="51" name="Freihandform: Form 50">
                <a:extLst>
                  <a:ext uri="{FF2B5EF4-FFF2-40B4-BE49-F238E27FC236}">
                    <a16:creationId xmlns:a16="http://schemas.microsoft.com/office/drawing/2014/main" id="{9BBD5DBA-2171-0241-7D4A-6A74F470059D}"/>
                  </a:ext>
                </a:extLst>
              </p:cNvPr>
              <p:cNvSpPr/>
              <p:nvPr/>
            </p:nvSpPr>
            <p:spPr>
              <a:xfrm>
                <a:off x="3181789" y="2969538"/>
                <a:ext cx="22985" cy="22985"/>
              </a:xfrm>
              <a:custGeom>
                <a:avLst/>
                <a:gdLst>
                  <a:gd name="connsiteX0" fmla="*/ 22985 w 22985"/>
                  <a:gd name="connsiteY0" fmla="*/ 11493 h 22985"/>
                  <a:gd name="connsiteX1" fmla="*/ 11493 w 22985"/>
                  <a:gd name="connsiteY1" fmla="*/ 22985 h 22985"/>
                  <a:gd name="connsiteX2" fmla="*/ 0 w 22985"/>
                  <a:gd name="connsiteY2" fmla="*/ 11493 h 22985"/>
                  <a:gd name="connsiteX3" fmla="*/ 11493 w 22985"/>
                  <a:gd name="connsiteY3" fmla="*/ 0 h 22985"/>
                  <a:gd name="connsiteX4" fmla="*/ 22985 w 22985"/>
                  <a:gd name="connsiteY4" fmla="*/ 11493 h 22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5" h="22985">
                    <a:moveTo>
                      <a:pt x="22985" y="11493"/>
                    </a:moveTo>
                    <a:cubicBezTo>
                      <a:pt x="22985" y="17840"/>
                      <a:pt x="17840" y="22985"/>
                      <a:pt x="11493" y="22985"/>
                    </a:cubicBezTo>
                    <a:cubicBezTo>
                      <a:pt x="5145" y="22985"/>
                      <a:pt x="0" y="17840"/>
                      <a:pt x="0" y="11493"/>
                    </a:cubicBezTo>
                    <a:cubicBezTo>
                      <a:pt x="0" y="5145"/>
                      <a:pt x="5145" y="0"/>
                      <a:pt x="11493" y="0"/>
                    </a:cubicBezTo>
                    <a:cubicBezTo>
                      <a:pt x="17840" y="0"/>
                      <a:pt x="22985" y="5145"/>
                      <a:pt x="22985" y="11493"/>
                    </a:cubicBezTo>
                    <a:close/>
                  </a:path>
                </a:pathLst>
              </a:custGeom>
              <a:grpFill/>
              <a:ln w="10346" cap="flat">
                <a:noFill/>
                <a:prstDash val="solid"/>
                <a:miter/>
              </a:ln>
            </p:spPr>
            <p:txBody>
              <a:bodyPr rtlCol="0" anchor="ctr"/>
              <a:lstStyle/>
              <a:p>
                <a:endParaRPr lang="de-AT"/>
              </a:p>
            </p:txBody>
          </p:sp>
          <p:sp>
            <p:nvSpPr>
              <p:cNvPr id="52" name="Freihandform: Form 51">
                <a:extLst>
                  <a:ext uri="{FF2B5EF4-FFF2-40B4-BE49-F238E27FC236}">
                    <a16:creationId xmlns:a16="http://schemas.microsoft.com/office/drawing/2014/main" id="{F8046067-E8DF-7CEB-E629-200AEBD427CB}"/>
                  </a:ext>
                </a:extLst>
              </p:cNvPr>
              <p:cNvSpPr/>
              <p:nvPr/>
            </p:nvSpPr>
            <p:spPr>
              <a:xfrm>
                <a:off x="3262237" y="2969538"/>
                <a:ext cx="22985" cy="22985"/>
              </a:xfrm>
              <a:custGeom>
                <a:avLst/>
                <a:gdLst>
                  <a:gd name="connsiteX0" fmla="*/ 22985 w 22985"/>
                  <a:gd name="connsiteY0" fmla="*/ 11493 h 22985"/>
                  <a:gd name="connsiteX1" fmla="*/ 11493 w 22985"/>
                  <a:gd name="connsiteY1" fmla="*/ 22985 h 22985"/>
                  <a:gd name="connsiteX2" fmla="*/ 0 w 22985"/>
                  <a:gd name="connsiteY2" fmla="*/ 11493 h 22985"/>
                  <a:gd name="connsiteX3" fmla="*/ 11493 w 22985"/>
                  <a:gd name="connsiteY3" fmla="*/ 0 h 22985"/>
                  <a:gd name="connsiteX4" fmla="*/ 22985 w 22985"/>
                  <a:gd name="connsiteY4" fmla="*/ 11493 h 22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5" h="22985">
                    <a:moveTo>
                      <a:pt x="22985" y="11493"/>
                    </a:moveTo>
                    <a:cubicBezTo>
                      <a:pt x="22985" y="17840"/>
                      <a:pt x="17840" y="22985"/>
                      <a:pt x="11493" y="22985"/>
                    </a:cubicBezTo>
                    <a:cubicBezTo>
                      <a:pt x="5145" y="22985"/>
                      <a:pt x="0" y="17840"/>
                      <a:pt x="0" y="11493"/>
                    </a:cubicBezTo>
                    <a:cubicBezTo>
                      <a:pt x="0" y="5145"/>
                      <a:pt x="5145" y="0"/>
                      <a:pt x="11493" y="0"/>
                    </a:cubicBezTo>
                    <a:cubicBezTo>
                      <a:pt x="17840" y="0"/>
                      <a:pt x="22985" y="5145"/>
                      <a:pt x="22985" y="11493"/>
                    </a:cubicBezTo>
                    <a:close/>
                  </a:path>
                </a:pathLst>
              </a:custGeom>
              <a:grpFill/>
              <a:ln w="10346" cap="flat">
                <a:noFill/>
                <a:prstDash val="solid"/>
                <a:miter/>
              </a:ln>
            </p:spPr>
            <p:txBody>
              <a:bodyPr rtlCol="0" anchor="ctr"/>
              <a:lstStyle/>
              <a:p>
                <a:endParaRPr lang="de-AT"/>
              </a:p>
            </p:txBody>
          </p:sp>
          <p:sp>
            <p:nvSpPr>
              <p:cNvPr id="53" name="Freihandform: Form 52">
                <a:extLst>
                  <a:ext uri="{FF2B5EF4-FFF2-40B4-BE49-F238E27FC236}">
                    <a16:creationId xmlns:a16="http://schemas.microsoft.com/office/drawing/2014/main" id="{E0BF6851-960A-5495-8D06-8DAE0DFBD907}"/>
                  </a:ext>
                </a:extLst>
              </p:cNvPr>
              <p:cNvSpPr/>
              <p:nvPr/>
            </p:nvSpPr>
            <p:spPr>
              <a:xfrm>
                <a:off x="3342685" y="2969538"/>
                <a:ext cx="22985" cy="22985"/>
              </a:xfrm>
              <a:custGeom>
                <a:avLst/>
                <a:gdLst>
                  <a:gd name="connsiteX0" fmla="*/ 22985 w 22985"/>
                  <a:gd name="connsiteY0" fmla="*/ 11493 h 22985"/>
                  <a:gd name="connsiteX1" fmla="*/ 11493 w 22985"/>
                  <a:gd name="connsiteY1" fmla="*/ 22985 h 22985"/>
                  <a:gd name="connsiteX2" fmla="*/ 0 w 22985"/>
                  <a:gd name="connsiteY2" fmla="*/ 11493 h 22985"/>
                  <a:gd name="connsiteX3" fmla="*/ 11493 w 22985"/>
                  <a:gd name="connsiteY3" fmla="*/ 0 h 22985"/>
                  <a:gd name="connsiteX4" fmla="*/ 22985 w 22985"/>
                  <a:gd name="connsiteY4" fmla="*/ 11493 h 22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5" h="22985">
                    <a:moveTo>
                      <a:pt x="22985" y="11493"/>
                    </a:moveTo>
                    <a:cubicBezTo>
                      <a:pt x="22985" y="17840"/>
                      <a:pt x="17840" y="22985"/>
                      <a:pt x="11493" y="22985"/>
                    </a:cubicBezTo>
                    <a:cubicBezTo>
                      <a:pt x="5145" y="22985"/>
                      <a:pt x="0" y="17840"/>
                      <a:pt x="0" y="11493"/>
                    </a:cubicBezTo>
                    <a:cubicBezTo>
                      <a:pt x="0" y="5145"/>
                      <a:pt x="5145" y="0"/>
                      <a:pt x="11493" y="0"/>
                    </a:cubicBezTo>
                    <a:cubicBezTo>
                      <a:pt x="17840" y="0"/>
                      <a:pt x="22985" y="5145"/>
                      <a:pt x="22985" y="11493"/>
                    </a:cubicBezTo>
                    <a:close/>
                  </a:path>
                </a:pathLst>
              </a:custGeom>
              <a:grpFill/>
              <a:ln w="10346" cap="flat">
                <a:noFill/>
                <a:prstDash val="solid"/>
                <a:miter/>
              </a:ln>
            </p:spPr>
            <p:txBody>
              <a:bodyPr rtlCol="0" anchor="ctr"/>
              <a:lstStyle/>
              <a:p>
                <a:endParaRPr lang="de-AT"/>
              </a:p>
            </p:txBody>
          </p:sp>
          <p:sp>
            <p:nvSpPr>
              <p:cNvPr id="54" name="Freihandform: Form 53">
                <a:extLst>
                  <a:ext uri="{FF2B5EF4-FFF2-40B4-BE49-F238E27FC236}">
                    <a16:creationId xmlns:a16="http://schemas.microsoft.com/office/drawing/2014/main" id="{FD7AE780-7660-15B5-AAED-ED05B9C14732}"/>
                  </a:ext>
                </a:extLst>
              </p:cNvPr>
              <p:cNvSpPr/>
              <p:nvPr/>
            </p:nvSpPr>
            <p:spPr>
              <a:xfrm>
                <a:off x="2859997" y="3061479"/>
                <a:ext cx="22985" cy="22985"/>
              </a:xfrm>
              <a:custGeom>
                <a:avLst/>
                <a:gdLst>
                  <a:gd name="connsiteX0" fmla="*/ 22985 w 22985"/>
                  <a:gd name="connsiteY0" fmla="*/ 11493 h 22985"/>
                  <a:gd name="connsiteX1" fmla="*/ 11493 w 22985"/>
                  <a:gd name="connsiteY1" fmla="*/ 22985 h 22985"/>
                  <a:gd name="connsiteX2" fmla="*/ 0 w 22985"/>
                  <a:gd name="connsiteY2" fmla="*/ 11493 h 22985"/>
                  <a:gd name="connsiteX3" fmla="*/ 11493 w 22985"/>
                  <a:gd name="connsiteY3" fmla="*/ 0 h 22985"/>
                  <a:gd name="connsiteX4" fmla="*/ 22985 w 22985"/>
                  <a:gd name="connsiteY4" fmla="*/ 11493 h 22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5" h="22985">
                    <a:moveTo>
                      <a:pt x="22985" y="11493"/>
                    </a:moveTo>
                    <a:cubicBezTo>
                      <a:pt x="22985" y="17840"/>
                      <a:pt x="17840" y="22985"/>
                      <a:pt x="11493" y="22985"/>
                    </a:cubicBezTo>
                    <a:cubicBezTo>
                      <a:pt x="5145" y="22985"/>
                      <a:pt x="0" y="17840"/>
                      <a:pt x="0" y="11493"/>
                    </a:cubicBezTo>
                    <a:cubicBezTo>
                      <a:pt x="0" y="5145"/>
                      <a:pt x="5145" y="0"/>
                      <a:pt x="11493" y="0"/>
                    </a:cubicBezTo>
                    <a:cubicBezTo>
                      <a:pt x="17840" y="0"/>
                      <a:pt x="22985" y="5145"/>
                      <a:pt x="22985" y="11493"/>
                    </a:cubicBezTo>
                    <a:close/>
                  </a:path>
                </a:pathLst>
              </a:custGeom>
              <a:grpFill/>
              <a:ln w="10346" cap="flat">
                <a:noFill/>
                <a:prstDash val="solid"/>
                <a:miter/>
              </a:ln>
            </p:spPr>
            <p:txBody>
              <a:bodyPr rtlCol="0" anchor="ctr"/>
              <a:lstStyle/>
              <a:p>
                <a:endParaRPr lang="de-AT"/>
              </a:p>
            </p:txBody>
          </p:sp>
          <p:sp>
            <p:nvSpPr>
              <p:cNvPr id="55" name="Freihandform: Form 54">
                <a:extLst>
                  <a:ext uri="{FF2B5EF4-FFF2-40B4-BE49-F238E27FC236}">
                    <a16:creationId xmlns:a16="http://schemas.microsoft.com/office/drawing/2014/main" id="{FC17A5AA-1080-2931-C8A8-20E6504C8C95}"/>
                  </a:ext>
                </a:extLst>
              </p:cNvPr>
              <p:cNvSpPr/>
              <p:nvPr/>
            </p:nvSpPr>
            <p:spPr>
              <a:xfrm>
                <a:off x="2940445" y="3061479"/>
                <a:ext cx="22985" cy="22985"/>
              </a:xfrm>
              <a:custGeom>
                <a:avLst/>
                <a:gdLst>
                  <a:gd name="connsiteX0" fmla="*/ 22985 w 22985"/>
                  <a:gd name="connsiteY0" fmla="*/ 11493 h 22985"/>
                  <a:gd name="connsiteX1" fmla="*/ 11493 w 22985"/>
                  <a:gd name="connsiteY1" fmla="*/ 22985 h 22985"/>
                  <a:gd name="connsiteX2" fmla="*/ 0 w 22985"/>
                  <a:gd name="connsiteY2" fmla="*/ 11493 h 22985"/>
                  <a:gd name="connsiteX3" fmla="*/ 11493 w 22985"/>
                  <a:gd name="connsiteY3" fmla="*/ 0 h 22985"/>
                  <a:gd name="connsiteX4" fmla="*/ 22985 w 22985"/>
                  <a:gd name="connsiteY4" fmla="*/ 11493 h 22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5" h="22985">
                    <a:moveTo>
                      <a:pt x="22985" y="11493"/>
                    </a:moveTo>
                    <a:cubicBezTo>
                      <a:pt x="22985" y="17840"/>
                      <a:pt x="17840" y="22985"/>
                      <a:pt x="11493" y="22985"/>
                    </a:cubicBezTo>
                    <a:cubicBezTo>
                      <a:pt x="5145" y="22985"/>
                      <a:pt x="0" y="17840"/>
                      <a:pt x="0" y="11493"/>
                    </a:cubicBezTo>
                    <a:cubicBezTo>
                      <a:pt x="0" y="5145"/>
                      <a:pt x="5145" y="0"/>
                      <a:pt x="11493" y="0"/>
                    </a:cubicBezTo>
                    <a:cubicBezTo>
                      <a:pt x="17840" y="0"/>
                      <a:pt x="22985" y="5145"/>
                      <a:pt x="22985" y="11493"/>
                    </a:cubicBezTo>
                    <a:close/>
                  </a:path>
                </a:pathLst>
              </a:custGeom>
              <a:grpFill/>
              <a:ln w="10346" cap="flat">
                <a:noFill/>
                <a:prstDash val="solid"/>
                <a:miter/>
              </a:ln>
            </p:spPr>
            <p:txBody>
              <a:bodyPr rtlCol="0" anchor="ctr"/>
              <a:lstStyle/>
              <a:p>
                <a:endParaRPr lang="de-AT"/>
              </a:p>
            </p:txBody>
          </p:sp>
          <p:sp>
            <p:nvSpPr>
              <p:cNvPr id="56" name="Freihandform: Form 55">
                <a:extLst>
                  <a:ext uri="{FF2B5EF4-FFF2-40B4-BE49-F238E27FC236}">
                    <a16:creationId xmlns:a16="http://schemas.microsoft.com/office/drawing/2014/main" id="{ECE209BB-C0FA-2B15-CC14-089313D47309}"/>
                  </a:ext>
                </a:extLst>
              </p:cNvPr>
              <p:cNvSpPr/>
              <p:nvPr/>
            </p:nvSpPr>
            <p:spPr>
              <a:xfrm>
                <a:off x="3020893" y="3061479"/>
                <a:ext cx="22985" cy="22985"/>
              </a:xfrm>
              <a:custGeom>
                <a:avLst/>
                <a:gdLst>
                  <a:gd name="connsiteX0" fmla="*/ 22985 w 22985"/>
                  <a:gd name="connsiteY0" fmla="*/ 11493 h 22985"/>
                  <a:gd name="connsiteX1" fmla="*/ 11493 w 22985"/>
                  <a:gd name="connsiteY1" fmla="*/ 22985 h 22985"/>
                  <a:gd name="connsiteX2" fmla="*/ 0 w 22985"/>
                  <a:gd name="connsiteY2" fmla="*/ 11493 h 22985"/>
                  <a:gd name="connsiteX3" fmla="*/ 11493 w 22985"/>
                  <a:gd name="connsiteY3" fmla="*/ 0 h 22985"/>
                  <a:gd name="connsiteX4" fmla="*/ 22985 w 22985"/>
                  <a:gd name="connsiteY4" fmla="*/ 11493 h 22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5" h="22985">
                    <a:moveTo>
                      <a:pt x="22985" y="11493"/>
                    </a:moveTo>
                    <a:cubicBezTo>
                      <a:pt x="22985" y="17840"/>
                      <a:pt x="17840" y="22985"/>
                      <a:pt x="11493" y="22985"/>
                    </a:cubicBezTo>
                    <a:cubicBezTo>
                      <a:pt x="5145" y="22985"/>
                      <a:pt x="0" y="17840"/>
                      <a:pt x="0" y="11493"/>
                    </a:cubicBezTo>
                    <a:cubicBezTo>
                      <a:pt x="0" y="5145"/>
                      <a:pt x="5145" y="0"/>
                      <a:pt x="11493" y="0"/>
                    </a:cubicBezTo>
                    <a:cubicBezTo>
                      <a:pt x="17840" y="0"/>
                      <a:pt x="22985" y="5145"/>
                      <a:pt x="22985" y="11493"/>
                    </a:cubicBezTo>
                    <a:close/>
                  </a:path>
                </a:pathLst>
              </a:custGeom>
              <a:grpFill/>
              <a:ln w="10346" cap="flat">
                <a:noFill/>
                <a:prstDash val="solid"/>
                <a:miter/>
              </a:ln>
            </p:spPr>
            <p:txBody>
              <a:bodyPr rtlCol="0" anchor="ctr"/>
              <a:lstStyle/>
              <a:p>
                <a:endParaRPr lang="de-AT"/>
              </a:p>
            </p:txBody>
          </p:sp>
          <p:sp>
            <p:nvSpPr>
              <p:cNvPr id="57" name="Freihandform: Form 56">
                <a:extLst>
                  <a:ext uri="{FF2B5EF4-FFF2-40B4-BE49-F238E27FC236}">
                    <a16:creationId xmlns:a16="http://schemas.microsoft.com/office/drawing/2014/main" id="{70F06C48-C102-AD7E-7AF9-16F672248AB7}"/>
                  </a:ext>
                </a:extLst>
              </p:cNvPr>
              <p:cNvSpPr/>
              <p:nvPr/>
            </p:nvSpPr>
            <p:spPr>
              <a:xfrm>
                <a:off x="3101341" y="3061479"/>
                <a:ext cx="22985" cy="22985"/>
              </a:xfrm>
              <a:custGeom>
                <a:avLst/>
                <a:gdLst>
                  <a:gd name="connsiteX0" fmla="*/ 22985 w 22985"/>
                  <a:gd name="connsiteY0" fmla="*/ 11493 h 22985"/>
                  <a:gd name="connsiteX1" fmla="*/ 11493 w 22985"/>
                  <a:gd name="connsiteY1" fmla="*/ 22985 h 22985"/>
                  <a:gd name="connsiteX2" fmla="*/ 0 w 22985"/>
                  <a:gd name="connsiteY2" fmla="*/ 11493 h 22985"/>
                  <a:gd name="connsiteX3" fmla="*/ 11493 w 22985"/>
                  <a:gd name="connsiteY3" fmla="*/ 0 h 22985"/>
                  <a:gd name="connsiteX4" fmla="*/ 22985 w 22985"/>
                  <a:gd name="connsiteY4" fmla="*/ 11493 h 22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5" h="22985">
                    <a:moveTo>
                      <a:pt x="22985" y="11493"/>
                    </a:moveTo>
                    <a:cubicBezTo>
                      <a:pt x="22985" y="17840"/>
                      <a:pt x="17840" y="22985"/>
                      <a:pt x="11493" y="22985"/>
                    </a:cubicBezTo>
                    <a:cubicBezTo>
                      <a:pt x="5145" y="22985"/>
                      <a:pt x="0" y="17840"/>
                      <a:pt x="0" y="11493"/>
                    </a:cubicBezTo>
                    <a:cubicBezTo>
                      <a:pt x="0" y="5145"/>
                      <a:pt x="5145" y="0"/>
                      <a:pt x="11493" y="0"/>
                    </a:cubicBezTo>
                    <a:cubicBezTo>
                      <a:pt x="17840" y="0"/>
                      <a:pt x="22985" y="5145"/>
                      <a:pt x="22985" y="11493"/>
                    </a:cubicBezTo>
                    <a:close/>
                  </a:path>
                </a:pathLst>
              </a:custGeom>
              <a:grpFill/>
              <a:ln w="10346" cap="flat">
                <a:noFill/>
                <a:prstDash val="solid"/>
                <a:miter/>
              </a:ln>
            </p:spPr>
            <p:txBody>
              <a:bodyPr rtlCol="0" anchor="ctr"/>
              <a:lstStyle/>
              <a:p>
                <a:endParaRPr lang="de-AT"/>
              </a:p>
            </p:txBody>
          </p:sp>
          <p:sp>
            <p:nvSpPr>
              <p:cNvPr id="58" name="Freihandform: Form 57">
                <a:extLst>
                  <a:ext uri="{FF2B5EF4-FFF2-40B4-BE49-F238E27FC236}">
                    <a16:creationId xmlns:a16="http://schemas.microsoft.com/office/drawing/2014/main" id="{6CCC00C6-75A0-7126-3644-9A342AB0124B}"/>
                  </a:ext>
                </a:extLst>
              </p:cNvPr>
              <p:cNvSpPr/>
              <p:nvPr/>
            </p:nvSpPr>
            <p:spPr>
              <a:xfrm>
                <a:off x="3181789" y="3061479"/>
                <a:ext cx="22985" cy="22985"/>
              </a:xfrm>
              <a:custGeom>
                <a:avLst/>
                <a:gdLst>
                  <a:gd name="connsiteX0" fmla="*/ 22985 w 22985"/>
                  <a:gd name="connsiteY0" fmla="*/ 11493 h 22985"/>
                  <a:gd name="connsiteX1" fmla="*/ 11493 w 22985"/>
                  <a:gd name="connsiteY1" fmla="*/ 22985 h 22985"/>
                  <a:gd name="connsiteX2" fmla="*/ 0 w 22985"/>
                  <a:gd name="connsiteY2" fmla="*/ 11493 h 22985"/>
                  <a:gd name="connsiteX3" fmla="*/ 11493 w 22985"/>
                  <a:gd name="connsiteY3" fmla="*/ 0 h 22985"/>
                  <a:gd name="connsiteX4" fmla="*/ 22985 w 22985"/>
                  <a:gd name="connsiteY4" fmla="*/ 11493 h 22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5" h="22985">
                    <a:moveTo>
                      <a:pt x="22985" y="11493"/>
                    </a:moveTo>
                    <a:cubicBezTo>
                      <a:pt x="22985" y="17840"/>
                      <a:pt x="17840" y="22985"/>
                      <a:pt x="11493" y="22985"/>
                    </a:cubicBezTo>
                    <a:cubicBezTo>
                      <a:pt x="5145" y="22985"/>
                      <a:pt x="0" y="17840"/>
                      <a:pt x="0" y="11493"/>
                    </a:cubicBezTo>
                    <a:cubicBezTo>
                      <a:pt x="0" y="5145"/>
                      <a:pt x="5145" y="0"/>
                      <a:pt x="11493" y="0"/>
                    </a:cubicBezTo>
                    <a:cubicBezTo>
                      <a:pt x="17840" y="0"/>
                      <a:pt x="22985" y="5145"/>
                      <a:pt x="22985" y="11493"/>
                    </a:cubicBezTo>
                    <a:close/>
                  </a:path>
                </a:pathLst>
              </a:custGeom>
              <a:grpFill/>
              <a:ln w="10346" cap="flat">
                <a:noFill/>
                <a:prstDash val="solid"/>
                <a:miter/>
              </a:ln>
            </p:spPr>
            <p:txBody>
              <a:bodyPr rtlCol="0" anchor="ctr"/>
              <a:lstStyle/>
              <a:p>
                <a:endParaRPr lang="de-AT"/>
              </a:p>
            </p:txBody>
          </p:sp>
          <p:sp>
            <p:nvSpPr>
              <p:cNvPr id="59" name="Freihandform: Form 58">
                <a:extLst>
                  <a:ext uri="{FF2B5EF4-FFF2-40B4-BE49-F238E27FC236}">
                    <a16:creationId xmlns:a16="http://schemas.microsoft.com/office/drawing/2014/main" id="{70E78650-1FFD-0828-DD7F-1973050268EF}"/>
                  </a:ext>
                </a:extLst>
              </p:cNvPr>
              <p:cNvSpPr/>
              <p:nvPr/>
            </p:nvSpPr>
            <p:spPr>
              <a:xfrm>
                <a:off x="3262237" y="3061479"/>
                <a:ext cx="22985" cy="22985"/>
              </a:xfrm>
              <a:custGeom>
                <a:avLst/>
                <a:gdLst>
                  <a:gd name="connsiteX0" fmla="*/ 22985 w 22985"/>
                  <a:gd name="connsiteY0" fmla="*/ 11493 h 22985"/>
                  <a:gd name="connsiteX1" fmla="*/ 11493 w 22985"/>
                  <a:gd name="connsiteY1" fmla="*/ 22985 h 22985"/>
                  <a:gd name="connsiteX2" fmla="*/ 0 w 22985"/>
                  <a:gd name="connsiteY2" fmla="*/ 11493 h 22985"/>
                  <a:gd name="connsiteX3" fmla="*/ 11493 w 22985"/>
                  <a:gd name="connsiteY3" fmla="*/ 0 h 22985"/>
                  <a:gd name="connsiteX4" fmla="*/ 22985 w 22985"/>
                  <a:gd name="connsiteY4" fmla="*/ 11493 h 22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5" h="22985">
                    <a:moveTo>
                      <a:pt x="22985" y="11493"/>
                    </a:moveTo>
                    <a:cubicBezTo>
                      <a:pt x="22985" y="17840"/>
                      <a:pt x="17840" y="22985"/>
                      <a:pt x="11493" y="22985"/>
                    </a:cubicBezTo>
                    <a:cubicBezTo>
                      <a:pt x="5145" y="22985"/>
                      <a:pt x="0" y="17840"/>
                      <a:pt x="0" y="11493"/>
                    </a:cubicBezTo>
                    <a:cubicBezTo>
                      <a:pt x="0" y="5145"/>
                      <a:pt x="5145" y="0"/>
                      <a:pt x="11493" y="0"/>
                    </a:cubicBezTo>
                    <a:cubicBezTo>
                      <a:pt x="17840" y="0"/>
                      <a:pt x="22985" y="5145"/>
                      <a:pt x="22985" y="11493"/>
                    </a:cubicBezTo>
                    <a:close/>
                  </a:path>
                </a:pathLst>
              </a:custGeom>
              <a:grpFill/>
              <a:ln w="10346" cap="flat">
                <a:noFill/>
                <a:prstDash val="solid"/>
                <a:miter/>
              </a:ln>
            </p:spPr>
            <p:txBody>
              <a:bodyPr rtlCol="0" anchor="ctr"/>
              <a:lstStyle/>
              <a:p>
                <a:endParaRPr lang="de-AT"/>
              </a:p>
            </p:txBody>
          </p:sp>
          <p:sp>
            <p:nvSpPr>
              <p:cNvPr id="60" name="Freihandform: Form 59">
                <a:extLst>
                  <a:ext uri="{FF2B5EF4-FFF2-40B4-BE49-F238E27FC236}">
                    <a16:creationId xmlns:a16="http://schemas.microsoft.com/office/drawing/2014/main" id="{C2848F86-DD1E-4C8A-32D8-B9D67E06C928}"/>
                  </a:ext>
                </a:extLst>
              </p:cNvPr>
              <p:cNvSpPr/>
              <p:nvPr/>
            </p:nvSpPr>
            <p:spPr>
              <a:xfrm>
                <a:off x="3342685" y="3061479"/>
                <a:ext cx="22985" cy="22985"/>
              </a:xfrm>
              <a:custGeom>
                <a:avLst/>
                <a:gdLst>
                  <a:gd name="connsiteX0" fmla="*/ 22985 w 22985"/>
                  <a:gd name="connsiteY0" fmla="*/ 11493 h 22985"/>
                  <a:gd name="connsiteX1" fmla="*/ 11493 w 22985"/>
                  <a:gd name="connsiteY1" fmla="*/ 22985 h 22985"/>
                  <a:gd name="connsiteX2" fmla="*/ 0 w 22985"/>
                  <a:gd name="connsiteY2" fmla="*/ 11493 h 22985"/>
                  <a:gd name="connsiteX3" fmla="*/ 11493 w 22985"/>
                  <a:gd name="connsiteY3" fmla="*/ 0 h 22985"/>
                  <a:gd name="connsiteX4" fmla="*/ 22985 w 22985"/>
                  <a:gd name="connsiteY4" fmla="*/ 11493 h 22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5" h="22985">
                    <a:moveTo>
                      <a:pt x="22985" y="11493"/>
                    </a:moveTo>
                    <a:cubicBezTo>
                      <a:pt x="22985" y="17840"/>
                      <a:pt x="17840" y="22985"/>
                      <a:pt x="11493" y="22985"/>
                    </a:cubicBezTo>
                    <a:cubicBezTo>
                      <a:pt x="5145" y="22985"/>
                      <a:pt x="0" y="17840"/>
                      <a:pt x="0" y="11493"/>
                    </a:cubicBezTo>
                    <a:cubicBezTo>
                      <a:pt x="0" y="5145"/>
                      <a:pt x="5145" y="0"/>
                      <a:pt x="11493" y="0"/>
                    </a:cubicBezTo>
                    <a:cubicBezTo>
                      <a:pt x="17840" y="0"/>
                      <a:pt x="22985" y="5145"/>
                      <a:pt x="22985" y="11493"/>
                    </a:cubicBezTo>
                    <a:close/>
                  </a:path>
                </a:pathLst>
              </a:custGeom>
              <a:grpFill/>
              <a:ln w="10346" cap="flat">
                <a:noFill/>
                <a:prstDash val="solid"/>
                <a:miter/>
              </a:ln>
            </p:spPr>
            <p:txBody>
              <a:bodyPr rtlCol="0" anchor="ctr"/>
              <a:lstStyle/>
              <a:p>
                <a:endParaRPr lang="de-AT"/>
              </a:p>
            </p:txBody>
          </p:sp>
          <p:sp>
            <p:nvSpPr>
              <p:cNvPr id="61" name="Freihandform: Form 60">
                <a:extLst>
                  <a:ext uri="{FF2B5EF4-FFF2-40B4-BE49-F238E27FC236}">
                    <a16:creationId xmlns:a16="http://schemas.microsoft.com/office/drawing/2014/main" id="{4F316DF4-D1CC-E452-4C3C-5492161A360E}"/>
                  </a:ext>
                </a:extLst>
              </p:cNvPr>
              <p:cNvSpPr/>
              <p:nvPr/>
            </p:nvSpPr>
            <p:spPr>
              <a:xfrm>
                <a:off x="2859997" y="3141927"/>
                <a:ext cx="22985" cy="22985"/>
              </a:xfrm>
              <a:custGeom>
                <a:avLst/>
                <a:gdLst>
                  <a:gd name="connsiteX0" fmla="*/ 22985 w 22985"/>
                  <a:gd name="connsiteY0" fmla="*/ 11493 h 22985"/>
                  <a:gd name="connsiteX1" fmla="*/ 11493 w 22985"/>
                  <a:gd name="connsiteY1" fmla="*/ 22985 h 22985"/>
                  <a:gd name="connsiteX2" fmla="*/ 0 w 22985"/>
                  <a:gd name="connsiteY2" fmla="*/ 11493 h 22985"/>
                  <a:gd name="connsiteX3" fmla="*/ 11493 w 22985"/>
                  <a:gd name="connsiteY3" fmla="*/ 0 h 22985"/>
                  <a:gd name="connsiteX4" fmla="*/ 22985 w 22985"/>
                  <a:gd name="connsiteY4" fmla="*/ 11493 h 22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5" h="22985">
                    <a:moveTo>
                      <a:pt x="22985" y="11493"/>
                    </a:moveTo>
                    <a:cubicBezTo>
                      <a:pt x="22985" y="17840"/>
                      <a:pt x="17840" y="22985"/>
                      <a:pt x="11493" y="22985"/>
                    </a:cubicBezTo>
                    <a:cubicBezTo>
                      <a:pt x="5145" y="22985"/>
                      <a:pt x="0" y="17840"/>
                      <a:pt x="0" y="11493"/>
                    </a:cubicBezTo>
                    <a:cubicBezTo>
                      <a:pt x="0" y="5145"/>
                      <a:pt x="5145" y="0"/>
                      <a:pt x="11493" y="0"/>
                    </a:cubicBezTo>
                    <a:cubicBezTo>
                      <a:pt x="17840" y="0"/>
                      <a:pt x="22985" y="5145"/>
                      <a:pt x="22985" y="11493"/>
                    </a:cubicBezTo>
                    <a:close/>
                  </a:path>
                </a:pathLst>
              </a:custGeom>
              <a:grpFill/>
              <a:ln w="10346" cap="flat">
                <a:noFill/>
                <a:prstDash val="solid"/>
                <a:miter/>
              </a:ln>
            </p:spPr>
            <p:txBody>
              <a:bodyPr rtlCol="0" anchor="ctr"/>
              <a:lstStyle/>
              <a:p>
                <a:endParaRPr lang="de-AT"/>
              </a:p>
            </p:txBody>
          </p:sp>
          <p:sp>
            <p:nvSpPr>
              <p:cNvPr id="62" name="Freihandform: Form 61">
                <a:extLst>
                  <a:ext uri="{FF2B5EF4-FFF2-40B4-BE49-F238E27FC236}">
                    <a16:creationId xmlns:a16="http://schemas.microsoft.com/office/drawing/2014/main" id="{F9440CB6-95BA-C78E-306E-23C3482F0E39}"/>
                  </a:ext>
                </a:extLst>
              </p:cNvPr>
              <p:cNvSpPr/>
              <p:nvPr/>
            </p:nvSpPr>
            <p:spPr>
              <a:xfrm>
                <a:off x="2940445" y="3141927"/>
                <a:ext cx="22985" cy="22985"/>
              </a:xfrm>
              <a:custGeom>
                <a:avLst/>
                <a:gdLst>
                  <a:gd name="connsiteX0" fmla="*/ 22985 w 22985"/>
                  <a:gd name="connsiteY0" fmla="*/ 11493 h 22985"/>
                  <a:gd name="connsiteX1" fmla="*/ 11493 w 22985"/>
                  <a:gd name="connsiteY1" fmla="*/ 22985 h 22985"/>
                  <a:gd name="connsiteX2" fmla="*/ 0 w 22985"/>
                  <a:gd name="connsiteY2" fmla="*/ 11493 h 22985"/>
                  <a:gd name="connsiteX3" fmla="*/ 11493 w 22985"/>
                  <a:gd name="connsiteY3" fmla="*/ 0 h 22985"/>
                  <a:gd name="connsiteX4" fmla="*/ 22985 w 22985"/>
                  <a:gd name="connsiteY4" fmla="*/ 11493 h 22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5" h="22985">
                    <a:moveTo>
                      <a:pt x="22985" y="11493"/>
                    </a:moveTo>
                    <a:cubicBezTo>
                      <a:pt x="22985" y="17840"/>
                      <a:pt x="17840" y="22985"/>
                      <a:pt x="11493" y="22985"/>
                    </a:cubicBezTo>
                    <a:cubicBezTo>
                      <a:pt x="5145" y="22985"/>
                      <a:pt x="0" y="17840"/>
                      <a:pt x="0" y="11493"/>
                    </a:cubicBezTo>
                    <a:cubicBezTo>
                      <a:pt x="0" y="5145"/>
                      <a:pt x="5145" y="0"/>
                      <a:pt x="11493" y="0"/>
                    </a:cubicBezTo>
                    <a:cubicBezTo>
                      <a:pt x="17840" y="0"/>
                      <a:pt x="22985" y="5145"/>
                      <a:pt x="22985" y="11493"/>
                    </a:cubicBezTo>
                    <a:close/>
                  </a:path>
                </a:pathLst>
              </a:custGeom>
              <a:grpFill/>
              <a:ln w="10346" cap="flat">
                <a:noFill/>
                <a:prstDash val="solid"/>
                <a:miter/>
              </a:ln>
            </p:spPr>
            <p:txBody>
              <a:bodyPr rtlCol="0" anchor="ctr"/>
              <a:lstStyle/>
              <a:p>
                <a:endParaRPr lang="de-AT"/>
              </a:p>
            </p:txBody>
          </p:sp>
          <p:sp>
            <p:nvSpPr>
              <p:cNvPr id="63" name="Freihandform: Form 62">
                <a:extLst>
                  <a:ext uri="{FF2B5EF4-FFF2-40B4-BE49-F238E27FC236}">
                    <a16:creationId xmlns:a16="http://schemas.microsoft.com/office/drawing/2014/main" id="{42ADC1D9-0F2E-B215-D854-BEFABDDBB77F}"/>
                  </a:ext>
                </a:extLst>
              </p:cNvPr>
              <p:cNvSpPr/>
              <p:nvPr/>
            </p:nvSpPr>
            <p:spPr>
              <a:xfrm>
                <a:off x="3020893" y="3141927"/>
                <a:ext cx="22985" cy="22985"/>
              </a:xfrm>
              <a:custGeom>
                <a:avLst/>
                <a:gdLst>
                  <a:gd name="connsiteX0" fmla="*/ 22985 w 22985"/>
                  <a:gd name="connsiteY0" fmla="*/ 11493 h 22985"/>
                  <a:gd name="connsiteX1" fmla="*/ 11493 w 22985"/>
                  <a:gd name="connsiteY1" fmla="*/ 22985 h 22985"/>
                  <a:gd name="connsiteX2" fmla="*/ 0 w 22985"/>
                  <a:gd name="connsiteY2" fmla="*/ 11493 h 22985"/>
                  <a:gd name="connsiteX3" fmla="*/ 11493 w 22985"/>
                  <a:gd name="connsiteY3" fmla="*/ 0 h 22985"/>
                  <a:gd name="connsiteX4" fmla="*/ 22985 w 22985"/>
                  <a:gd name="connsiteY4" fmla="*/ 11493 h 22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5" h="22985">
                    <a:moveTo>
                      <a:pt x="22985" y="11493"/>
                    </a:moveTo>
                    <a:cubicBezTo>
                      <a:pt x="22985" y="17840"/>
                      <a:pt x="17840" y="22985"/>
                      <a:pt x="11493" y="22985"/>
                    </a:cubicBezTo>
                    <a:cubicBezTo>
                      <a:pt x="5145" y="22985"/>
                      <a:pt x="0" y="17840"/>
                      <a:pt x="0" y="11493"/>
                    </a:cubicBezTo>
                    <a:cubicBezTo>
                      <a:pt x="0" y="5145"/>
                      <a:pt x="5145" y="0"/>
                      <a:pt x="11493" y="0"/>
                    </a:cubicBezTo>
                    <a:cubicBezTo>
                      <a:pt x="17840" y="0"/>
                      <a:pt x="22985" y="5145"/>
                      <a:pt x="22985" y="11493"/>
                    </a:cubicBezTo>
                    <a:close/>
                  </a:path>
                </a:pathLst>
              </a:custGeom>
              <a:grpFill/>
              <a:ln w="10346" cap="flat">
                <a:noFill/>
                <a:prstDash val="solid"/>
                <a:miter/>
              </a:ln>
            </p:spPr>
            <p:txBody>
              <a:bodyPr rtlCol="0" anchor="ctr"/>
              <a:lstStyle/>
              <a:p>
                <a:endParaRPr lang="de-AT"/>
              </a:p>
            </p:txBody>
          </p:sp>
          <p:sp>
            <p:nvSpPr>
              <p:cNvPr id="64" name="Freihandform: Form 63">
                <a:extLst>
                  <a:ext uri="{FF2B5EF4-FFF2-40B4-BE49-F238E27FC236}">
                    <a16:creationId xmlns:a16="http://schemas.microsoft.com/office/drawing/2014/main" id="{CC884F51-E9BE-2EC5-AD2F-655745B7EC0C}"/>
                  </a:ext>
                </a:extLst>
              </p:cNvPr>
              <p:cNvSpPr/>
              <p:nvPr/>
            </p:nvSpPr>
            <p:spPr>
              <a:xfrm>
                <a:off x="3101341" y="3141927"/>
                <a:ext cx="22985" cy="22985"/>
              </a:xfrm>
              <a:custGeom>
                <a:avLst/>
                <a:gdLst>
                  <a:gd name="connsiteX0" fmla="*/ 22985 w 22985"/>
                  <a:gd name="connsiteY0" fmla="*/ 11493 h 22985"/>
                  <a:gd name="connsiteX1" fmla="*/ 11493 w 22985"/>
                  <a:gd name="connsiteY1" fmla="*/ 22985 h 22985"/>
                  <a:gd name="connsiteX2" fmla="*/ 0 w 22985"/>
                  <a:gd name="connsiteY2" fmla="*/ 11493 h 22985"/>
                  <a:gd name="connsiteX3" fmla="*/ 11493 w 22985"/>
                  <a:gd name="connsiteY3" fmla="*/ 0 h 22985"/>
                  <a:gd name="connsiteX4" fmla="*/ 22985 w 22985"/>
                  <a:gd name="connsiteY4" fmla="*/ 11493 h 22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5" h="22985">
                    <a:moveTo>
                      <a:pt x="22985" y="11493"/>
                    </a:moveTo>
                    <a:cubicBezTo>
                      <a:pt x="22985" y="17840"/>
                      <a:pt x="17840" y="22985"/>
                      <a:pt x="11493" y="22985"/>
                    </a:cubicBezTo>
                    <a:cubicBezTo>
                      <a:pt x="5145" y="22985"/>
                      <a:pt x="0" y="17840"/>
                      <a:pt x="0" y="11493"/>
                    </a:cubicBezTo>
                    <a:cubicBezTo>
                      <a:pt x="0" y="5145"/>
                      <a:pt x="5145" y="0"/>
                      <a:pt x="11493" y="0"/>
                    </a:cubicBezTo>
                    <a:cubicBezTo>
                      <a:pt x="17840" y="0"/>
                      <a:pt x="22985" y="5145"/>
                      <a:pt x="22985" y="11493"/>
                    </a:cubicBezTo>
                    <a:close/>
                  </a:path>
                </a:pathLst>
              </a:custGeom>
              <a:grpFill/>
              <a:ln w="10346" cap="flat">
                <a:noFill/>
                <a:prstDash val="solid"/>
                <a:miter/>
              </a:ln>
            </p:spPr>
            <p:txBody>
              <a:bodyPr rtlCol="0" anchor="ctr"/>
              <a:lstStyle/>
              <a:p>
                <a:endParaRPr lang="de-AT"/>
              </a:p>
            </p:txBody>
          </p:sp>
          <p:sp>
            <p:nvSpPr>
              <p:cNvPr id="65" name="Freihandform: Form 64">
                <a:extLst>
                  <a:ext uri="{FF2B5EF4-FFF2-40B4-BE49-F238E27FC236}">
                    <a16:creationId xmlns:a16="http://schemas.microsoft.com/office/drawing/2014/main" id="{FA3012E9-08DD-BF9B-5D59-5EA3112C624A}"/>
                  </a:ext>
                </a:extLst>
              </p:cNvPr>
              <p:cNvSpPr/>
              <p:nvPr/>
            </p:nvSpPr>
            <p:spPr>
              <a:xfrm>
                <a:off x="3181789" y="3141927"/>
                <a:ext cx="22985" cy="22985"/>
              </a:xfrm>
              <a:custGeom>
                <a:avLst/>
                <a:gdLst>
                  <a:gd name="connsiteX0" fmla="*/ 22985 w 22985"/>
                  <a:gd name="connsiteY0" fmla="*/ 11493 h 22985"/>
                  <a:gd name="connsiteX1" fmla="*/ 11493 w 22985"/>
                  <a:gd name="connsiteY1" fmla="*/ 22985 h 22985"/>
                  <a:gd name="connsiteX2" fmla="*/ 0 w 22985"/>
                  <a:gd name="connsiteY2" fmla="*/ 11493 h 22985"/>
                  <a:gd name="connsiteX3" fmla="*/ 11493 w 22985"/>
                  <a:gd name="connsiteY3" fmla="*/ 0 h 22985"/>
                  <a:gd name="connsiteX4" fmla="*/ 22985 w 22985"/>
                  <a:gd name="connsiteY4" fmla="*/ 11493 h 22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5" h="22985">
                    <a:moveTo>
                      <a:pt x="22985" y="11493"/>
                    </a:moveTo>
                    <a:cubicBezTo>
                      <a:pt x="22985" y="17840"/>
                      <a:pt x="17840" y="22985"/>
                      <a:pt x="11493" y="22985"/>
                    </a:cubicBezTo>
                    <a:cubicBezTo>
                      <a:pt x="5145" y="22985"/>
                      <a:pt x="0" y="17840"/>
                      <a:pt x="0" y="11493"/>
                    </a:cubicBezTo>
                    <a:cubicBezTo>
                      <a:pt x="0" y="5145"/>
                      <a:pt x="5145" y="0"/>
                      <a:pt x="11493" y="0"/>
                    </a:cubicBezTo>
                    <a:cubicBezTo>
                      <a:pt x="17840" y="0"/>
                      <a:pt x="22985" y="5145"/>
                      <a:pt x="22985" y="11493"/>
                    </a:cubicBezTo>
                    <a:close/>
                  </a:path>
                </a:pathLst>
              </a:custGeom>
              <a:grpFill/>
              <a:ln w="10346" cap="flat">
                <a:noFill/>
                <a:prstDash val="solid"/>
                <a:miter/>
              </a:ln>
            </p:spPr>
            <p:txBody>
              <a:bodyPr rtlCol="0" anchor="ctr"/>
              <a:lstStyle/>
              <a:p>
                <a:endParaRPr lang="de-AT"/>
              </a:p>
            </p:txBody>
          </p:sp>
          <p:sp>
            <p:nvSpPr>
              <p:cNvPr id="66" name="Freihandform: Form 65">
                <a:extLst>
                  <a:ext uri="{FF2B5EF4-FFF2-40B4-BE49-F238E27FC236}">
                    <a16:creationId xmlns:a16="http://schemas.microsoft.com/office/drawing/2014/main" id="{321FB769-2326-1166-9473-5A8BEC3D468F}"/>
                  </a:ext>
                </a:extLst>
              </p:cNvPr>
              <p:cNvSpPr/>
              <p:nvPr/>
            </p:nvSpPr>
            <p:spPr>
              <a:xfrm>
                <a:off x="3262237" y="3141927"/>
                <a:ext cx="22985" cy="22985"/>
              </a:xfrm>
              <a:custGeom>
                <a:avLst/>
                <a:gdLst>
                  <a:gd name="connsiteX0" fmla="*/ 22985 w 22985"/>
                  <a:gd name="connsiteY0" fmla="*/ 11493 h 22985"/>
                  <a:gd name="connsiteX1" fmla="*/ 11493 w 22985"/>
                  <a:gd name="connsiteY1" fmla="*/ 22985 h 22985"/>
                  <a:gd name="connsiteX2" fmla="*/ 0 w 22985"/>
                  <a:gd name="connsiteY2" fmla="*/ 11493 h 22985"/>
                  <a:gd name="connsiteX3" fmla="*/ 11493 w 22985"/>
                  <a:gd name="connsiteY3" fmla="*/ 0 h 22985"/>
                  <a:gd name="connsiteX4" fmla="*/ 22985 w 22985"/>
                  <a:gd name="connsiteY4" fmla="*/ 11493 h 22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5" h="22985">
                    <a:moveTo>
                      <a:pt x="22985" y="11493"/>
                    </a:moveTo>
                    <a:cubicBezTo>
                      <a:pt x="22985" y="17840"/>
                      <a:pt x="17840" y="22985"/>
                      <a:pt x="11493" y="22985"/>
                    </a:cubicBezTo>
                    <a:cubicBezTo>
                      <a:pt x="5145" y="22985"/>
                      <a:pt x="0" y="17840"/>
                      <a:pt x="0" y="11493"/>
                    </a:cubicBezTo>
                    <a:cubicBezTo>
                      <a:pt x="0" y="5145"/>
                      <a:pt x="5145" y="0"/>
                      <a:pt x="11493" y="0"/>
                    </a:cubicBezTo>
                    <a:cubicBezTo>
                      <a:pt x="17840" y="0"/>
                      <a:pt x="22985" y="5145"/>
                      <a:pt x="22985" y="11493"/>
                    </a:cubicBezTo>
                    <a:close/>
                  </a:path>
                </a:pathLst>
              </a:custGeom>
              <a:grpFill/>
              <a:ln w="10346" cap="flat">
                <a:noFill/>
                <a:prstDash val="solid"/>
                <a:miter/>
              </a:ln>
            </p:spPr>
            <p:txBody>
              <a:bodyPr rtlCol="0" anchor="ctr"/>
              <a:lstStyle/>
              <a:p>
                <a:endParaRPr lang="de-AT"/>
              </a:p>
            </p:txBody>
          </p:sp>
          <p:sp>
            <p:nvSpPr>
              <p:cNvPr id="67" name="Freihandform: Form 66">
                <a:extLst>
                  <a:ext uri="{FF2B5EF4-FFF2-40B4-BE49-F238E27FC236}">
                    <a16:creationId xmlns:a16="http://schemas.microsoft.com/office/drawing/2014/main" id="{363631E4-CF79-E81B-4850-B0AA77BDC18E}"/>
                  </a:ext>
                </a:extLst>
              </p:cNvPr>
              <p:cNvSpPr/>
              <p:nvPr/>
            </p:nvSpPr>
            <p:spPr>
              <a:xfrm>
                <a:off x="3342685" y="3141927"/>
                <a:ext cx="22985" cy="22985"/>
              </a:xfrm>
              <a:custGeom>
                <a:avLst/>
                <a:gdLst>
                  <a:gd name="connsiteX0" fmla="*/ 22985 w 22985"/>
                  <a:gd name="connsiteY0" fmla="*/ 11493 h 22985"/>
                  <a:gd name="connsiteX1" fmla="*/ 11493 w 22985"/>
                  <a:gd name="connsiteY1" fmla="*/ 22985 h 22985"/>
                  <a:gd name="connsiteX2" fmla="*/ 0 w 22985"/>
                  <a:gd name="connsiteY2" fmla="*/ 11493 h 22985"/>
                  <a:gd name="connsiteX3" fmla="*/ 11493 w 22985"/>
                  <a:gd name="connsiteY3" fmla="*/ 0 h 22985"/>
                  <a:gd name="connsiteX4" fmla="*/ 22985 w 22985"/>
                  <a:gd name="connsiteY4" fmla="*/ 11493 h 22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5" h="22985">
                    <a:moveTo>
                      <a:pt x="22985" y="11493"/>
                    </a:moveTo>
                    <a:cubicBezTo>
                      <a:pt x="22985" y="17840"/>
                      <a:pt x="17840" y="22985"/>
                      <a:pt x="11493" y="22985"/>
                    </a:cubicBezTo>
                    <a:cubicBezTo>
                      <a:pt x="5145" y="22985"/>
                      <a:pt x="0" y="17840"/>
                      <a:pt x="0" y="11493"/>
                    </a:cubicBezTo>
                    <a:cubicBezTo>
                      <a:pt x="0" y="5145"/>
                      <a:pt x="5145" y="0"/>
                      <a:pt x="11493" y="0"/>
                    </a:cubicBezTo>
                    <a:cubicBezTo>
                      <a:pt x="17840" y="0"/>
                      <a:pt x="22985" y="5145"/>
                      <a:pt x="22985" y="11493"/>
                    </a:cubicBezTo>
                    <a:close/>
                  </a:path>
                </a:pathLst>
              </a:custGeom>
              <a:grpFill/>
              <a:ln w="10346" cap="flat">
                <a:noFill/>
                <a:prstDash val="solid"/>
                <a:miter/>
              </a:ln>
            </p:spPr>
            <p:txBody>
              <a:bodyPr rtlCol="0" anchor="ctr"/>
              <a:lstStyle/>
              <a:p>
                <a:endParaRPr lang="de-AT"/>
              </a:p>
            </p:txBody>
          </p:sp>
          <p:sp>
            <p:nvSpPr>
              <p:cNvPr id="68" name="Freihandform: Form 67">
                <a:extLst>
                  <a:ext uri="{FF2B5EF4-FFF2-40B4-BE49-F238E27FC236}">
                    <a16:creationId xmlns:a16="http://schemas.microsoft.com/office/drawing/2014/main" id="{CA793D65-49FF-E320-3A1A-399D151C783D}"/>
                  </a:ext>
                </a:extLst>
              </p:cNvPr>
              <p:cNvSpPr/>
              <p:nvPr/>
            </p:nvSpPr>
            <p:spPr>
              <a:xfrm>
                <a:off x="2859997" y="3233868"/>
                <a:ext cx="22985" cy="22985"/>
              </a:xfrm>
              <a:custGeom>
                <a:avLst/>
                <a:gdLst>
                  <a:gd name="connsiteX0" fmla="*/ 22985 w 22985"/>
                  <a:gd name="connsiteY0" fmla="*/ 11493 h 22985"/>
                  <a:gd name="connsiteX1" fmla="*/ 11493 w 22985"/>
                  <a:gd name="connsiteY1" fmla="*/ 22985 h 22985"/>
                  <a:gd name="connsiteX2" fmla="*/ 0 w 22985"/>
                  <a:gd name="connsiteY2" fmla="*/ 11493 h 22985"/>
                  <a:gd name="connsiteX3" fmla="*/ 11493 w 22985"/>
                  <a:gd name="connsiteY3" fmla="*/ 0 h 22985"/>
                  <a:gd name="connsiteX4" fmla="*/ 22985 w 22985"/>
                  <a:gd name="connsiteY4" fmla="*/ 11493 h 22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5" h="22985">
                    <a:moveTo>
                      <a:pt x="22985" y="11493"/>
                    </a:moveTo>
                    <a:cubicBezTo>
                      <a:pt x="22985" y="17840"/>
                      <a:pt x="17840" y="22985"/>
                      <a:pt x="11493" y="22985"/>
                    </a:cubicBezTo>
                    <a:cubicBezTo>
                      <a:pt x="5145" y="22985"/>
                      <a:pt x="0" y="17840"/>
                      <a:pt x="0" y="11493"/>
                    </a:cubicBezTo>
                    <a:cubicBezTo>
                      <a:pt x="0" y="5145"/>
                      <a:pt x="5145" y="0"/>
                      <a:pt x="11493" y="0"/>
                    </a:cubicBezTo>
                    <a:cubicBezTo>
                      <a:pt x="17840" y="0"/>
                      <a:pt x="22985" y="5145"/>
                      <a:pt x="22985" y="11493"/>
                    </a:cubicBezTo>
                    <a:close/>
                  </a:path>
                </a:pathLst>
              </a:custGeom>
              <a:grpFill/>
              <a:ln w="10346" cap="flat">
                <a:noFill/>
                <a:prstDash val="solid"/>
                <a:miter/>
              </a:ln>
            </p:spPr>
            <p:txBody>
              <a:bodyPr rtlCol="0" anchor="ctr"/>
              <a:lstStyle/>
              <a:p>
                <a:endParaRPr lang="de-AT"/>
              </a:p>
            </p:txBody>
          </p:sp>
          <p:sp>
            <p:nvSpPr>
              <p:cNvPr id="69" name="Freihandform: Form 68">
                <a:extLst>
                  <a:ext uri="{FF2B5EF4-FFF2-40B4-BE49-F238E27FC236}">
                    <a16:creationId xmlns:a16="http://schemas.microsoft.com/office/drawing/2014/main" id="{AF0C8938-C28A-A418-E287-FB285E1B5A76}"/>
                  </a:ext>
                </a:extLst>
              </p:cNvPr>
              <p:cNvSpPr/>
              <p:nvPr/>
            </p:nvSpPr>
            <p:spPr>
              <a:xfrm>
                <a:off x="2940445" y="3233868"/>
                <a:ext cx="22985" cy="22985"/>
              </a:xfrm>
              <a:custGeom>
                <a:avLst/>
                <a:gdLst>
                  <a:gd name="connsiteX0" fmla="*/ 22985 w 22985"/>
                  <a:gd name="connsiteY0" fmla="*/ 11493 h 22985"/>
                  <a:gd name="connsiteX1" fmla="*/ 11493 w 22985"/>
                  <a:gd name="connsiteY1" fmla="*/ 22985 h 22985"/>
                  <a:gd name="connsiteX2" fmla="*/ 0 w 22985"/>
                  <a:gd name="connsiteY2" fmla="*/ 11493 h 22985"/>
                  <a:gd name="connsiteX3" fmla="*/ 11493 w 22985"/>
                  <a:gd name="connsiteY3" fmla="*/ 0 h 22985"/>
                  <a:gd name="connsiteX4" fmla="*/ 22985 w 22985"/>
                  <a:gd name="connsiteY4" fmla="*/ 11493 h 22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5" h="22985">
                    <a:moveTo>
                      <a:pt x="22985" y="11493"/>
                    </a:moveTo>
                    <a:cubicBezTo>
                      <a:pt x="22985" y="17840"/>
                      <a:pt x="17840" y="22985"/>
                      <a:pt x="11493" y="22985"/>
                    </a:cubicBezTo>
                    <a:cubicBezTo>
                      <a:pt x="5145" y="22985"/>
                      <a:pt x="0" y="17840"/>
                      <a:pt x="0" y="11493"/>
                    </a:cubicBezTo>
                    <a:cubicBezTo>
                      <a:pt x="0" y="5145"/>
                      <a:pt x="5145" y="0"/>
                      <a:pt x="11493" y="0"/>
                    </a:cubicBezTo>
                    <a:cubicBezTo>
                      <a:pt x="17840" y="0"/>
                      <a:pt x="22985" y="5145"/>
                      <a:pt x="22985" y="11493"/>
                    </a:cubicBezTo>
                    <a:close/>
                  </a:path>
                </a:pathLst>
              </a:custGeom>
              <a:grpFill/>
              <a:ln w="10346" cap="flat">
                <a:noFill/>
                <a:prstDash val="solid"/>
                <a:miter/>
              </a:ln>
            </p:spPr>
            <p:txBody>
              <a:bodyPr rtlCol="0" anchor="ctr"/>
              <a:lstStyle/>
              <a:p>
                <a:endParaRPr lang="de-AT"/>
              </a:p>
            </p:txBody>
          </p:sp>
          <p:sp>
            <p:nvSpPr>
              <p:cNvPr id="70" name="Freihandform: Form 69">
                <a:extLst>
                  <a:ext uri="{FF2B5EF4-FFF2-40B4-BE49-F238E27FC236}">
                    <a16:creationId xmlns:a16="http://schemas.microsoft.com/office/drawing/2014/main" id="{F6531CB6-E967-473E-C943-E9C67B529122}"/>
                  </a:ext>
                </a:extLst>
              </p:cNvPr>
              <p:cNvSpPr/>
              <p:nvPr/>
            </p:nvSpPr>
            <p:spPr>
              <a:xfrm>
                <a:off x="3020893" y="3233868"/>
                <a:ext cx="22985" cy="22985"/>
              </a:xfrm>
              <a:custGeom>
                <a:avLst/>
                <a:gdLst>
                  <a:gd name="connsiteX0" fmla="*/ 22985 w 22985"/>
                  <a:gd name="connsiteY0" fmla="*/ 11493 h 22985"/>
                  <a:gd name="connsiteX1" fmla="*/ 11493 w 22985"/>
                  <a:gd name="connsiteY1" fmla="*/ 22985 h 22985"/>
                  <a:gd name="connsiteX2" fmla="*/ 0 w 22985"/>
                  <a:gd name="connsiteY2" fmla="*/ 11493 h 22985"/>
                  <a:gd name="connsiteX3" fmla="*/ 11493 w 22985"/>
                  <a:gd name="connsiteY3" fmla="*/ 0 h 22985"/>
                  <a:gd name="connsiteX4" fmla="*/ 22985 w 22985"/>
                  <a:gd name="connsiteY4" fmla="*/ 11493 h 22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5" h="22985">
                    <a:moveTo>
                      <a:pt x="22985" y="11493"/>
                    </a:moveTo>
                    <a:cubicBezTo>
                      <a:pt x="22985" y="17840"/>
                      <a:pt x="17840" y="22985"/>
                      <a:pt x="11493" y="22985"/>
                    </a:cubicBezTo>
                    <a:cubicBezTo>
                      <a:pt x="5145" y="22985"/>
                      <a:pt x="0" y="17840"/>
                      <a:pt x="0" y="11493"/>
                    </a:cubicBezTo>
                    <a:cubicBezTo>
                      <a:pt x="0" y="5145"/>
                      <a:pt x="5145" y="0"/>
                      <a:pt x="11493" y="0"/>
                    </a:cubicBezTo>
                    <a:cubicBezTo>
                      <a:pt x="17840" y="0"/>
                      <a:pt x="22985" y="5145"/>
                      <a:pt x="22985" y="11493"/>
                    </a:cubicBezTo>
                    <a:close/>
                  </a:path>
                </a:pathLst>
              </a:custGeom>
              <a:grpFill/>
              <a:ln w="10346" cap="flat">
                <a:noFill/>
                <a:prstDash val="solid"/>
                <a:miter/>
              </a:ln>
            </p:spPr>
            <p:txBody>
              <a:bodyPr rtlCol="0" anchor="ctr"/>
              <a:lstStyle/>
              <a:p>
                <a:endParaRPr lang="de-AT"/>
              </a:p>
            </p:txBody>
          </p:sp>
          <p:sp>
            <p:nvSpPr>
              <p:cNvPr id="71" name="Freihandform: Form 70">
                <a:extLst>
                  <a:ext uri="{FF2B5EF4-FFF2-40B4-BE49-F238E27FC236}">
                    <a16:creationId xmlns:a16="http://schemas.microsoft.com/office/drawing/2014/main" id="{570A4B35-EEB6-D678-31CE-FC7591F65289}"/>
                  </a:ext>
                </a:extLst>
              </p:cNvPr>
              <p:cNvSpPr/>
              <p:nvPr/>
            </p:nvSpPr>
            <p:spPr>
              <a:xfrm>
                <a:off x="3101341" y="3233868"/>
                <a:ext cx="22985" cy="22985"/>
              </a:xfrm>
              <a:custGeom>
                <a:avLst/>
                <a:gdLst>
                  <a:gd name="connsiteX0" fmla="*/ 22985 w 22985"/>
                  <a:gd name="connsiteY0" fmla="*/ 11493 h 22985"/>
                  <a:gd name="connsiteX1" fmla="*/ 11493 w 22985"/>
                  <a:gd name="connsiteY1" fmla="*/ 22985 h 22985"/>
                  <a:gd name="connsiteX2" fmla="*/ 0 w 22985"/>
                  <a:gd name="connsiteY2" fmla="*/ 11493 h 22985"/>
                  <a:gd name="connsiteX3" fmla="*/ 11493 w 22985"/>
                  <a:gd name="connsiteY3" fmla="*/ 0 h 22985"/>
                  <a:gd name="connsiteX4" fmla="*/ 22985 w 22985"/>
                  <a:gd name="connsiteY4" fmla="*/ 11493 h 22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5" h="22985">
                    <a:moveTo>
                      <a:pt x="22985" y="11493"/>
                    </a:moveTo>
                    <a:cubicBezTo>
                      <a:pt x="22985" y="17840"/>
                      <a:pt x="17840" y="22985"/>
                      <a:pt x="11493" y="22985"/>
                    </a:cubicBezTo>
                    <a:cubicBezTo>
                      <a:pt x="5145" y="22985"/>
                      <a:pt x="0" y="17840"/>
                      <a:pt x="0" y="11493"/>
                    </a:cubicBezTo>
                    <a:cubicBezTo>
                      <a:pt x="0" y="5145"/>
                      <a:pt x="5145" y="0"/>
                      <a:pt x="11493" y="0"/>
                    </a:cubicBezTo>
                    <a:cubicBezTo>
                      <a:pt x="17840" y="0"/>
                      <a:pt x="22985" y="5145"/>
                      <a:pt x="22985" y="11493"/>
                    </a:cubicBezTo>
                    <a:close/>
                  </a:path>
                </a:pathLst>
              </a:custGeom>
              <a:grpFill/>
              <a:ln w="10346" cap="flat">
                <a:noFill/>
                <a:prstDash val="solid"/>
                <a:miter/>
              </a:ln>
            </p:spPr>
            <p:txBody>
              <a:bodyPr rtlCol="0" anchor="ctr"/>
              <a:lstStyle/>
              <a:p>
                <a:endParaRPr lang="de-AT"/>
              </a:p>
            </p:txBody>
          </p:sp>
          <p:sp>
            <p:nvSpPr>
              <p:cNvPr id="72" name="Freihandform: Form 71">
                <a:extLst>
                  <a:ext uri="{FF2B5EF4-FFF2-40B4-BE49-F238E27FC236}">
                    <a16:creationId xmlns:a16="http://schemas.microsoft.com/office/drawing/2014/main" id="{8847464E-DB43-953A-D2AD-7F82B1E69E7B}"/>
                  </a:ext>
                </a:extLst>
              </p:cNvPr>
              <p:cNvSpPr/>
              <p:nvPr/>
            </p:nvSpPr>
            <p:spPr>
              <a:xfrm>
                <a:off x="3181789" y="3233868"/>
                <a:ext cx="22985" cy="22985"/>
              </a:xfrm>
              <a:custGeom>
                <a:avLst/>
                <a:gdLst>
                  <a:gd name="connsiteX0" fmla="*/ 22985 w 22985"/>
                  <a:gd name="connsiteY0" fmla="*/ 11493 h 22985"/>
                  <a:gd name="connsiteX1" fmla="*/ 11493 w 22985"/>
                  <a:gd name="connsiteY1" fmla="*/ 22985 h 22985"/>
                  <a:gd name="connsiteX2" fmla="*/ 0 w 22985"/>
                  <a:gd name="connsiteY2" fmla="*/ 11493 h 22985"/>
                  <a:gd name="connsiteX3" fmla="*/ 11493 w 22985"/>
                  <a:gd name="connsiteY3" fmla="*/ 0 h 22985"/>
                  <a:gd name="connsiteX4" fmla="*/ 22985 w 22985"/>
                  <a:gd name="connsiteY4" fmla="*/ 11493 h 22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5" h="22985">
                    <a:moveTo>
                      <a:pt x="22985" y="11493"/>
                    </a:moveTo>
                    <a:cubicBezTo>
                      <a:pt x="22985" y="17840"/>
                      <a:pt x="17840" y="22985"/>
                      <a:pt x="11493" y="22985"/>
                    </a:cubicBezTo>
                    <a:cubicBezTo>
                      <a:pt x="5145" y="22985"/>
                      <a:pt x="0" y="17840"/>
                      <a:pt x="0" y="11493"/>
                    </a:cubicBezTo>
                    <a:cubicBezTo>
                      <a:pt x="0" y="5145"/>
                      <a:pt x="5145" y="0"/>
                      <a:pt x="11493" y="0"/>
                    </a:cubicBezTo>
                    <a:cubicBezTo>
                      <a:pt x="17840" y="0"/>
                      <a:pt x="22985" y="5145"/>
                      <a:pt x="22985" y="11493"/>
                    </a:cubicBezTo>
                    <a:close/>
                  </a:path>
                </a:pathLst>
              </a:custGeom>
              <a:grpFill/>
              <a:ln w="10346" cap="flat">
                <a:noFill/>
                <a:prstDash val="solid"/>
                <a:miter/>
              </a:ln>
            </p:spPr>
            <p:txBody>
              <a:bodyPr rtlCol="0" anchor="ctr"/>
              <a:lstStyle/>
              <a:p>
                <a:endParaRPr lang="de-AT"/>
              </a:p>
            </p:txBody>
          </p:sp>
        </p:grpSp>
      </p:grpSp>
      <p:pic>
        <p:nvPicPr>
          <p:cNvPr id="24" name="Grafik 23">
            <a:extLst>
              <a:ext uri="{FF2B5EF4-FFF2-40B4-BE49-F238E27FC236}">
                <a16:creationId xmlns:a16="http://schemas.microsoft.com/office/drawing/2014/main" id="{B08A189D-32E7-524B-41CD-4B00AC7ADCE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74476" y="1860520"/>
            <a:ext cx="578864" cy="578864"/>
          </a:xfrm>
          <a:prstGeom prst="rect">
            <a:avLst/>
          </a:prstGeom>
        </p:spPr>
      </p:pic>
      <p:pic>
        <p:nvPicPr>
          <p:cNvPr id="31" name="Grafik 30" descr="Ein Bild, das Grafiken, Design enthält.&#10;&#10;KI-generierte Inhalte können fehlerhaft sein.">
            <a:extLst>
              <a:ext uri="{FF2B5EF4-FFF2-40B4-BE49-F238E27FC236}">
                <a16:creationId xmlns:a16="http://schemas.microsoft.com/office/drawing/2014/main" id="{E641E7A4-BF38-DA96-40BF-AA177FC066D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32911" y="1861181"/>
            <a:ext cx="643694" cy="643694"/>
          </a:xfrm>
          <a:prstGeom prst="rect">
            <a:avLst/>
          </a:prstGeom>
        </p:spPr>
      </p:pic>
      <p:pic>
        <p:nvPicPr>
          <p:cNvPr id="33" name="Grafik 32">
            <a:extLst>
              <a:ext uri="{FF2B5EF4-FFF2-40B4-BE49-F238E27FC236}">
                <a16:creationId xmlns:a16="http://schemas.microsoft.com/office/drawing/2014/main" id="{E891CA38-88F4-147B-DDB0-1FA2C57B9FC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08436" y="3748454"/>
            <a:ext cx="377555" cy="377555"/>
          </a:xfrm>
          <a:prstGeom prst="rect">
            <a:avLst/>
          </a:prstGeom>
        </p:spPr>
      </p:pic>
    </p:spTree>
    <p:extLst>
      <p:ext uri="{BB962C8B-B14F-4D97-AF65-F5344CB8AC3E}">
        <p14:creationId xmlns:p14="http://schemas.microsoft.com/office/powerpoint/2010/main" val="3762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7B6C2C-2BD5-66B5-EE84-35DE2DA9E77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34BE350B-28F0-65F8-F844-80E1FB865DFA}"/>
              </a:ext>
            </a:extLst>
          </p:cNvPr>
          <p:cNvSpPr>
            <a:spLocks noGrp="1"/>
          </p:cNvSpPr>
          <p:nvPr>
            <p:ph type="title"/>
          </p:nvPr>
        </p:nvSpPr>
        <p:spPr/>
        <p:txBody>
          <a:bodyPr/>
          <a:lstStyle/>
          <a:p>
            <a:r>
              <a:rPr lang="de-AT" dirty="0" err="1"/>
              <a:t>convenient</a:t>
            </a:r>
            <a:r>
              <a:rPr lang="de-AT" dirty="0"/>
              <a:t>, simple and fast</a:t>
            </a:r>
            <a:br>
              <a:rPr lang="de-AT" b="0" dirty="0"/>
            </a:br>
            <a:r>
              <a:rPr lang="de-AT" dirty="0"/>
              <a:t>	</a:t>
            </a:r>
          </a:p>
        </p:txBody>
      </p:sp>
      <p:sp>
        <p:nvSpPr>
          <p:cNvPr id="3" name="Inhaltsplatzhalter 2">
            <a:extLst>
              <a:ext uri="{FF2B5EF4-FFF2-40B4-BE49-F238E27FC236}">
                <a16:creationId xmlns:a16="http://schemas.microsoft.com/office/drawing/2014/main" id="{6F3AFC68-0F63-3BB8-020B-67DFFC84054C}"/>
              </a:ext>
            </a:extLst>
          </p:cNvPr>
          <p:cNvSpPr>
            <a:spLocks noGrp="1"/>
          </p:cNvSpPr>
          <p:nvPr>
            <p:ph idx="1"/>
          </p:nvPr>
        </p:nvSpPr>
        <p:spPr>
          <a:xfrm>
            <a:off x="522288" y="1023938"/>
            <a:ext cx="5940329" cy="3297237"/>
          </a:xfrm>
        </p:spPr>
        <p:txBody>
          <a:bodyPr/>
          <a:lstStyle/>
          <a:p>
            <a:r>
              <a:rPr lang="de-AT" dirty="0"/>
              <a:t>All </a:t>
            </a:r>
            <a:r>
              <a:rPr lang="de-AT" dirty="0" err="1"/>
              <a:t>sites</a:t>
            </a:r>
            <a:r>
              <a:rPr lang="de-AT" dirty="0"/>
              <a:t> </a:t>
            </a:r>
            <a:r>
              <a:rPr lang="de-AT" dirty="0" err="1"/>
              <a:t>for</a:t>
            </a:r>
            <a:r>
              <a:rPr lang="de-AT" dirty="0"/>
              <a:t> </a:t>
            </a:r>
            <a:r>
              <a:rPr lang="de-AT" dirty="0" err="1"/>
              <a:t>glass</a:t>
            </a:r>
            <a:r>
              <a:rPr lang="de-AT" dirty="0"/>
              <a:t> </a:t>
            </a:r>
            <a:r>
              <a:rPr lang="de-AT" dirty="0" err="1"/>
              <a:t>collection</a:t>
            </a:r>
            <a:r>
              <a:rPr lang="de-AT" dirty="0"/>
              <a:t> </a:t>
            </a:r>
            <a:r>
              <a:rPr lang="de-AT" dirty="0" err="1"/>
              <a:t>bins</a:t>
            </a:r>
            <a:r>
              <a:rPr lang="de-AT" dirty="0"/>
              <a:t> </a:t>
            </a:r>
            <a:r>
              <a:rPr lang="de-AT" dirty="0" err="1"/>
              <a:t>are</a:t>
            </a:r>
            <a:r>
              <a:rPr lang="de-AT" dirty="0"/>
              <a:t> </a:t>
            </a:r>
            <a:r>
              <a:rPr lang="de-AT" b="1" dirty="0">
                <a:highlight>
                  <a:srgbClr val="D7DC46"/>
                </a:highlight>
              </a:rPr>
              <a:t>geo-</a:t>
            </a:r>
            <a:r>
              <a:rPr lang="de-AT" b="1" dirty="0" err="1">
                <a:highlight>
                  <a:srgbClr val="D7DC46"/>
                </a:highlight>
              </a:rPr>
              <a:t>coordinated</a:t>
            </a:r>
            <a:endParaRPr lang="de-AT" b="1" dirty="0">
              <a:highlight>
                <a:srgbClr val="D7DC46"/>
              </a:highlight>
            </a:endParaRPr>
          </a:p>
          <a:p>
            <a:r>
              <a:rPr lang="de-AT" dirty="0"/>
              <a:t>All </a:t>
            </a:r>
            <a:r>
              <a:rPr lang="de-AT" dirty="0" err="1"/>
              <a:t>stakeholders</a:t>
            </a:r>
            <a:r>
              <a:rPr lang="de-AT" dirty="0"/>
              <a:t> </a:t>
            </a:r>
            <a:r>
              <a:rPr lang="de-AT" dirty="0" err="1"/>
              <a:t>have</a:t>
            </a:r>
            <a:r>
              <a:rPr lang="de-AT" dirty="0"/>
              <a:t> </a:t>
            </a:r>
            <a:r>
              <a:rPr lang="de-AT" dirty="0" err="1"/>
              <a:t>access</a:t>
            </a:r>
            <a:r>
              <a:rPr lang="de-AT" dirty="0"/>
              <a:t> </a:t>
            </a:r>
            <a:r>
              <a:rPr lang="de-AT" dirty="0" err="1"/>
              <a:t>to</a:t>
            </a:r>
            <a:r>
              <a:rPr lang="de-AT" dirty="0"/>
              <a:t> </a:t>
            </a:r>
            <a:r>
              <a:rPr lang="de-AT" dirty="0" err="1"/>
              <a:t>the</a:t>
            </a:r>
            <a:r>
              <a:rPr lang="de-AT" dirty="0"/>
              <a:t> </a:t>
            </a:r>
            <a:r>
              <a:rPr lang="de-AT" dirty="0" err="1"/>
              <a:t>collection</a:t>
            </a:r>
            <a:r>
              <a:rPr lang="de-AT" dirty="0"/>
              <a:t> </a:t>
            </a:r>
            <a:r>
              <a:rPr lang="de-AT" dirty="0" err="1"/>
              <a:t>site</a:t>
            </a:r>
            <a:r>
              <a:rPr lang="de-AT" dirty="0"/>
              <a:t> </a:t>
            </a:r>
            <a:r>
              <a:rPr lang="de-AT" dirty="0" err="1"/>
              <a:t>list</a:t>
            </a:r>
            <a:r>
              <a:rPr lang="de-AT" dirty="0"/>
              <a:t> and </a:t>
            </a:r>
            <a:r>
              <a:rPr lang="de-AT" dirty="0" err="1"/>
              <a:t>the</a:t>
            </a:r>
            <a:r>
              <a:rPr lang="de-AT" dirty="0"/>
              <a:t> </a:t>
            </a:r>
            <a:r>
              <a:rPr lang="de-AT" dirty="0" err="1"/>
              <a:t>evaluation</a:t>
            </a:r>
            <a:r>
              <a:rPr lang="de-AT" dirty="0"/>
              <a:t> and </a:t>
            </a:r>
            <a:r>
              <a:rPr lang="de-AT" dirty="0" err="1"/>
              <a:t>have</a:t>
            </a:r>
            <a:r>
              <a:rPr lang="de-AT" dirty="0"/>
              <a:t> </a:t>
            </a:r>
            <a:r>
              <a:rPr lang="de-AT" dirty="0" err="1"/>
              <a:t>the</a:t>
            </a:r>
            <a:r>
              <a:rPr lang="de-AT" dirty="0"/>
              <a:t> </a:t>
            </a:r>
            <a:r>
              <a:rPr lang="de-AT" b="1" dirty="0" err="1">
                <a:highlight>
                  <a:srgbClr val="D7DC46"/>
                </a:highlight>
              </a:rPr>
              <a:t>harmonised</a:t>
            </a:r>
            <a:r>
              <a:rPr lang="de-AT" b="1" dirty="0">
                <a:highlight>
                  <a:srgbClr val="D7DC46"/>
                </a:highlight>
              </a:rPr>
              <a:t> </a:t>
            </a:r>
            <a:r>
              <a:rPr lang="de-AT" b="1" dirty="0" err="1">
                <a:highlight>
                  <a:srgbClr val="D7DC46"/>
                </a:highlight>
              </a:rPr>
              <a:t>information</a:t>
            </a:r>
            <a:r>
              <a:rPr lang="de-AT" b="1" dirty="0">
                <a:highlight>
                  <a:srgbClr val="D7DC46"/>
                </a:highlight>
              </a:rPr>
              <a:t> </a:t>
            </a:r>
          </a:p>
          <a:p>
            <a:r>
              <a:rPr lang="de-AT" b="1" dirty="0">
                <a:highlight>
                  <a:srgbClr val="D7DC46"/>
                </a:highlight>
              </a:rPr>
              <a:t>Quick and easy </a:t>
            </a:r>
            <a:r>
              <a:rPr lang="de-AT" b="1" dirty="0" err="1">
                <a:highlight>
                  <a:srgbClr val="D7DC46"/>
                </a:highlight>
              </a:rPr>
              <a:t>evaluation</a:t>
            </a:r>
            <a:r>
              <a:rPr lang="de-AT" b="1" dirty="0">
                <a:highlight>
                  <a:srgbClr val="D7DC46"/>
                </a:highlight>
              </a:rPr>
              <a:t> </a:t>
            </a:r>
          </a:p>
          <a:p>
            <a:r>
              <a:rPr lang="de-AT" b="1" dirty="0">
                <a:highlight>
                  <a:srgbClr val="D7DC46"/>
                </a:highlight>
              </a:rPr>
              <a:t>Realtime update </a:t>
            </a:r>
            <a:r>
              <a:rPr lang="de-AT" dirty="0"/>
              <a:t>on </a:t>
            </a:r>
            <a:r>
              <a:rPr lang="de-AT" dirty="0" err="1"/>
              <a:t>number</a:t>
            </a:r>
            <a:r>
              <a:rPr lang="de-AT" dirty="0"/>
              <a:t> </a:t>
            </a:r>
            <a:r>
              <a:rPr lang="de-AT" dirty="0" err="1"/>
              <a:t>of</a:t>
            </a:r>
            <a:r>
              <a:rPr lang="de-AT" dirty="0"/>
              <a:t> </a:t>
            </a:r>
            <a:r>
              <a:rPr lang="de-AT" dirty="0" err="1"/>
              <a:t>collection</a:t>
            </a:r>
            <a:r>
              <a:rPr lang="de-AT" dirty="0"/>
              <a:t> </a:t>
            </a:r>
            <a:r>
              <a:rPr lang="de-AT" dirty="0" err="1"/>
              <a:t>bins</a:t>
            </a:r>
            <a:r>
              <a:rPr lang="de-AT" dirty="0"/>
              <a:t> on </a:t>
            </a:r>
            <a:r>
              <a:rPr lang="de-AT" dirty="0" err="1"/>
              <a:t>site</a:t>
            </a:r>
            <a:endParaRPr lang="de-AT" dirty="0"/>
          </a:p>
          <a:p>
            <a:r>
              <a:rPr lang="de-AT" dirty="0" err="1"/>
              <a:t>Defects</a:t>
            </a:r>
            <a:r>
              <a:rPr lang="de-AT" dirty="0"/>
              <a:t> </a:t>
            </a:r>
            <a:r>
              <a:rPr lang="de-AT" dirty="0" err="1"/>
              <a:t>can</a:t>
            </a:r>
            <a:r>
              <a:rPr lang="de-AT" dirty="0"/>
              <a:t> </a:t>
            </a:r>
            <a:r>
              <a:rPr lang="de-AT" dirty="0" err="1"/>
              <a:t>be</a:t>
            </a:r>
            <a:r>
              <a:rPr lang="de-AT" dirty="0"/>
              <a:t> </a:t>
            </a:r>
            <a:r>
              <a:rPr lang="de-AT" dirty="0" err="1"/>
              <a:t>identified</a:t>
            </a:r>
            <a:r>
              <a:rPr lang="de-AT" dirty="0"/>
              <a:t> and </a:t>
            </a:r>
            <a:r>
              <a:rPr lang="de-AT" b="1" dirty="0" err="1">
                <a:highlight>
                  <a:srgbClr val="D7DC46"/>
                </a:highlight>
              </a:rPr>
              <a:t>repaired</a:t>
            </a:r>
            <a:r>
              <a:rPr lang="de-AT" b="1" dirty="0">
                <a:highlight>
                  <a:srgbClr val="D7DC46"/>
                </a:highlight>
              </a:rPr>
              <a:t> </a:t>
            </a:r>
            <a:r>
              <a:rPr lang="de-AT" b="1" dirty="0" err="1">
                <a:highlight>
                  <a:srgbClr val="D7DC46"/>
                </a:highlight>
              </a:rPr>
              <a:t>quickly</a:t>
            </a:r>
            <a:r>
              <a:rPr lang="de-AT" b="1" dirty="0">
                <a:highlight>
                  <a:srgbClr val="D7DC46"/>
                </a:highlight>
              </a:rPr>
              <a:t> </a:t>
            </a:r>
          </a:p>
          <a:p>
            <a:r>
              <a:rPr lang="de-AT" dirty="0" err="1"/>
              <a:t>Owners</a:t>
            </a:r>
            <a:r>
              <a:rPr lang="de-AT" dirty="0"/>
              <a:t> </a:t>
            </a:r>
            <a:r>
              <a:rPr lang="de-AT" dirty="0" err="1"/>
              <a:t>of</a:t>
            </a:r>
            <a:r>
              <a:rPr lang="de-AT" dirty="0"/>
              <a:t> </a:t>
            </a:r>
            <a:r>
              <a:rPr lang="de-AT" dirty="0" err="1"/>
              <a:t>the</a:t>
            </a:r>
            <a:r>
              <a:rPr lang="de-AT" dirty="0"/>
              <a:t> </a:t>
            </a:r>
            <a:r>
              <a:rPr lang="de-AT" dirty="0" err="1"/>
              <a:t>collection</a:t>
            </a:r>
            <a:r>
              <a:rPr lang="de-AT" dirty="0"/>
              <a:t> </a:t>
            </a:r>
            <a:r>
              <a:rPr lang="de-AT" dirty="0" err="1"/>
              <a:t>bins</a:t>
            </a:r>
            <a:r>
              <a:rPr lang="de-AT" dirty="0"/>
              <a:t> </a:t>
            </a:r>
            <a:r>
              <a:rPr lang="de-AT" dirty="0" err="1"/>
              <a:t>receive</a:t>
            </a:r>
            <a:r>
              <a:rPr lang="de-AT" dirty="0"/>
              <a:t> a </a:t>
            </a:r>
            <a:r>
              <a:rPr lang="de-AT" b="1" dirty="0" err="1">
                <a:highlight>
                  <a:srgbClr val="D7DC46"/>
                </a:highlight>
              </a:rPr>
              <a:t>monthly</a:t>
            </a:r>
            <a:r>
              <a:rPr lang="de-AT" b="1" dirty="0">
                <a:highlight>
                  <a:srgbClr val="D7DC46"/>
                </a:highlight>
              </a:rPr>
              <a:t> </a:t>
            </a:r>
            <a:r>
              <a:rPr lang="de-AT" b="1" dirty="0" err="1">
                <a:highlight>
                  <a:srgbClr val="D7DC46"/>
                </a:highlight>
              </a:rPr>
              <a:t>evaluation</a:t>
            </a:r>
            <a:r>
              <a:rPr lang="de-AT" b="1" dirty="0">
                <a:highlight>
                  <a:srgbClr val="D7DC46"/>
                </a:highlight>
              </a:rPr>
              <a:t> </a:t>
            </a:r>
            <a:r>
              <a:rPr lang="de-AT" dirty="0" err="1"/>
              <a:t>including</a:t>
            </a:r>
            <a:r>
              <a:rPr lang="de-AT" dirty="0"/>
              <a:t> all </a:t>
            </a:r>
            <a:r>
              <a:rPr lang="de-AT" dirty="0" err="1"/>
              <a:t>collection</a:t>
            </a:r>
            <a:r>
              <a:rPr lang="de-AT" dirty="0"/>
              <a:t> </a:t>
            </a:r>
            <a:r>
              <a:rPr lang="de-AT" dirty="0" err="1"/>
              <a:t>bins</a:t>
            </a:r>
            <a:r>
              <a:rPr lang="de-AT" dirty="0"/>
              <a:t> </a:t>
            </a:r>
            <a:r>
              <a:rPr lang="de-AT" dirty="0" err="1"/>
              <a:t>with</a:t>
            </a:r>
            <a:r>
              <a:rPr lang="de-AT" dirty="0"/>
              <a:t> a </a:t>
            </a:r>
            <a:r>
              <a:rPr lang="de-AT" dirty="0" err="1"/>
              <a:t>poor</a:t>
            </a:r>
            <a:r>
              <a:rPr lang="de-AT" dirty="0"/>
              <a:t> review</a:t>
            </a:r>
          </a:p>
          <a:p>
            <a:pPr lvl="1"/>
            <a:endParaRPr lang="de-AT" dirty="0"/>
          </a:p>
        </p:txBody>
      </p:sp>
      <p:sp>
        <p:nvSpPr>
          <p:cNvPr id="4" name="Textplatzhalter 3">
            <a:extLst>
              <a:ext uri="{FF2B5EF4-FFF2-40B4-BE49-F238E27FC236}">
                <a16:creationId xmlns:a16="http://schemas.microsoft.com/office/drawing/2014/main" id="{C7A69B1E-E25A-AAE5-EC56-471F3F771666}"/>
              </a:ext>
            </a:extLst>
          </p:cNvPr>
          <p:cNvSpPr>
            <a:spLocks noGrp="1"/>
          </p:cNvSpPr>
          <p:nvPr>
            <p:ph type="body" sz="quarter" idx="10"/>
          </p:nvPr>
        </p:nvSpPr>
        <p:spPr/>
        <p:txBody>
          <a:bodyPr/>
          <a:lstStyle/>
          <a:p>
            <a:endParaRPr lang="de-AT" dirty="0"/>
          </a:p>
        </p:txBody>
      </p:sp>
      <p:pic>
        <p:nvPicPr>
          <p:cNvPr id="5" name="Content Placeholder 4" descr="Volunteers collecting garbage from park. Environmental awareness is important to save our planet. They are using mobile phone to find recycling center">
            <a:extLst>
              <a:ext uri="{FF2B5EF4-FFF2-40B4-BE49-F238E27FC236}">
                <a16:creationId xmlns:a16="http://schemas.microsoft.com/office/drawing/2014/main" id="{C8F42C53-1C22-1BE8-B978-992D7DCD9C2E}"/>
              </a:ext>
            </a:extLst>
          </p:cNvPr>
          <p:cNvPicPr>
            <a:picLocks noChangeAspect="1"/>
          </p:cNvPicPr>
          <p:nvPr/>
        </p:nvPicPr>
        <p:blipFill>
          <a:blip r:embed="rId3"/>
          <a:srcRect r="20394"/>
          <a:stretch>
            <a:fillRect/>
          </a:stretch>
        </p:blipFill>
        <p:spPr>
          <a:xfrm>
            <a:off x="6462617" y="0"/>
            <a:ext cx="2681383" cy="2248348"/>
          </a:xfrm>
          <a:prstGeom prst="rect">
            <a:avLst/>
          </a:prstGeom>
          <a:noFill/>
        </p:spPr>
      </p:pic>
    </p:spTree>
    <p:extLst>
      <p:ext uri="{BB962C8B-B14F-4D97-AF65-F5344CB8AC3E}">
        <p14:creationId xmlns:p14="http://schemas.microsoft.com/office/powerpoint/2010/main" val="35972082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HAPE" val="OLD"/>
</p:tagLst>
</file>

<file path=ppt/tags/tag10.xml><?xml version="1.0" encoding="utf-8"?>
<p:tagLst xmlns:a="http://schemas.openxmlformats.org/drawingml/2006/main" xmlns:r="http://schemas.openxmlformats.org/officeDocument/2006/relationships" xmlns:p="http://schemas.openxmlformats.org/presentationml/2006/main">
  <p:tag name="SHAPE" val="OLD"/>
</p:tagLst>
</file>

<file path=ppt/tags/tag11.xml><?xml version="1.0" encoding="utf-8"?>
<p:tagLst xmlns:a="http://schemas.openxmlformats.org/drawingml/2006/main" xmlns:r="http://schemas.openxmlformats.org/officeDocument/2006/relationships" xmlns:p="http://schemas.openxmlformats.org/presentationml/2006/main">
  <p:tag name="SHAPE" val="OLD"/>
</p:tagLst>
</file>

<file path=ppt/tags/tag12.xml><?xml version="1.0" encoding="utf-8"?>
<p:tagLst xmlns:a="http://schemas.openxmlformats.org/drawingml/2006/main" xmlns:r="http://schemas.openxmlformats.org/officeDocument/2006/relationships" xmlns:p="http://schemas.openxmlformats.org/presentationml/2006/main">
  <p:tag name="SHAPE" val="OLD"/>
</p:tagLst>
</file>

<file path=ppt/tags/tag13.xml><?xml version="1.0" encoding="utf-8"?>
<p:tagLst xmlns:a="http://schemas.openxmlformats.org/drawingml/2006/main" xmlns:r="http://schemas.openxmlformats.org/officeDocument/2006/relationships" xmlns:p="http://schemas.openxmlformats.org/presentationml/2006/main">
  <p:tag name="SHAPE" val="OLD"/>
</p:tagLst>
</file>

<file path=ppt/tags/tag14.xml><?xml version="1.0" encoding="utf-8"?>
<p:tagLst xmlns:a="http://schemas.openxmlformats.org/drawingml/2006/main" xmlns:r="http://schemas.openxmlformats.org/officeDocument/2006/relationships" xmlns:p="http://schemas.openxmlformats.org/presentationml/2006/main">
  <p:tag name="SHAPE" val="OLD"/>
</p:tagLst>
</file>

<file path=ppt/tags/tag15.xml><?xml version="1.0" encoding="utf-8"?>
<p:tagLst xmlns:a="http://schemas.openxmlformats.org/drawingml/2006/main" xmlns:r="http://schemas.openxmlformats.org/officeDocument/2006/relationships" xmlns:p="http://schemas.openxmlformats.org/presentationml/2006/main">
  <p:tag name="SHAPE" val="OLD"/>
</p:tagLst>
</file>

<file path=ppt/tags/tag16.xml><?xml version="1.0" encoding="utf-8"?>
<p:tagLst xmlns:a="http://schemas.openxmlformats.org/drawingml/2006/main" xmlns:r="http://schemas.openxmlformats.org/officeDocument/2006/relationships" xmlns:p="http://schemas.openxmlformats.org/presentationml/2006/main">
  <p:tag name="SHAPE" val="OLD"/>
</p:tagLst>
</file>

<file path=ppt/tags/tag17.xml><?xml version="1.0" encoding="utf-8"?>
<p:tagLst xmlns:a="http://schemas.openxmlformats.org/drawingml/2006/main" xmlns:r="http://schemas.openxmlformats.org/officeDocument/2006/relationships" xmlns:p="http://schemas.openxmlformats.org/presentationml/2006/main">
  <p:tag name="SHAPE" val="OLD"/>
</p:tagLst>
</file>

<file path=ppt/tags/tag18.xml><?xml version="1.0" encoding="utf-8"?>
<p:tagLst xmlns:a="http://schemas.openxmlformats.org/drawingml/2006/main" xmlns:r="http://schemas.openxmlformats.org/officeDocument/2006/relationships" xmlns:p="http://schemas.openxmlformats.org/presentationml/2006/main">
  <p:tag name="SHAPE" val="OLD"/>
</p:tagLst>
</file>

<file path=ppt/tags/tag19.xml><?xml version="1.0" encoding="utf-8"?>
<p:tagLst xmlns:a="http://schemas.openxmlformats.org/drawingml/2006/main" xmlns:r="http://schemas.openxmlformats.org/officeDocument/2006/relationships" xmlns:p="http://schemas.openxmlformats.org/presentationml/2006/main">
  <p:tag name="EE4P_MAPWIZARD_ID" val="AL"/>
  <p:tag name="EE4P_MAPWIZARD_HEADINGS" val="Admin 0"/>
  <p:tag name="EE4P_MAPWIZARD" val="Albania"/>
</p:tagLst>
</file>

<file path=ppt/tags/tag2.xml><?xml version="1.0" encoding="utf-8"?>
<p:tagLst xmlns:a="http://schemas.openxmlformats.org/drawingml/2006/main" xmlns:r="http://schemas.openxmlformats.org/officeDocument/2006/relationships" xmlns:p="http://schemas.openxmlformats.org/presentationml/2006/main">
  <p:tag name="SHAPE" val="OLD"/>
</p:tagLst>
</file>

<file path=ppt/tags/tag20.xml><?xml version="1.0" encoding="utf-8"?>
<p:tagLst xmlns:a="http://schemas.openxmlformats.org/drawingml/2006/main" xmlns:r="http://schemas.openxmlformats.org/officeDocument/2006/relationships" xmlns:p="http://schemas.openxmlformats.org/presentationml/2006/main">
  <p:tag name="EE4P_MAPWIZARD_ID" val="AD"/>
  <p:tag name="EE4P_MAPWIZARD_HEADINGS" val="Admin 0"/>
  <p:tag name="EE4P_MAPWIZARD" val="Andorra"/>
</p:tagLst>
</file>

<file path=ppt/tags/tag21.xml><?xml version="1.0" encoding="utf-8"?>
<p:tagLst xmlns:a="http://schemas.openxmlformats.org/drawingml/2006/main" xmlns:r="http://schemas.openxmlformats.org/officeDocument/2006/relationships" xmlns:p="http://schemas.openxmlformats.org/presentationml/2006/main">
  <p:tag name="EE4P_MAPWIZARD_ID" val="AT"/>
  <p:tag name="EE4P_MAPWIZARD_HEADINGS" val="Admin 0"/>
  <p:tag name="EE4P_MAPWIZARD" val="Austria"/>
</p:tagLst>
</file>

<file path=ppt/tags/tag22.xml><?xml version="1.0" encoding="utf-8"?>
<p:tagLst xmlns:a="http://schemas.openxmlformats.org/drawingml/2006/main" xmlns:r="http://schemas.openxmlformats.org/officeDocument/2006/relationships" xmlns:p="http://schemas.openxmlformats.org/presentationml/2006/main">
  <p:tag name="EE4P_MAPWIZARD_ID" val="BE"/>
  <p:tag name="EE4P_MAPWIZARD_HEADINGS" val="Admin 0"/>
  <p:tag name="EE4P_MAPWIZARD" val="Belgium"/>
</p:tagLst>
</file>

<file path=ppt/tags/tag23.xml><?xml version="1.0" encoding="utf-8"?>
<p:tagLst xmlns:a="http://schemas.openxmlformats.org/drawingml/2006/main" xmlns:r="http://schemas.openxmlformats.org/officeDocument/2006/relationships" xmlns:p="http://schemas.openxmlformats.org/presentationml/2006/main">
  <p:tag name="EE4P_MAPWIZARD_ID" val="BG"/>
  <p:tag name="EE4P_MAPWIZARD_HEADINGS" val="Admin 0"/>
  <p:tag name="EE4P_MAPWIZARD" val="Bulgaria"/>
</p:tagLst>
</file>

<file path=ppt/tags/tag24.xml><?xml version="1.0" encoding="utf-8"?>
<p:tagLst xmlns:a="http://schemas.openxmlformats.org/drawingml/2006/main" xmlns:r="http://schemas.openxmlformats.org/officeDocument/2006/relationships" xmlns:p="http://schemas.openxmlformats.org/presentationml/2006/main">
  <p:tag name="EE4P_MAPWIZARD_ID" val="BA"/>
  <p:tag name="EE4P_MAPWIZARD_HEADINGS" val="Admin 0"/>
  <p:tag name="EE4P_MAPWIZARD" val="Bosnia and Herzegovina"/>
</p:tagLst>
</file>

<file path=ppt/tags/tag25.xml><?xml version="1.0" encoding="utf-8"?>
<p:tagLst xmlns:a="http://schemas.openxmlformats.org/drawingml/2006/main" xmlns:r="http://schemas.openxmlformats.org/officeDocument/2006/relationships" xmlns:p="http://schemas.openxmlformats.org/presentationml/2006/main">
  <p:tag name="EE4P_MAPWIZARD_ID" val="BY"/>
  <p:tag name="EE4P_MAPWIZARD_HEADINGS" val="Admin 0"/>
  <p:tag name="EE4P_MAPWIZARD" val="Belarus"/>
</p:tagLst>
</file>

<file path=ppt/tags/tag26.xml><?xml version="1.0" encoding="utf-8"?>
<p:tagLst xmlns:a="http://schemas.openxmlformats.org/drawingml/2006/main" xmlns:r="http://schemas.openxmlformats.org/officeDocument/2006/relationships" xmlns:p="http://schemas.openxmlformats.org/presentationml/2006/main">
  <p:tag name="EE4P_MAPWIZARD_ID" val="CH"/>
  <p:tag name="EE4P_MAPWIZARD_HEADINGS" val="Admin 0"/>
  <p:tag name="EE4P_MAPWIZARD" val="Switzerland"/>
</p:tagLst>
</file>

<file path=ppt/tags/tag27.xml><?xml version="1.0" encoding="utf-8"?>
<p:tagLst xmlns:a="http://schemas.openxmlformats.org/drawingml/2006/main" xmlns:r="http://schemas.openxmlformats.org/officeDocument/2006/relationships" xmlns:p="http://schemas.openxmlformats.org/presentationml/2006/main">
  <p:tag name="EE4P_MAPWIZARD_ID" val="CZ"/>
  <p:tag name="EE4P_MAPWIZARD_HEADINGS" val="Admin 0"/>
  <p:tag name="EE4P_MAPWIZARD" val="Czech Republic"/>
</p:tagLst>
</file>

<file path=ppt/tags/tag28.xml><?xml version="1.0" encoding="utf-8"?>
<p:tagLst xmlns:a="http://schemas.openxmlformats.org/drawingml/2006/main" xmlns:r="http://schemas.openxmlformats.org/officeDocument/2006/relationships" xmlns:p="http://schemas.openxmlformats.org/presentationml/2006/main">
  <p:tag name="EE4P_MAPWIZARD_ID" val="DE"/>
  <p:tag name="EE4P_MAPWIZARD_HEADINGS" val="Admin 0"/>
  <p:tag name="EE4P_MAPWIZARD" val="Germany"/>
</p:tagLst>
</file>

<file path=ppt/tags/tag29.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
  <p:tag name="EE4P_MAPWIZARD" val="Denmark"/>
</p:tagLst>
</file>

<file path=ppt/tags/tag3.xml><?xml version="1.0" encoding="utf-8"?>
<p:tagLst xmlns:a="http://schemas.openxmlformats.org/drawingml/2006/main" xmlns:r="http://schemas.openxmlformats.org/officeDocument/2006/relationships" xmlns:p="http://schemas.openxmlformats.org/presentationml/2006/main">
  <p:tag name="SHAPE" val="OLD"/>
</p:tagLst>
</file>

<file path=ppt/tags/tag30.xml><?xml version="1.0" encoding="utf-8"?>
<p:tagLst xmlns:a="http://schemas.openxmlformats.org/drawingml/2006/main" xmlns:r="http://schemas.openxmlformats.org/officeDocument/2006/relationships" xmlns:p="http://schemas.openxmlformats.org/presentationml/2006/main">
  <p:tag name="EE4P_MAPWIZARD_ID" val="ES"/>
  <p:tag name="EE4P_MAPWIZARD_HEADINGS" val="Admin 0"/>
  <p:tag name="EE4P_MAPWIZARD" val="Spain"/>
</p:tagLst>
</file>

<file path=ppt/tags/tag31.xml><?xml version="1.0" encoding="utf-8"?>
<p:tagLst xmlns:a="http://schemas.openxmlformats.org/drawingml/2006/main" xmlns:r="http://schemas.openxmlformats.org/officeDocument/2006/relationships" xmlns:p="http://schemas.openxmlformats.org/presentationml/2006/main">
  <p:tag name="EE4P_MAPWIZARD_ID" val="ES"/>
  <p:tag name="EE4P_MAPWIZARD_HEADINGS" val="Admin 0"/>
  <p:tag name="EE4P_MAPWIZARD" val="Spain"/>
</p:tagLst>
</file>

<file path=ppt/tags/tag32.xml><?xml version="1.0" encoding="utf-8"?>
<p:tagLst xmlns:a="http://schemas.openxmlformats.org/drawingml/2006/main" xmlns:r="http://schemas.openxmlformats.org/officeDocument/2006/relationships" xmlns:p="http://schemas.openxmlformats.org/presentationml/2006/main">
  <p:tag name="EE4P_MAPWIZARD_ID" val="EE"/>
  <p:tag name="EE4P_MAPWIZARD_HEADINGS" val="Admin 0"/>
  <p:tag name="EE4P_MAPWIZARD" val="Estonia"/>
</p:tagLst>
</file>

<file path=ppt/tags/tag33.xml><?xml version="1.0" encoding="utf-8"?>
<p:tagLst xmlns:a="http://schemas.openxmlformats.org/drawingml/2006/main" xmlns:r="http://schemas.openxmlformats.org/officeDocument/2006/relationships" xmlns:p="http://schemas.openxmlformats.org/presentationml/2006/main">
  <p:tag name="EE4P_MAPWIZARD_ID" val="FI"/>
  <p:tag name="EE4P_MAPWIZARD_HEADINGS" val="Admin 0"/>
  <p:tag name="EE4P_MAPWIZARD" val="Finland"/>
</p:tagLst>
</file>

<file path=ppt/tags/tag34.xml><?xml version="1.0" encoding="utf-8"?>
<p:tagLst xmlns:a="http://schemas.openxmlformats.org/drawingml/2006/main" xmlns:r="http://schemas.openxmlformats.org/officeDocument/2006/relationships" xmlns:p="http://schemas.openxmlformats.org/presentationml/2006/main">
  <p:tag name="EE4P_MAPWIZARD_ID" val="FR"/>
  <p:tag name="EE4P_MAPWIZARD_HEADINGS" val="Admin 0"/>
  <p:tag name="EE4P_MAPWIZARD" val="France"/>
</p:tagLst>
</file>

<file path=ppt/tags/tag35.xml><?xml version="1.0" encoding="utf-8"?>
<p:tagLst xmlns:a="http://schemas.openxmlformats.org/drawingml/2006/main" xmlns:r="http://schemas.openxmlformats.org/officeDocument/2006/relationships" xmlns:p="http://schemas.openxmlformats.org/presentationml/2006/main">
  <p:tag name="EE4P_MAPWIZARD_ID" val="GB"/>
  <p:tag name="EE4P_MAPWIZARD_HEADINGS" val="Admin 0"/>
  <p:tag name="EE4P_MAPWIZARD" val="United Kingdom"/>
</p:tagLst>
</file>

<file path=ppt/tags/tag36.xml><?xml version="1.0" encoding="utf-8"?>
<p:tagLst xmlns:a="http://schemas.openxmlformats.org/drawingml/2006/main" xmlns:r="http://schemas.openxmlformats.org/officeDocument/2006/relationships" xmlns:p="http://schemas.openxmlformats.org/presentationml/2006/main">
  <p:tag name="EE4P_MAPWIZARD_ID" val="GR"/>
  <p:tag name="EE4P_MAPWIZARD_HEADINGS" val="Admin 0"/>
  <p:tag name="EE4P_MAPWIZARD" val="Greece"/>
</p:tagLst>
</file>

<file path=ppt/tags/tag37.xml><?xml version="1.0" encoding="utf-8"?>
<p:tagLst xmlns:a="http://schemas.openxmlformats.org/drawingml/2006/main" xmlns:r="http://schemas.openxmlformats.org/officeDocument/2006/relationships" xmlns:p="http://schemas.openxmlformats.org/presentationml/2006/main">
  <p:tag name="EE4P_MAPWIZARD_ID" val="HR"/>
  <p:tag name="EE4P_MAPWIZARD_HEADINGS" val="Admin 0"/>
  <p:tag name="EE4P_MAPWIZARD" val="Croatia"/>
</p:tagLst>
</file>

<file path=ppt/tags/tag38.xml><?xml version="1.0" encoding="utf-8"?>
<p:tagLst xmlns:a="http://schemas.openxmlformats.org/drawingml/2006/main" xmlns:r="http://schemas.openxmlformats.org/officeDocument/2006/relationships" xmlns:p="http://schemas.openxmlformats.org/presentationml/2006/main">
  <p:tag name="EE4P_MAPWIZARD_ID" val="HU"/>
  <p:tag name="EE4P_MAPWIZARD_HEADINGS" val="Admin 0"/>
  <p:tag name="EE4P_MAPWIZARD" val="Hungary"/>
</p:tagLst>
</file>

<file path=ppt/tags/tag39.xml><?xml version="1.0" encoding="utf-8"?>
<p:tagLst xmlns:a="http://schemas.openxmlformats.org/drawingml/2006/main" xmlns:r="http://schemas.openxmlformats.org/officeDocument/2006/relationships" xmlns:p="http://schemas.openxmlformats.org/presentationml/2006/main">
  <p:tag name="EE4P_MAPWIZARD_ID" val="IE"/>
  <p:tag name="EE4P_MAPWIZARD_HEADINGS" val="Admin 0"/>
  <p:tag name="EE4P_MAPWIZARD" val="Ireland"/>
</p:tagLst>
</file>

<file path=ppt/tags/tag4.xml><?xml version="1.0" encoding="utf-8"?>
<p:tagLst xmlns:a="http://schemas.openxmlformats.org/drawingml/2006/main" xmlns:r="http://schemas.openxmlformats.org/officeDocument/2006/relationships" xmlns:p="http://schemas.openxmlformats.org/presentationml/2006/main">
  <p:tag name="SHAPE" val="OLD"/>
</p:tagLst>
</file>

<file path=ppt/tags/tag40.xml><?xml version="1.0" encoding="utf-8"?>
<p:tagLst xmlns:a="http://schemas.openxmlformats.org/drawingml/2006/main" xmlns:r="http://schemas.openxmlformats.org/officeDocument/2006/relationships" xmlns:p="http://schemas.openxmlformats.org/presentationml/2006/main">
  <p:tag name="EE4P_MAPWIZARD_ID" val="IT"/>
  <p:tag name="EE4P_MAPWIZARD_HEADINGS" val="Admin 0"/>
  <p:tag name="EE4P_MAPWIZARD" val="Italy"/>
</p:tagLst>
</file>

<file path=ppt/tags/tag41.xml><?xml version="1.0" encoding="utf-8"?>
<p:tagLst xmlns:a="http://schemas.openxmlformats.org/drawingml/2006/main" xmlns:r="http://schemas.openxmlformats.org/officeDocument/2006/relationships" xmlns:p="http://schemas.openxmlformats.org/presentationml/2006/main">
  <p:tag name="EE4P_MAPWIZARD_ID" val="SM"/>
  <p:tag name="EE4P_MAPWIZARD_HEADINGS" val="Admin 0"/>
  <p:tag name="EE4P_MAPWIZARD" val="San Marino"/>
</p:tagLst>
</file>

<file path=ppt/tags/tag42.xml><?xml version="1.0" encoding="utf-8"?>
<p:tagLst xmlns:a="http://schemas.openxmlformats.org/drawingml/2006/main" xmlns:r="http://schemas.openxmlformats.org/officeDocument/2006/relationships" xmlns:p="http://schemas.openxmlformats.org/presentationml/2006/main">
  <p:tag name="EE4P_MAPWIZARD_ID" val="XK"/>
  <p:tag name="EE4P_MAPWIZARD_HEADINGS" val="Admin 0"/>
  <p:tag name="EE4P_MAPWIZARD" val="Kosovo"/>
</p:tagLst>
</file>

<file path=ppt/tags/tag43.xml><?xml version="1.0" encoding="utf-8"?>
<p:tagLst xmlns:a="http://schemas.openxmlformats.org/drawingml/2006/main" xmlns:r="http://schemas.openxmlformats.org/officeDocument/2006/relationships" xmlns:p="http://schemas.openxmlformats.org/presentationml/2006/main">
  <p:tag name="EE4P_MAPWIZARD_ID" val="LI"/>
  <p:tag name="EE4P_MAPWIZARD_HEADINGS" val="Admin 0"/>
  <p:tag name="EE4P_MAPWIZARD" val="Liechtenstein"/>
</p:tagLst>
</file>

<file path=ppt/tags/tag44.xml><?xml version="1.0" encoding="utf-8"?>
<p:tagLst xmlns:a="http://schemas.openxmlformats.org/drawingml/2006/main" xmlns:r="http://schemas.openxmlformats.org/officeDocument/2006/relationships" xmlns:p="http://schemas.openxmlformats.org/presentationml/2006/main">
  <p:tag name="EE4P_MAPWIZARD_ID" val="LT"/>
  <p:tag name="EE4P_MAPWIZARD_HEADINGS" val="Admin 0"/>
  <p:tag name="EE4P_MAPWIZARD" val="Lithuania"/>
</p:tagLst>
</file>

<file path=ppt/tags/tag45.xml><?xml version="1.0" encoding="utf-8"?>
<p:tagLst xmlns:a="http://schemas.openxmlformats.org/drawingml/2006/main" xmlns:r="http://schemas.openxmlformats.org/officeDocument/2006/relationships" xmlns:p="http://schemas.openxmlformats.org/presentationml/2006/main">
  <p:tag name="EE4P_MAPWIZARD_ID" val="LU"/>
  <p:tag name="EE4P_MAPWIZARD_HEADINGS" val="Admin 0"/>
  <p:tag name="EE4P_MAPWIZARD" val="Luxembourg"/>
</p:tagLst>
</file>

<file path=ppt/tags/tag46.xml><?xml version="1.0" encoding="utf-8"?>
<p:tagLst xmlns:a="http://schemas.openxmlformats.org/drawingml/2006/main" xmlns:r="http://schemas.openxmlformats.org/officeDocument/2006/relationships" xmlns:p="http://schemas.openxmlformats.org/presentationml/2006/main">
  <p:tag name="EE4P_MAPWIZARD_ID" val="LV"/>
  <p:tag name="EE4P_MAPWIZARD_HEADINGS" val="Admin 0"/>
  <p:tag name="EE4P_MAPWIZARD" val="Latvia"/>
</p:tagLst>
</file>

<file path=ppt/tags/tag47.xml><?xml version="1.0" encoding="utf-8"?>
<p:tagLst xmlns:a="http://schemas.openxmlformats.org/drawingml/2006/main" xmlns:r="http://schemas.openxmlformats.org/officeDocument/2006/relationships" xmlns:p="http://schemas.openxmlformats.org/presentationml/2006/main">
  <p:tag name="EE4P_MAPWIZARD_ID" val="MC"/>
  <p:tag name="EE4P_MAPWIZARD_HEADINGS" val="Admin 0"/>
  <p:tag name="EE4P_MAPWIZARD" val="Monaco"/>
</p:tagLst>
</file>

<file path=ppt/tags/tag48.xml><?xml version="1.0" encoding="utf-8"?>
<p:tagLst xmlns:a="http://schemas.openxmlformats.org/drawingml/2006/main" xmlns:r="http://schemas.openxmlformats.org/officeDocument/2006/relationships" xmlns:p="http://schemas.openxmlformats.org/presentationml/2006/main">
  <p:tag name="EE4P_MAPWIZARD_ID" val="MD"/>
  <p:tag name="EE4P_MAPWIZARD_HEADINGS" val="Admin 0"/>
  <p:tag name="EE4P_MAPWIZARD" val="Moldova"/>
</p:tagLst>
</file>

<file path=ppt/tags/tag49.xml><?xml version="1.0" encoding="utf-8"?>
<p:tagLst xmlns:a="http://schemas.openxmlformats.org/drawingml/2006/main" xmlns:r="http://schemas.openxmlformats.org/officeDocument/2006/relationships" xmlns:p="http://schemas.openxmlformats.org/presentationml/2006/main">
  <p:tag name="EE4P_MAPWIZARD_ID" val="MK"/>
  <p:tag name="EE4P_MAPWIZARD_HEADINGS" val="Admin 0"/>
  <p:tag name="EE4P_MAPWIZARD" val="Macedonia"/>
</p:tagLst>
</file>

<file path=ppt/tags/tag5.xml><?xml version="1.0" encoding="utf-8"?>
<p:tagLst xmlns:a="http://schemas.openxmlformats.org/drawingml/2006/main" xmlns:r="http://schemas.openxmlformats.org/officeDocument/2006/relationships" xmlns:p="http://schemas.openxmlformats.org/presentationml/2006/main">
  <p:tag name="SHAPE" val="OLD"/>
</p:tagLst>
</file>

<file path=ppt/tags/tag50.xml><?xml version="1.0" encoding="utf-8"?>
<p:tagLst xmlns:a="http://schemas.openxmlformats.org/drawingml/2006/main" xmlns:r="http://schemas.openxmlformats.org/officeDocument/2006/relationships" xmlns:p="http://schemas.openxmlformats.org/presentationml/2006/main">
  <p:tag name="EE4P_MAPWIZARD_ID" val="MT"/>
  <p:tag name="EE4P_MAPWIZARD_HEADINGS" val="Admin 0"/>
  <p:tag name="EE4P_MAPWIZARD" val="Malta"/>
</p:tagLst>
</file>

<file path=ppt/tags/tag51.xml><?xml version="1.0" encoding="utf-8"?>
<p:tagLst xmlns:a="http://schemas.openxmlformats.org/drawingml/2006/main" xmlns:r="http://schemas.openxmlformats.org/officeDocument/2006/relationships" xmlns:p="http://schemas.openxmlformats.org/presentationml/2006/main">
  <p:tag name="EE4P_MAPWIZARD_ID" val="MT"/>
  <p:tag name="EE4P_MAPWIZARD_HEADINGS" val="Admin 0"/>
  <p:tag name="EE4P_MAPWIZARD" val="Malta"/>
</p:tagLst>
</file>

<file path=ppt/tags/tag52.xml><?xml version="1.0" encoding="utf-8"?>
<p:tagLst xmlns:a="http://schemas.openxmlformats.org/drawingml/2006/main" xmlns:r="http://schemas.openxmlformats.org/officeDocument/2006/relationships" xmlns:p="http://schemas.openxmlformats.org/presentationml/2006/main">
  <p:tag name="EE4P_MAPWIZARD_ID" val="ME"/>
  <p:tag name="EE4P_MAPWIZARD_HEADINGS" val="Admin 0"/>
  <p:tag name="EE4P_MAPWIZARD" val="Montenegro"/>
</p:tagLst>
</file>

<file path=ppt/tags/tag53.xml><?xml version="1.0" encoding="utf-8"?>
<p:tagLst xmlns:a="http://schemas.openxmlformats.org/drawingml/2006/main" xmlns:r="http://schemas.openxmlformats.org/officeDocument/2006/relationships" xmlns:p="http://schemas.openxmlformats.org/presentationml/2006/main">
  <p:tag name="EE4P_MAPWIZARD_ID" val="NL"/>
  <p:tag name="EE4P_MAPWIZARD_HEADINGS" val="Admin 0"/>
  <p:tag name="EE4P_MAPWIZARD" val="Netherlands"/>
</p:tagLst>
</file>

<file path=ppt/tags/tag54.xml><?xml version="1.0" encoding="utf-8"?>
<p:tagLst xmlns:a="http://schemas.openxmlformats.org/drawingml/2006/main" xmlns:r="http://schemas.openxmlformats.org/officeDocument/2006/relationships" xmlns:p="http://schemas.openxmlformats.org/presentationml/2006/main">
  <p:tag name="EE4P_MAPWIZARD_ID" val="NO"/>
  <p:tag name="EE4P_MAPWIZARD_HEADINGS" val="Admin 0"/>
  <p:tag name="EE4P_MAPWIZARD" val="Norway"/>
</p:tagLst>
</file>

<file path=ppt/tags/tag55.xml><?xml version="1.0" encoding="utf-8"?>
<p:tagLst xmlns:a="http://schemas.openxmlformats.org/drawingml/2006/main" xmlns:r="http://schemas.openxmlformats.org/officeDocument/2006/relationships" xmlns:p="http://schemas.openxmlformats.org/presentationml/2006/main">
  <p:tag name="EE4P_MAPWIZARD_ID" val="PL"/>
  <p:tag name="EE4P_MAPWIZARD_HEADINGS" val="Admin 0"/>
  <p:tag name="EE4P_MAPWIZARD" val="Poland"/>
</p:tagLst>
</file>

<file path=ppt/tags/tag56.xml><?xml version="1.0" encoding="utf-8"?>
<p:tagLst xmlns:a="http://schemas.openxmlformats.org/drawingml/2006/main" xmlns:r="http://schemas.openxmlformats.org/officeDocument/2006/relationships" xmlns:p="http://schemas.openxmlformats.org/presentationml/2006/main">
  <p:tag name="EE4P_MAPWIZARD_ID" val="PT"/>
  <p:tag name="EE4P_MAPWIZARD_HEADINGS" val="Admin 0"/>
  <p:tag name="EE4P_MAPWIZARD" val="Portugal"/>
</p:tagLst>
</file>

<file path=ppt/tags/tag57.xml><?xml version="1.0" encoding="utf-8"?>
<p:tagLst xmlns:a="http://schemas.openxmlformats.org/drawingml/2006/main" xmlns:r="http://schemas.openxmlformats.org/officeDocument/2006/relationships" xmlns:p="http://schemas.openxmlformats.org/presentationml/2006/main">
  <p:tag name="EE4P_MAPWIZARD_ID" val="RO"/>
  <p:tag name="EE4P_MAPWIZARD_HEADINGS" val="Admin 0"/>
  <p:tag name="EE4P_MAPWIZARD" val="Romania"/>
</p:tagLst>
</file>

<file path=ppt/tags/tag58.xml><?xml version="1.0" encoding="utf-8"?>
<p:tagLst xmlns:a="http://schemas.openxmlformats.org/drawingml/2006/main" xmlns:r="http://schemas.openxmlformats.org/officeDocument/2006/relationships" xmlns:p="http://schemas.openxmlformats.org/presentationml/2006/main">
  <p:tag name="EE4P_MAPWIZARD_ID" val="IT"/>
  <p:tag name="EE4P_MAPWIZARD_HEADINGS" val="Admin 0"/>
  <p:tag name="EE4P_MAPWIZARD" val="Italy"/>
</p:tagLst>
</file>

<file path=ppt/tags/tag59.xml><?xml version="1.0" encoding="utf-8"?>
<p:tagLst xmlns:a="http://schemas.openxmlformats.org/drawingml/2006/main" xmlns:r="http://schemas.openxmlformats.org/officeDocument/2006/relationships" xmlns:p="http://schemas.openxmlformats.org/presentationml/2006/main">
  <p:tag name="EE4P_MAPWIZARD_ID" val="RS"/>
  <p:tag name="EE4P_MAPWIZARD_HEADINGS" val="Admin 0"/>
  <p:tag name="EE4P_MAPWIZARD" val="Republic of Serbia"/>
</p:tagLst>
</file>

<file path=ppt/tags/tag6.xml><?xml version="1.0" encoding="utf-8"?>
<p:tagLst xmlns:a="http://schemas.openxmlformats.org/drawingml/2006/main" xmlns:r="http://schemas.openxmlformats.org/officeDocument/2006/relationships" xmlns:p="http://schemas.openxmlformats.org/presentationml/2006/main">
  <p:tag name="SHAPE" val="OLD"/>
</p:tagLst>
</file>

<file path=ppt/tags/tag60.xml><?xml version="1.0" encoding="utf-8"?>
<p:tagLst xmlns:a="http://schemas.openxmlformats.org/drawingml/2006/main" xmlns:r="http://schemas.openxmlformats.org/officeDocument/2006/relationships" xmlns:p="http://schemas.openxmlformats.org/presentationml/2006/main">
  <p:tag name="EE4P_MAPWIZARD_ID" val="SK"/>
  <p:tag name="EE4P_MAPWIZARD_HEADINGS" val="Admin 0"/>
  <p:tag name="EE4P_MAPWIZARD" val="Slovakia"/>
</p:tagLst>
</file>

<file path=ppt/tags/tag61.xml><?xml version="1.0" encoding="utf-8"?>
<p:tagLst xmlns:a="http://schemas.openxmlformats.org/drawingml/2006/main" xmlns:r="http://schemas.openxmlformats.org/officeDocument/2006/relationships" xmlns:p="http://schemas.openxmlformats.org/presentationml/2006/main">
  <p:tag name="EE4P_MAPWIZARD_ID" val="SI"/>
  <p:tag name="EE4P_MAPWIZARD_HEADINGS" val="Admin 0"/>
  <p:tag name="EE4P_MAPWIZARD" val="Slovenia"/>
</p:tagLst>
</file>

<file path=ppt/tags/tag62.xml><?xml version="1.0" encoding="utf-8"?>
<p:tagLst xmlns:a="http://schemas.openxmlformats.org/drawingml/2006/main" xmlns:r="http://schemas.openxmlformats.org/officeDocument/2006/relationships" xmlns:p="http://schemas.openxmlformats.org/presentationml/2006/main">
  <p:tag name="EE4P_MAPWIZARD_ID" val="SE"/>
  <p:tag name="EE4P_MAPWIZARD_HEADINGS" val="Admin 0"/>
  <p:tag name="EE4P_MAPWIZARD" val="Sweden"/>
</p:tagLst>
</file>

<file path=ppt/tags/tag63.xml><?xml version="1.0" encoding="utf-8"?>
<p:tagLst xmlns:a="http://schemas.openxmlformats.org/drawingml/2006/main" xmlns:r="http://schemas.openxmlformats.org/officeDocument/2006/relationships" xmlns:p="http://schemas.openxmlformats.org/presentationml/2006/main">
  <p:tag name="EE4P_MAPWIZARD_ID" val="UA"/>
  <p:tag name="EE4P_MAPWIZARD_HEADINGS" val="Admin 0"/>
  <p:tag name="EE4P_MAPWIZARD" val="Ukraine"/>
</p:tagLst>
</file>

<file path=ppt/tags/tag64.xml><?xml version="1.0" encoding="utf-8"?>
<p:tagLst xmlns:a="http://schemas.openxmlformats.org/drawingml/2006/main" xmlns:r="http://schemas.openxmlformats.org/officeDocument/2006/relationships" xmlns:p="http://schemas.openxmlformats.org/presentationml/2006/main">
  <p:tag name="EE4P_MAPWIZARD_ID" val="VA"/>
  <p:tag name="EE4P_MAPWIZARD_HEADINGS" val="Admin 0"/>
  <p:tag name="EE4P_MAPWIZARD" val="Vatican"/>
</p:tagLst>
</file>

<file path=ppt/tags/tag65.xml><?xml version="1.0" encoding="utf-8"?>
<p:tagLst xmlns:a="http://schemas.openxmlformats.org/drawingml/2006/main" xmlns:r="http://schemas.openxmlformats.org/officeDocument/2006/relationships" xmlns:p="http://schemas.openxmlformats.org/presentationml/2006/main">
  <p:tag name="SHAPE" val="OLD"/>
</p:tagLst>
</file>

<file path=ppt/tags/tag66.xml><?xml version="1.0" encoding="utf-8"?>
<p:tagLst xmlns:a="http://schemas.openxmlformats.org/drawingml/2006/main" xmlns:r="http://schemas.openxmlformats.org/officeDocument/2006/relationships" xmlns:p="http://schemas.openxmlformats.org/presentationml/2006/main">
  <p:tag name="SHAPE" val="OLD"/>
</p:tagLst>
</file>

<file path=ppt/tags/tag67.xml><?xml version="1.0" encoding="utf-8"?>
<p:tagLst xmlns:a="http://schemas.openxmlformats.org/drawingml/2006/main" xmlns:r="http://schemas.openxmlformats.org/officeDocument/2006/relationships" xmlns:p="http://schemas.openxmlformats.org/presentationml/2006/main">
  <p:tag name="SHAPE" val="OLD"/>
</p:tagLst>
</file>

<file path=ppt/tags/tag7.xml><?xml version="1.0" encoding="utf-8"?>
<p:tagLst xmlns:a="http://schemas.openxmlformats.org/drawingml/2006/main" xmlns:r="http://schemas.openxmlformats.org/officeDocument/2006/relationships" xmlns:p="http://schemas.openxmlformats.org/presentationml/2006/main">
  <p:tag name="SHAPE" val="OLD"/>
</p:tagLst>
</file>

<file path=ppt/tags/tag8.xml><?xml version="1.0" encoding="utf-8"?>
<p:tagLst xmlns:a="http://schemas.openxmlformats.org/drawingml/2006/main" xmlns:r="http://schemas.openxmlformats.org/officeDocument/2006/relationships" xmlns:p="http://schemas.openxmlformats.org/presentationml/2006/main">
  <p:tag name="SHAPE" val="OLD"/>
</p:tagLst>
</file>

<file path=ppt/tags/tag9.xml><?xml version="1.0" encoding="utf-8"?>
<p:tagLst xmlns:a="http://schemas.openxmlformats.org/drawingml/2006/main" xmlns:r="http://schemas.openxmlformats.org/officeDocument/2006/relationships" xmlns:p="http://schemas.openxmlformats.org/presentationml/2006/main">
  <p:tag name="SHAPE" val="OLD"/>
</p:tagLst>
</file>

<file path=ppt/theme/theme1.xml><?xml version="1.0" encoding="utf-8"?>
<a:theme xmlns:a="http://schemas.openxmlformats.org/drawingml/2006/main" name="ARA">
  <a:themeElements>
    <a:clrScheme name="ARA">
      <a:dk1>
        <a:srgbClr val="41474C"/>
      </a:dk1>
      <a:lt1>
        <a:sysClr val="window" lastClr="FFFFFF"/>
      </a:lt1>
      <a:dk2>
        <a:srgbClr val="000000"/>
      </a:dk2>
      <a:lt2>
        <a:srgbClr val="E7E6E6"/>
      </a:lt2>
      <a:accent1>
        <a:srgbClr val="009252"/>
      </a:accent1>
      <a:accent2>
        <a:srgbClr val="5CB68A"/>
      </a:accent2>
      <a:accent3>
        <a:srgbClr val="9BCEAE"/>
      </a:accent3>
      <a:accent4>
        <a:srgbClr val="41474C"/>
      </a:accent4>
      <a:accent5>
        <a:srgbClr val="99A0A5"/>
      </a:accent5>
      <a:accent6>
        <a:srgbClr val="D7DC46"/>
      </a:accent6>
      <a:hlink>
        <a:srgbClr val="41474C"/>
      </a:hlink>
      <a:folHlink>
        <a:srgbClr val="41474C"/>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ile Körper">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Grau">
      <a:srgbClr val="41474C"/>
    </a:custClr>
    <a:custClr name="Grau 75 %">
      <a:srgbClr val="737B80"/>
    </a:custClr>
    <a:custClr name="Grau 55 %">
      <a:srgbClr val="99A0A5"/>
    </a:custClr>
    <a:custClr name="Grau 30 %">
      <a:srgbClr val="C7CDD0"/>
    </a:custClr>
    <a:custClr name="Grau 13 %">
      <a:srgbClr val="E7E9EB"/>
    </a:custClr>
    <a:custClr name="Grün">
      <a:srgbClr val="009252"/>
    </a:custClr>
    <a:custClr name="Grün 65 %">
      <a:srgbClr val="5CB68A"/>
    </a:custClr>
    <a:custClr name="Grün 45 %">
      <a:srgbClr val="9BCEAE"/>
    </a:custClr>
    <a:custClr name="Grün 20 %">
      <a:srgbClr val="D7EADD"/>
    </a:custClr>
    <a:custClr name="Gelbgrün">
      <a:srgbClr val="D7DC46"/>
    </a:custClr>
    <a:custClr name="Ampel-Rot">
      <a:srgbClr val="CE4138"/>
    </a:custClr>
    <a:custClr name="Ampel-Gelb">
      <a:srgbClr val="FCC043"/>
    </a:custClr>
    <a:custClr name="Ampel-Grün">
      <a:srgbClr val="009252"/>
    </a:custClr>
    <a:custClr name="Packstoff_Papier-Rot">
      <a:srgbClr val="D32F0D"/>
    </a:custClr>
    <a:custClr name="Packstoff_Eisen-/Metall-Blau">
      <a:srgbClr val="00749A"/>
    </a:custClr>
    <a:custClr name="Packstoff_Kunststroff-Gelb">
      <a:srgbClr val="FEED56"/>
    </a:custClr>
    <a:custClr name="Packstoff_Glas-Grün">
      <a:srgbClr val="33AB78"/>
    </a:custClr>
  </a:custClrLst>
  <a:extLst>
    <a:ext uri="{05A4C25C-085E-4340-85A3-A5531E510DB2}">
      <thm15:themeFamily xmlns:thm15="http://schemas.microsoft.com/office/thememl/2012/main" name="AGR_Praesentation n.potx" id="{49700D0B-F3CD-4793-B041-92EAE1CB9CCE}" vid="{FE5645AE-6CBB-4A12-9C79-93E06D58068B}"/>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41AE3660D83574ABA2FAE6F0119FD7B" ma:contentTypeVersion="20" ma:contentTypeDescription="Create a new document." ma:contentTypeScope="" ma:versionID="f440d11fe8a82565baeb84d6d5555a9d">
  <xsd:schema xmlns:xsd="http://www.w3.org/2001/XMLSchema" xmlns:xs="http://www.w3.org/2001/XMLSchema" xmlns:p="http://schemas.microsoft.com/office/2006/metadata/properties" xmlns:ns2="a25d1b78-52d7-4aa6-98a8-603488bf7179" xmlns:ns3="172e048e-c197-44bb-bccc-392928027841" targetNamespace="http://schemas.microsoft.com/office/2006/metadata/properties" ma:root="true" ma:fieldsID="fceb5f080533a42b93cc7c66f295df75" ns2:_="" ns3:_="">
    <xsd:import namespace="a25d1b78-52d7-4aa6-98a8-603488bf7179"/>
    <xsd:import namespace="172e048e-c197-44bb-bccc-39292802784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Selected" minOccurs="0"/>
                <xsd:element ref="ns3:SharedWithUsers" minOccurs="0"/>
                <xsd:element ref="ns3:SharedWithDetails" minOccurs="0"/>
                <xsd:element ref="ns2:lcf76f155ced4ddcb4097134ff3c332f" minOccurs="0"/>
                <xsd:element ref="ns3:TaxCatchAll" minOccurs="0"/>
                <xsd:element ref="ns2:MediaServiceLocation"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25d1b78-52d7-4aa6-98a8-603488bf717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Selected" ma:index="18" nillable="true" ma:displayName="Selected" ma:format="Dropdown" ma:internalName="Selected">
      <xsd:simpleType>
        <xsd:restriction base="dms:Choice">
          <xsd:enumeration value="Choice 1"/>
        </xsd:restrictio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6faeeadd-7529-4f90-84e0-6a3de6292be8" ma:termSetId="09814cd3-568e-fe90-9814-8d621ff8fb84" ma:anchorId="fba54fb3-c3e1-fe81-a776-ca4b69148c4d" ma:open="true" ma:isKeyword="false">
      <xsd:complexType>
        <xsd:sequence>
          <xsd:element ref="pc:Terms" minOccurs="0" maxOccurs="1"/>
        </xsd:sequence>
      </xsd:complexType>
    </xsd:element>
    <xsd:element name="MediaServiceLocation" ma:index="24" nillable="true" ma:displayName="Location" ma:internalName="MediaServiceLocation" ma:readOnly="true">
      <xsd:simpleType>
        <xsd:restriction base="dms:Text"/>
      </xsd:simpleType>
    </xsd:element>
    <xsd:element name="MediaServiceObjectDetectorVersions" ma:index="25" nillable="true" ma:displayName="MediaServiceObjectDetectorVersions" ma:hidden="true" ma:indexed="true" ma:internalName="MediaServiceObjectDetectorVersions"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element name="MediaServiceBillingMetadata" ma:index="27"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72e048e-c197-44bb-bccc-392928027841"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0d0544aa-3cb5-420f-a8fb-97a76f6143c7}" ma:internalName="TaxCatchAll" ma:showField="CatchAllData" ma:web="172e048e-c197-44bb-bccc-39292802784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elected xmlns="a25d1b78-52d7-4aa6-98a8-603488bf7179" xsi:nil="true"/>
    <TaxCatchAll xmlns="172e048e-c197-44bb-bccc-392928027841" xsi:nil="true"/>
    <lcf76f155ced4ddcb4097134ff3c332f xmlns="a25d1b78-52d7-4aa6-98a8-603488bf7179">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87BC4BC5-DADA-4AF1-8BC1-C2F05CB267AB}">
  <ds:schemaRefs>
    <ds:schemaRef ds:uri="http://schemas.microsoft.com/sharepoint/v3/contenttype/forms"/>
  </ds:schemaRefs>
</ds:datastoreItem>
</file>

<file path=customXml/itemProps2.xml><?xml version="1.0" encoding="utf-8"?>
<ds:datastoreItem xmlns:ds="http://schemas.openxmlformats.org/officeDocument/2006/customXml" ds:itemID="{500B1544-9CB2-489F-9B98-82D299DF14F2}"/>
</file>

<file path=customXml/itemProps3.xml><?xml version="1.0" encoding="utf-8"?>
<ds:datastoreItem xmlns:ds="http://schemas.openxmlformats.org/officeDocument/2006/customXml" ds:itemID="{2CD2ECBE-651B-434D-8973-6DAF957A230F}">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32fbfbee-d1fe-4973-a1b8-a3a091cb4a7b"/>
    <ds:schemaRef ds:uri="http://purl.org/dc/elements/1.1/"/>
    <ds:schemaRef ds:uri="http://schemas.microsoft.com/office/2006/metadata/properties"/>
    <ds:schemaRef ds:uri="http://www.w3.org/XML/1998/namespace"/>
    <ds:schemaRef ds:uri="http://purl.org/dc/dcmitype/"/>
  </ds:schemaRefs>
</ds:datastoreItem>
</file>

<file path=docMetadata/LabelInfo.xml><?xml version="1.0" encoding="utf-8"?>
<clbl:labelList xmlns:clbl="http://schemas.microsoft.com/office/2020/mipLabelMetadata">
  <clbl:label id="{5fb17a8c-8446-45d6-a57d-ca5bae2ff111}" enabled="0" method="" siteId="{5fb17a8c-8446-45d6-a57d-ca5bae2ff111}" removed="1"/>
</clbl:labelList>
</file>

<file path=docProps/app.xml><?xml version="1.0" encoding="utf-8"?>
<Properties xmlns="http://schemas.openxmlformats.org/officeDocument/2006/extended-properties" xmlns:vt="http://schemas.openxmlformats.org/officeDocument/2006/docPropsVTypes">
  <Template>AGR_Praesentation</Template>
  <TotalTime>0</TotalTime>
  <Words>1092</Words>
  <Application>Microsoft Office PowerPoint</Application>
  <PresentationFormat>Bildschirmpräsentation (16:9)</PresentationFormat>
  <Paragraphs>145</Paragraphs>
  <Slides>15</Slides>
  <Notes>4</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15</vt:i4>
      </vt:variant>
    </vt:vector>
  </HeadingPairs>
  <TitlesOfParts>
    <vt:vector size="22" baseType="lpstr">
      <vt:lpstr>Arial</vt:lpstr>
      <vt:lpstr>Calibri</vt:lpstr>
      <vt:lpstr>Calisto MT</vt:lpstr>
      <vt:lpstr>Corbel</vt:lpstr>
      <vt:lpstr>Symbol</vt:lpstr>
      <vt:lpstr>ARA</vt:lpstr>
      <vt:lpstr>Worksheet</vt:lpstr>
      <vt:lpstr>cLose the glass loop</vt:lpstr>
      <vt:lpstr>Austria: Important Facts</vt:lpstr>
      <vt:lpstr>We use digital tools – “digido” - to optimize operations</vt:lpstr>
      <vt:lpstr>Digitalisation in the Glass collection and recycling process</vt:lpstr>
      <vt:lpstr>Use Case 1 – Real-Time Data Sharing</vt:lpstr>
      <vt:lpstr>Digitalisation in the Glass collection and recycling process</vt:lpstr>
      <vt:lpstr>Use case 2 - Purpose of the APP „Glass Future“</vt:lpstr>
      <vt:lpstr>App „Glassfuture“: One tool for all stakeholders</vt:lpstr>
      <vt:lpstr>convenient, simple and fast  </vt:lpstr>
      <vt:lpstr>Digitalisation in the Glass collection and recycling process</vt:lpstr>
      <vt:lpstr>Use Case 3 – Smart Tour Companion</vt:lpstr>
      <vt:lpstr>Use Case 3 – Smart Tour Companion</vt:lpstr>
      <vt:lpstr>Use Case 3 – Smart Tour Companion</vt:lpstr>
      <vt:lpstr>Use Case 3 – Smart Tour Companion</vt:lpstr>
      <vt:lpstr>Experiences in Tour Planning including Container filling level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P Glassfuture</dc:title>
  <dc:creator>Gössinger Katrin</dc:creator>
  <cp:lastModifiedBy>Koller Eva</cp:lastModifiedBy>
  <cp:revision>15</cp:revision>
  <cp:lastPrinted>2021-11-09T09:31:24Z</cp:lastPrinted>
  <dcterms:created xsi:type="dcterms:W3CDTF">2025-10-08T09:55:54Z</dcterms:created>
  <dcterms:modified xsi:type="dcterms:W3CDTF">2025-11-27T08:28: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41AE3660D83574ABA2FAE6F0119FD7B</vt:lpwstr>
  </property>
</Properties>
</file>